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66.xml" ContentType="application/vnd.openxmlformats-officedocument.drawingml.chart+xml"/>
  <Override PartName="/ppt/charts/style66.xml" ContentType="application/vnd.ms-office.chartstyle+xml"/>
  <Override PartName="/ppt/charts/colors66.xml" ContentType="application/vnd.ms-office.chartcolorstyle+xml"/>
  <Override PartName="/ppt/charts/chart67.xml" ContentType="application/vnd.openxmlformats-officedocument.drawingml.chart+xml"/>
  <Override PartName="/ppt/charts/style67.xml" ContentType="application/vnd.ms-office.chartstyle+xml"/>
  <Override PartName="/ppt/charts/colors67.xml" ContentType="application/vnd.ms-office.chartcolorstyle+xml"/>
  <Override PartName="/ppt/charts/chart68.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69.xml" ContentType="application/vnd.openxmlformats-officedocument.drawingml.chart+xml"/>
  <Override PartName="/ppt/charts/style69.xml" ContentType="application/vnd.ms-office.chartstyle+xml"/>
  <Override PartName="/ppt/charts/colors69.xml" ContentType="application/vnd.ms-office.chartcolorstyle+xml"/>
  <Override PartName="/ppt/charts/chart70.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71.xml" ContentType="application/vnd.openxmlformats-officedocument.drawingml.chart+xml"/>
  <Override PartName="/ppt/charts/style71.xml" ContentType="application/vnd.ms-office.chartstyle+xml"/>
  <Override PartName="/ppt/charts/colors71.xml" ContentType="application/vnd.ms-office.chartcolorstyle+xml"/>
  <Override PartName="/ppt/charts/chart72.xml" ContentType="application/vnd.openxmlformats-officedocument.drawingml.chart+xml"/>
  <Override PartName="/ppt/charts/style72.xml" ContentType="application/vnd.ms-office.chartstyle+xml"/>
  <Override PartName="/ppt/charts/colors72.xml" ContentType="application/vnd.ms-office.chartcolorstyle+xml"/>
  <Override PartName="/ppt/charts/chart73.xml" ContentType="application/vnd.openxmlformats-officedocument.drawingml.chart+xml"/>
  <Override PartName="/ppt/charts/style73.xml" ContentType="application/vnd.ms-office.chartstyle+xml"/>
  <Override PartName="/ppt/charts/colors73.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notesSlides/notesSlide6.xml" ContentType="application/vnd.openxmlformats-officedocument.presentationml.notesSlide+xml"/>
  <Override PartName="/ppt/charts/chart74.xml" ContentType="application/vnd.openxmlformats-officedocument.drawingml.chart+xml"/>
  <Override PartName="/ppt/charts/style74.xml" ContentType="application/vnd.ms-office.chartstyle+xml"/>
  <Override PartName="/ppt/charts/colors74.xml" ContentType="application/vnd.ms-office.chartcolorstyle+xml"/>
  <Override PartName="/ppt/drawings/drawing1.xml" ContentType="application/vnd.openxmlformats-officedocument.drawingml.chartshapes+xml"/>
  <Override PartName="/ppt/notesSlides/notesSlide7.xml" ContentType="application/vnd.openxmlformats-officedocument.presentationml.notesSlide+xml"/>
  <Override PartName="/ppt/charts/chart75.xml" ContentType="application/vnd.openxmlformats-officedocument.drawingml.chart+xml"/>
  <Override PartName="/ppt/charts/style75.xml" ContentType="application/vnd.ms-office.chartstyle+xml"/>
  <Override PartName="/ppt/charts/colors75.xml" ContentType="application/vnd.ms-office.chartcolorstyl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14"/>
  </p:notesMasterIdLst>
  <p:sldIdLst>
    <p:sldId id="2976" r:id="rId2"/>
    <p:sldId id="3452" r:id="rId3"/>
    <p:sldId id="3453" r:id="rId4"/>
    <p:sldId id="3455" r:id="rId5"/>
    <p:sldId id="4267" r:id="rId6"/>
    <p:sldId id="4983" r:id="rId7"/>
    <p:sldId id="4984" r:id="rId8"/>
    <p:sldId id="4985" r:id="rId9"/>
    <p:sldId id="4872" r:id="rId10"/>
    <p:sldId id="4873" r:id="rId11"/>
    <p:sldId id="4874" r:id="rId12"/>
    <p:sldId id="4876" r:id="rId13"/>
    <p:sldId id="4877" r:id="rId14"/>
    <p:sldId id="2388" r:id="rId15"/>
    <p:sldId id="4100" r:id="rId16"/>
    <p:sldId id="4883" r:id="rId17"/>
    <p:sldId id="4765" r:id="rId18"/>
    <p:sldId id="4163" r:id="rId19"/>
    <p:sldId id="4164" r:id="rId20"/>
    <p:sldId id="2912" r:id="rId21"/>
    <p:sldId id="1673" r:id="rId22"/>
    <p:sldId id="1183" r:id="rId23"/>
    <p:sldId id="4884" r:id="rId24"/>
    <p:sldId id="4266" r:id="rId25"/>
    <p:sldId id="1675" r:id="rId26"/>
    <p:sldId id="1676" r:id="rId27"/>
    <p:sldId id="1678" r:id="rId28"/>
    <p:sldId id="4993" r:id="rId29"/>
    <p:sldId id="4909" r:id="rId30"/>
    <p:sldId id="4910" r:id="rId31"/>
    <p:sldId id="4911" r:id="rId32"/>
    <p:sldId id="3432" r:id="rId33"/>
    <p:sldId id="4915" r:id="rId34"/>
    <p:sldId id="4896" r:id="rId35"/>
    <p:sldId id="4988" r:id="rId36"/>
    <p:sldId id="3457" r:id="rId37"/>
    <p:sldId id="3458" r:id="rId38"/>
    <p:sldId id="1734" r:id="rId39"/>
    <p:sldId id="4916" r:id="rId40"/>
    <p:sldId id="4897" r:id="rId41"/>
    <p:sldId id="4275" r:id="rId42"/>
    <p:sldId id="4898" r:id="rId43"/>
    <p:sldId id="4989" r:id="rId44"/>
    <p:sldId id="4276" r:id="rId45"/>
    <p:sldId id="4277" r:id="rId46"/>
    <p:sldId id="4278" r:id="rId47"/>
    <p:sldId id="4917" r:id="rId48"/>
    <p:sldId id="4279" r:id="rId49"/>
    <p:sldId id="4280" r:id="rId50"/>
    <p:sldId id="4899" r:id="rId51"/>
    <p:sldId id="4991" r:id="rId52"/>
    <p:sldId id="4281" r:id="rId53"/>
    <p:sldId id="4282" r:id="rId54"/>
    <p:sldId id="4283" r:id="rId55"/>
    <p:sldId id="4918" r:id="rId56"/>
    <p:sldId id="4284" r:id="rId57"/>
    <p:sldId id="4285" r:id="rId58"/>
    <p:sldId id="4900" r:id="rId59"/>
    <p:sldId id="4990" r:id="rId60"/>
    <p:sldId id="4286" r:id="rId61"/>
    <p:sldId id="4287" r:id="rId62"/>
    <p:sldId id="4288" r:id="rId63"/>
    <p:sldId id="4919" r:id="rId64"/>
    <p:sldId id="4289" r:id="rId65"/>
    <p:sldId id="4290" r:id="rId66"/>
    <p:sldId id="4901" r:id="rId67"/>
    <p:sldId id="4992" r:id="rId68"/>
    <p:sldId id="4291" r:id="rId69"/>
    <p:sldId id="4292" r:id="rId70"/>
    <p:sldId id="4293" r:id="rId71"/>
    <p:sldId id="4920" r:id="rId72"/>
    <p:sldId id="4294" r:id="rId73"/>
    <p:sldId id="4295" r:id="rId74"/>
    <p:sldId id="4296" r:id="rId75"/>
    <p:sldId id="4760" r:id="rId76"/>
    <p:sldId id="4982" r:id="rId77"/>
    <p:sldId id="4981" r:id="rId78"/>
    <p:sldId id="4875" r:id="rId79"/>
    <p:sldId id="4869" r:id="rId80"/>
    <p:sldId id="4762" r:id="rId81"/>
    <p:sldId id="4878" r:id="rId82"/>
    <p:sldId id="4879" r:id="rId83"/>
    <p:sldId id="4912" r:id="rId84"/>
    <p:sldId id="4973" r:id="rId85"/>
    <p:sldId id="4974" r:id="rId86"/>
    <p:sldId id="4975" r:id="rId87"/>
    <p:sldId id="4976" r:id="rId88"/>
    <p:sldId id="4977" r:id="rId89"/>
    <p:sldId id="4532" r:id="rId90"/>
    <p:sldId id="4269" r:id="rId91"/>
    <p:sldId id="4270" r:id="rId92"/>
    <p:sldId id="4271" r:id="rId93"/>
    <p:sldId id="4272" r:id="rId94"/>
    <p:sldId id="4273" r:id="rId95"/>
    <p:sldId id="4274" r:id="rId96"/>
    <p:sldId id="3684" r:id="rId97"/>
    <p:sldId id="4880" r:id="rId98"/>
    <p:sldId id="4881" r:id="rId99"/>
    <p:sldId id="4965" r:id="rId100"/>
    <p:sldId id="4913" r:id="rId101"/>
    <p:sldId id="4155" r:id="rId102"/>
    <p:sldId id="4303" r:id="rId103"/>
    <p:sldId id="4304" r:id="rId104"/>
    <p:sldId id="4305" r:id="rId105"/>
    <p:sldId id="4306" r:id="rId106"/>
    <p:sldId id="4964" r:id="rId107"/>
    <p:sldId id="257" r:id="rId108"/>
    <p:sldId id="258" r:id="rId109"/>
    <p:sldId id="4214" r:id="rId110"/>
    <p:sldId id="4994" r:id="rId111"/>
    <p:sldId id="4987" r:id="rId112"/>
    <p:sldId id="2893" r:id="rId113"/>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200" userDrawn="1">
          <p15:clr>
            <a:srgbClr val="A4A3A4"/>
          </p15:clr>
        </p15:guide>
        <p15:guide id="3" pos="333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preet Mathaun" initials="SM" lastIdx="89" clrIdx="0">
    <p:extLst>
      <p:ext uri="{19B8F6BF-5375-455C-9EA6-DF929625EA0E}">
        <p15:presenceInfo xmlns:p15="http://schemas.microsoft.com/office/powerpoint/2012/main" userId="S-1-5-21-1964979238-429942662-834490965-1630" providerId="AD"/>
      </p:ext>
    </p:extLst>
  </p:cmAuthor>
  <p:cmAuthor id="2" name="Kamal Modi" initials="KM" lastIdx="21" clrIdx="1">
    <p:extLst>
      <p:ext uri="{19B8F6BF-5375-455C-9EA6-DF929625EA0E}">
        <p15:presenceInfo xmlns:p15="http://schemas.microsoft.com/office/powerpoint/2012/main" userId="S-1-5-21-1964979238-429942662-834490965-1651" providerId="AD"/>
      </p:ext>
    </p:extLst>
  </p:cmAuthor>
  <p:cmAuthor id="3" name="Hardik Malhotra" initials="HM" lastIdx="2" clrIdx="2">
    <p:extLst>
      <p:ext uri="{19B8F6BF-5375-455C-9EA6-DF929625EA0E}">
        <p15:presenceInfo xmlns:p15="http://schemas.microsoft.com/office/powerpoint/2012/main" userId="S-1-5-21-1964979238-429942662-834490965-1604" providerId="AD"/>
      </p:ext>
    </p:extLst>
  </p:cmAuthor>
  <p:cmAuthor id="4" name="Arpit" initials="A" lastIdx="47" clrIdx="3">
    <p:extLst>
      <p:ext uri="{19B8F6BF-5375-455C-9EA6-DF929625EA0E}">
        <p15:presenceInfo xmlns:p15="http://schemas.microsoft.com/office/powerpoint/2012/main" userId="S-1-5-21-1964979238-429942662-834490965-15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EBF5"/>
    <a:srgbClr val="67E8F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419" autoAdjust="0"/>
    <p:restoredTop sz="94660"/>
  </p:normalViewPr>
  <p:slideViewPr>
    <p:cSldViewPr snapToGrid="0">
      <p:cViewPr varScale="1">
        <p:scale>
          <a:sx n="72" d="100"/>
          <a:sy n="72" d="100"/>
        </p:scale>
        <p:origin x="540" y="54"/>
      </p:cViewPr>
      <p:guideLst>
        <p:guide orient="horz" pos="2160"/>
        <p:guide pos="2200"/>
        <p:guide pos="3334"/>
      </p:guideLst>
    </p:cSldViewPr>
  </p:slideViewPr>
  <p:notesTextViewPr>
    <p:cViewPr>
      <p:scale>
        <a:sx n="1" d="1"/>
        <a:sy n="1" d="1"/>
      </p:scale>
      <p:origin x="0" y="0"/>
    </p:cViewPr>
  </p:notesTextViewPr>
  <p:sorterViewPr>
    <p:cViewPr>
      <p:scale>
        <a:sx n="100" d="100"/>
        <a:sy n="100" d="100"/>
      </p:scale>
      <p:origin x="0" y="-108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viewProps" Target="viewProps.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theme" Target="theme/theme1.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notesMaster" Target="notesMasters/notesMaster1.xml"/><Relationship Id="rId119"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commentAuthors" Target="commentAuthor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 Id="rId4" Type="http://schemas.openxmlformats.org/officeDocument/2006/relationships/chartUserShapes" Target="../drawings/drawing1.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31518298790921301"/>
          <c:y val="0.22530415071981211"/>
          <c:w val="0.45723535635361678"/>
          <c:h val="0.75851023638933646"/>
        </c:manualLayout>
      </c:layout>
      <c:pieChart>
        <c:varyColors val="1"/>
        <c:ser>
          <c:idx val="0"/>
          <c:order val="0"/>
          <c:tx>
            <c:strRef>
              <c:f>Sheet1!$B$1</c:f>
              <c:strCache>
                <c:ptCount val="1"/>
                <c:pt idx="0">
                  <c:v>Sales</c:v>
                </c:pt>
              </c:strCache>
            </c:strRef>
          </c:tx>
          <c:spPr>
            <a:ln w="3175">
              <a:noFill/>
            </a:ln>
          </c:spPr>
          <c:dPt>
            <c:idx val="0"/>
            <c:bubble3D val="0"/>
            <c:spPr>
              <a:solidFill>
                <a:srgbClr val="9AB6EA"/>
              </a:solidFill>
              <a:ln w="3175">
                <a:noFill/>
              </a:ln>
              <a:effectLst/>
            </c:spPr>
            <c:extLst>
              <c:ext xmlns:c16="http://schemas.microsoft.com/office/drawing/2014/chart" uri="{C3380CC4-5D6E-409C-BE32-E72D297353CC}">
                <c16:uniqueId val="{00000001-F728-4491-9A51-0E5FAF75501E}"/>
              </c:ext>
            </c:extLst>
          </c:dPt>
          <c:dPt>
            <c:idx val="1"/>
            <c:bubble3D val="0"/>
            <c:explosion val="2"/>
            <c:spPr>
              <a:solidFill>
                <a:schemeClr val="bg1">
                  <a:lumMod val="85000"/>
                </a:schemeClr>
              </a:solidFill>
              <a:ln w="3175">
                <a:noFill/>
              </a:ln>
              <a:effectLst/>
            </c:spPr>
            <c:extLst>
              <c:ext xmlns:c16="http://schemas.microsoft.com/office/drawing/2014/chart" uri="{C3380CC4-5D6E-409C-BE32-E72D297353CC}">
                <c16:uniqueId val="{00000003-F728-4491-9A51-0E5FAF75501E}"/>
              </c:ext>
            </c:extLst>
          </c:dPt>
          <c:dPt>
            <c:idx val="2"/>
            <c:bubble3D val="0"/>
            <c:spPr>
              <a:solidFill>
                <a:schemeClr val="accent6">
                  <a:tint val="86000"/>
                </a:schemeClr>
              </a:solidFill>
              <a:ln w="3175">
                <a:noFill/>
              </a:ln>
              <a:effectLst/>
            </c:spPr>
            <c:extLst>
              <c:ext xmlns:c16="http://schemas.microsoft.com/office/drawing/2014/chart" uri="{C3380CC4-5D6E-409C-BE32-E72D297353CC}">
                <c16:uniqueId val="{00000004-9228-4128-923A-CAF47FEBF3B7}"/>
              </c:ext>
            </c:extLst>
          </c:dPt>
          <c:dPt>
            <c:idx val="3"/>
            <c:bubble3D val="0"/>
            <c:spPr>
              <a:solidFill>
                <a:schemeClr val="accent6">
                  <a:tint val="58000"/>
                </a:schemeClr>
              </a:solidFill>
              <a:ln w="3175">
                <a:noFill/>
              </a:ln>
              <a:effectLst/>
            </c:spPr>
            <c:extLst>
              <c:ext xmlns:c16="http://schemas.microsoft.com/office/drawing/2014/chart" uri="{C3380CC4-5D6E-409C-BE32-E72D297353CC}">
                <c16:uniqueId val="{00000005-9228-4128-923A-CAF47FEBF3B7}"/>
              </c:ext>
            </c:extLst>
          </c:dPt>
          <c:dPt>
            <c:idx val="4"/>
            <c:bubble3D val="0"/>
            <c:spPr>
              <a:solidFill>
                <a:schemeClr val="accent6">
                  <a:tint val="83000"/>
                </a:schemeClr>
              </a:solidFill>
              <a:ln w="3175">
                <a:noFill/>
              </a:ln>
              <a:effectLst/>
            </c:spPr>
            <c:extLst>
              <c:ext xmlns:c16="http://schemas.microsoft.com/office/drawing/2014/chart" uri="{C3380CC4-5D6E-409C-BE32-E72D297353CC}">
                <c16:uniqueId val="{0000000A-822D-48CB-95C1-7E3B3ED97315}"/>
              </c:ext>
            </c:extLst>
          </c:dPt>
          <c:dPt>
            <c:idx val="5"/>
            <c:bubble3D val="0"/>
            <c:spPr>
              <a:solidFill>
                <a:schemeClr val="accent6">
                  <a:tint val="65000"/>
                </a:schemeClr>
              </a:solidFill>
              <a:ln w="3175">
                <a:noFill/>
              </a:ln>
              <a:effectLst/>
            </c:spPr>
            <c:extLst>
              <c:ext xmlns:c16="http://schemas.microsoft.com/office/drawing/2014/chart" uri="{C3380CC4-5D6E-409C-BE32-E72D297353CC}">
                <c16:uniqueId val="{00000009-822D-48CB-95C1-7E3B3ED97315}"/>
              </c:ext>
            </c:extLst>
          </c:dPt>
          <c:dPt>
            <c:idx val="6"/>
            <c:bubble3D val="0"/>
            <c:spPr>
              <a:solidFill>
                <a:schemeClr val="accent6">
                  <a:tint val="48000"/>
                </a:schemeClr>
              </a:solidFill>
              <a:ln w="3175">
                <a:noFill/>
              </a:ln>
              <a:effectLst/>
            </c:spPr>
            <c:extLst>
              <c:ext xmlns:c16="http://schemas.microsoft.com/office/drawing/2014/chart" uri="{C3380CC4-5D6E-409C-BE32-E72D297353CC}">
                <c16:uniqueId val="{0000000D-F438-41FF-B5BA-705BC2ABFE5E}"/>
              </c:ext>
            </c:extLst>
          </c:dPt>
          <c:dLbls>
            <c:dLbl>
              <c:idx val="0"/>
              <c:layout>
                <c:manualLayout>
                  <c:x val="-6.6833364162635746E-3"/>
                  <c:y val="-1.7781199245190969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32688198411944541"/>
                      <c:h val="0.34192455455727983"/>
                    </c:manualLayout>
                  </c15:layout>
                </c:ext>
                <c:ext xmlns:c16="http://schemas.microsoft.com/office/drawing/2014/chart" uri="{C3380CC4-5D6E-409C-BE32-E72D297353CC}">
                  <c16:uniqueId val="{00000001-F728-4491-9A51-0E5FAF75501E}"/>
                </c:ext>
              </c:extLst>
            </c:dLbl>
            <c:dLbl>
              <c:idx val="1"/>
              <c:layout>
                <c:manualLayout>
                  <c:x val="0.41476417426457646"/>
                  <c:y val="-2.6078257722032895E-7"/>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3296889854142761"/>
                      <c:h val="0.26141158479658433"/>
                    </c:manualLayout>
                  </c15:layout>
                </c:ext>
                <c:ext xmlns:c16="http://schemas.microsoft.com/office/drawing/2014/chart" uri="{C3380CC4-5D6E-409C-BE32-E72D297353CC}">
                  <c16:uniqueId val="{00000003-F728-4491-9A51-0E5FAF75501E}"/>
                </c:ext>
              </c:extLst>
            </c:dLbl>
            <c:dLbl>
              <c:idx val="2"/>
              <c:layout>
                <c:manualLayout>
                  <c:x val="6.4781001011183538E-3"/>
                  <c:y val="0.18050066082305066"/>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31411681156438226"/>
                      <c:h val="0.26329912909050512"/>
                    </c:manualLayout>
                  </c15:layout>
                </c:ext>
                <c:ext xmlns:c16="http://schemas.microsoft.com/office/drawing/2014/chart" uri="{C3380CC4-5D6E-409C-BE32-E72D297353CC}">
                  <c16:uniqueId val="{00000004-9228-4128-923A-CAF47FEBF3B7}"/>
                </c:ext>
              </c:extLst>
            </c:dLbl>
            <c:dLbl>
              <c:idx val="3"/>
              <c:layout>
                <c:manualLayout>
                  <c:x val="1.6582568016762011E-2"/>
                  <c:y val="0.11591785557443615"/>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3431103879308417"/>
                      <c:h val="0.21693198686073062"/>
                    </c:manualLayout>
                  </c15:layout>
                </c:ext>
                <c:ext xmlns:c16="http://schemas.microsoft.com/office/drawing/2014/chart" uri="{C3380CC4-5D6E-409C-BE32-E72D297353CC}">
                  <c16:uniqueId val="{00000005-9228-4128-923A-CAF47FEBF3B7}"/>
                </c:ext>
              </c:extLst>
            </c:dLbl>
            <c:dLbl>
              <c:idx val="4"/>
              <c:layout>
                <c:manualLayout>
                  <c:x val="-5.3466691330107612E-2"/>
                  <c:y val="7.1768929946497848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36758350289448988"/>
                      <c:h val="0.1788446914577016"/>
                    </c:manualLayout>
                  </c15:layout>
                </c:ext>
                <c:ext xmlns:c16="http://schemas.microsoft.com/office/drawing/2014/chart" uri="{C3380CC4-5D6E-409C-BE32-E72D297353CC}">
                  <c16:uniqueId val="{0000000A-822D-48CB-95C1-7E3B3ED97315}"/>
                </c:ext>
              </c:extLst>
            </c:dLbl>
            <c:dLbl>
              <c:idx val="5"/>
              <c:layout>
                <c:manualLayout>
                  <c:x val="1.607526594548029E-2"/>
                  <c:y val="-2.4876050041047176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40768352139207054"/>
                      <c:h val="0.21693198686073062"/>
                    </c:manualLayout>
                  </c15:layout>
                </c:ext>
                <c:ext xmlns:c16="http://schemas.microsoft.com/office/drawing/2014/chart" uri="{C3380CC4-5D6E-409C-BE32-E72D297353CC}">
                  <c16:uniqueId val="{00000009-822D-48CB-95C1-7E3B3ED97315}"/>
                </c:ext>
              </c:extLst>
            </c:dLbl>
            <c:dLbl>
              <c:idx val="6"/>
              <c:layout>
                <c:manualLayout>
                  <c:x val="0.10491759367261703"/>
                  <c:y val="-2.7096352903501059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D-F438-41FF-B5BA-705BC2ABFE5E}"/>
                </c:ext>
              </c:extLst>
            </c:dLbl>
            <c:numFmt formatCode="0.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8</c:f>
              <c:strCache>
                <c:ptCount val="7"/>
                <c:pt idx="0">
                  <c:v>Agriculture</c:v>
                </c:pt>
                <c:pt idx="1">
                  <c:v>Animal Husbandry</c:v>
                </c:pt>
                <c:pt idx="2">
                  <c:v>Healthcare</c:v>
                </c:pt>
                <c:pt idx="3">
                  <c:v>Industrial</c:v>
                </c:pt>
                <c:pt idx="4">
                  <c:v>Chemicals</c:v>
                </c:pt>
                <c:pt idx="5">
                  <c:v>Leather and Textiles</c:v>
                </c:pt>
                <c:pt idx="6">
                  <c:v>Others</c:v>
                </c:pt>
              </c:strCache>
            </c:strRef>
          </c:cat>
          <c:val>
            <c:numRef>
              <c:f>Sheet1!$B$2:$B$8</c:f>
              <c:numCache>
                <c:formatCode>0.00%</c:formatCode>
                <c:ptCount val="7"/>
                <c:pt idx="0">
                  <c:v>0.41917658112403572</c:v>
                </c:pt>
                <c:pt idx="1">
                  <c:v>0.23413280067966782</c:v>
                </c:pt>
                <c:pt idx="2">
                  <c:v>0.15519877815508323</c:v>
                </c:pt>
                <c:pt idx="3">
                  <c:v>7.2906989797258154E-2</c:v>
                </c:pt>
                <c:pt idx="4">
                  <c:v>3.6526699609329208E-2</c:v>
                </c:pt>
                <c:pt idx="5">
                  <c:v>2.5808627036049397E-2</c:v>
                </c:pt>
                <c:pt idx="6">
                  <c:v>5.6241104984944522E-2</c:v>
                </c:pt>
              </c:numCache>
            </c:numRef>
          </c:val>
          <c:extLst>
            <c:ext xmlns:c16="http://schemas.microsoft.com/office/drawing/2014/chart" uri="{C3380CC4-5D6E-409C-BE32-E72D297353CC}">
              <c16:uniqueId val="{0000000A-F728-4491-9A51-0E5FAF75501E}"/>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752334601416942E-3"/>
          <c:y val="1.1864063867016612E-2"/>
          <c:w val="0.99530344764029399"/>
          <c:h val="0.78637795275590561"/>
        </c:manualLayout>
      </c:layout>
      <c:barChart>
        <c:barDir val="bar"/>
        <c:grouping val="clustered"/>
        <c:varyColors val="0"/>
        <c:ser>
          <c:idx val="0"/>
          <c:order val="0"/>
          <c:tx>
            <c:strRef>
              <c:f>Sheet1!$B$1</c:f>
              <c:strCache>
                <c:ptCount val="1"/>
                <c:pt idx="0">
                  <c:v>Column1</c:v>
                </c:pt>
              </c:strCache>
            </c:strRef>
          </c:tx>
          <c:spPr>
            <a:solidFill>
              <a:srgbClr val="002060"/>
            </a:solidFill>
            <a:ln>
              <a:solidFill>
                <a:srgbClr val="00206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3"/>
                <c:pt idx="0">
                  <c:v>Not Satisfied</c:v>
                </c:pt>
                <c:pt idx="1">
                  <c:v>Highly Satisfied</c:v>
                </c:pt>
                <c:pt idx="2">
                  <c:v>Partially Satisfied</c:v>
                </c:pt>
              </c:strCache>
            </c:strRef>
          </c:cat>
          <c:val>
            <c:numRef>
              <c:f>Sheet1!$B$2:$B$4</c:f>
              <c:numCache>
                <c:formatCode>0%</c:formatCode>
                <c:ptCount val="3"/>
                <c:pt idx="0">
                  <c:v>0.42</c:v>
                </c:pt>
                <c:pt idx="1">
                  <c:v>0.78</c:v>
                </c:pt>
                <c:pt idx="2">
                  <c:v>0.88</c:v>
                </c:pt>
              </c:numCache>
            </c:numRef>
          </c:val>
          <c:extLst>
            <c:ext xmlns:c16="http://schemas.microsoft.com/office/drawing/2014/chart" uri="{C3380CC4-5D6E-409C-BE32-E72D297353CC}">
              <c16:uniqueId val="{00000000-DFCE-4102-8EE8-8C0A6B98FABC}"/>
            </c:ext>
          </c:extLst>
        </c:ser>
        <c:dLbls>
          <c:dLblPos val="outEnd"/>
          <c:showLegendKey val="0"/>
          <c:showVal val="1"/>
          <c:showCatName val="0"/>
          <c:showSerName val="0"/>
          <c:showPercent val="0"/>
          <c:showBubbleSize val="0"/>
        </c:dLbls>
        <c:gapWidth val="267"/>
        <c:axId val="1088162360"/>
        <c:axId val="1088160720"/>
      </c:barChart>
      <c:catAx>
        <c:axId val="1088162360"/>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88160720"/>
        <c:crosses val="autoZero"/>
        <c:auto val="1"/>
        <c:lblAlgn val="ctr"/>
        <c:lblOffset val="100"/>
        <c:noMultiLvlLbl val="0"/>
      </c:catAx>
      <c:valAx>
        <c:axId val="1088160720"/>
        <c:scaling>
          <c:orientation val="minMax"/>
          <c:min val="0.1"/>
        </c:scaling>
        <c:delete val="1"/>
        <c:axPos val="b"/>
        <c:majorGridlines>
          <c:spPr>
            <a:ln w="9525" cap="flat" cmpd="sng" algn="ctr">
              <a:solidFill>
                <a:schemeClr val="dk1">
                  <a:lumMod val="15000"/>
                  <a:lumOff val="85000"/>
                </a:schemeClr>
              </a:solidFill>
              <a:round/>
            </a:ln>
            <a:effectLst/>
          </c:spPr>
        </c:majorGridlines>
        <c:numFmt formatCode="0%" sourceLinked="1"/>
        <c:majorTickMark val="none"/>
        <c:minorTickMark val="none"/>
        <c:tickLblPos val="nextTo"/>
        <c:crossAx val="1088162360"/>
        <c:crosses val="autoZero"/>
        <c:crossBetween val="between"/>
      </c:valAx>
      <c:spPr>
        <a:pattFill prst="ltDnDiag">
          <a:fgClr>
            <a:schemeClr val="dk1">
              <a:lumMod val="15000"/>
              <a:lumOff val="85000"/>
            </a:schemeClr>
          </a:fgClr>
          <a:bgClr>
            <a:schemeClr val="lt1"/>
          </a:bgClr>
        </a:pattFill>
        <a:ln>
          <a:noFill/>
        </a:ln>
        <a:effectLst/>
      </c:spPr>
    </c:plotArea>
    <c:plotVisOnly val="1"/>
    <c:dispBlanksAs val="gap"/>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alue (USD Million)</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General</c:formatCode>
                <c:ptCount val="11"/>
                <c:pt idx="0">
                  <c:v>90.66</c:v>
                </c:pt>
                <c:pt idx="1">
                  <c:v>96.37</c:v>
                </c:pt>
                <c:pt idx="2">
                  <c:v>103.05</c:v>
                </c:pt>
                <c:pt idx="3">
                  <c:v>109.23</c:v>
                </c:pt>
                <c:pt idx="4">
                  <c:v>103.58</c:v>
                </c:pt>
                <c:pt idx="5">
                  <c:v>108.65</c:v>
                </c:pt>
                <c:pt idx="6">
                  <c:v>115.02</c:v>
                </c:pt>
                <c:pt idx="7">
                  <c:v>121.58</c:v>
                </c:pt>
                <c:pt idx="8">
                  <c:v>128.66999999999999</c:v>
                </c:pt>
                <c:pt idx="9">
                  <c:v>136.38999999999999</c:v>
                </c:pt>
                <c:pt idx="10">
                  <c:v>144.65</c:v>
                </c:pt>
              </c:numCache>
            </c:numRef>
          </c:val>
          <c:extLst>
            <c:ext xmlns:c16="http://schemas.microsoft.com/office/drawing/2014/chart" uri="{C3380CC4-5D6E-409C-BE32-E72D297353CC}">
              <c16:uniqueId val="{00000000-EA03-4B5A-974B-609E866BCAFE}"/>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General"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olume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43.8</c:v>
                </c:pt>
                <c:pt idx="1">
                  <c:v>45.77</c:v>
                </c:pt>
                <c:pt idx="2">
                  <c:v>47.91</c:v>
                </c:pt>
                <c:pt idx="3">
                  <c:v>50.17</c:v>
                </c:pt>
                <c:pt idx="4">
                  <c:v>48.8</c:v>
                </c:pt>
                <c:pt idx="5">
                  <c:v>50.67</c:v>
                </c:pt>
                <c:pt idx="6">
                  <c:v>53.04</c:v>
                </c:pt>
                <c:pt idx="7">
                  <c:v>55.44</c:v>
                </c:pt>
                <c:pt idx="8">
                  <c:v>58.07</c:v>
                </c:pt>
                <c:pt idx="9">
                  <c:v>60.84</c:v>
                </c:pt>
                <c:pt idx="10">
                  <c:v>63.83</c:v>
                </c:pt>
              </c:numCache>
            </c:numRef>
          </c:val>
          <c:extLst>
            <c:ext xmlns:c16="http://schemas.microsoft.com/office/drawing/2014/chart" uri="{C3380CC4-5D6E-409C-BE32-E72D297353CC}">
              <c16:uniqueId val="{00000000-FB3E-45AB-BDE0-5419C8D17AD4}"/>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5.7998031452388785E-2"/>
          <c:w val="1"/>
          <c:h val="0.76125359774262447"/>
        </c:manualLayout>
      </c:layout>
      <c:barChart>
        <c:barDir val="col"/>
        <c:grouping val="clustered"/>
        <c:varyColors val="0"/>
        <c:ser>
          <c:idx val="0"/>
          <c:order val="0"/>
          <c:tx>
            <c:strRef>
              <c:f>Sheet1!$B$1</c:f>
              <c:strCache>
                <c:ptCount val="1"/>
                <c:pt idx="0">
                  <c:v>Crop Protection sales</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hailand</c:v>
                </c:pt>
                <c:pt idx="1">
                  <c:v>Indonesia</c:v>
                </c:pt>
                <c:pt idx="2">
                  <c:v>Vietnam</c:v>
                </c:pt>
                <c:pt idx="3">
                  <c:v>Philippines</c:v>
                </c:pt>
                <c:pt idx="4">
                  <c:v>Malaysia</c:v>
                </c:pt>
                <c:pt idx="5">
                  <c:v>Others</c:v>
                </c:pt>
              </c:strCache>
            </c:strRef>
          </c:cat>
          <c:val>
            <c:numRef>
              <c:f>Sheet1!$B$2:$B$7</c:f>
              <c:numCache>
                <c:formatCode>General</c:formatCode>
                <c:ptCount val="6"/>
                <c:pt idx="0">
                  <c:v>28.23</c:v>
                </c:pt>
                <c:pt idx="1">
                  <c:v>24.759999999999998</c:v>
                </c:pt>
                <c:pt idx="2">
                  <c:v>20.560000000000002</c:v>
                </c:pt>
                <c:pt idx="3">
                  <c:v>11.87</c:v>
                </c:pt>
                <c:pt idx="4">
                  <c:v>10.38</c:v>
                </c:pt>
                <c:pt idx="5">
                  <c:v>4.1999999999999922</c:v>
                </c:pt>
              </c:numCache>
            </c:numRef>
          </c:val>
          <c:extLst>
            <c:ext xmlns:c16="http://schemas.microsoft.com/office/drawing/2014/chart" uri="{C3380CC4-5D6E-409C-BE32-E72D297353CC}">
              <c16:uniqueId val="{00000000-B6BF-4BF4-9B82-81D43559EDF3}"/>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General"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5.3890244107104253E-2"/>
          <c:w val="1"/>
          <c:h val="0.91218975731447627"/>
        </c:manualLayout>
      </c:layout>
      <c:barChart>
        <c:barDir val="col"/>
        <c:grouping val="clustered"/>
        <c:varyColors val="0"/>
        <c:ser>
          <c:idx val="0"/>
          <c:order val="0"/>
          <c:tx>
            <c:strRef>
              <c:f>Sheet1!$B$1</c:f>
              <c:strCache>
                <c:ptCount val="1"/>
                <c:pt idx="0">
                  <c:v>production</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mmm\-yy</c:formatCode>
                <c:ptCount val="3"/>
                <c:pt idx="0" formatCode="General">
                  <c:v>2020</c:v>
                </c:pt>
                <c:pt idx="1">
                  <c:v>44299</c:v>
                </c:pt>
                <c:pt idx="2">
                  <c:v>44386</c:v>
                </c:pt>
              </c:numCache>
            </c:numRef>
          </c:cat>
          <c:val>
            <c:numRef>
              <c:f>Sheet1!$B$2:$B$4</c:f>
              <c:numCache>
                <c:formatCode>0.0%</c:formatCode>
                <c:ptCount val="3"/>
                <c:pt idx="0">
                  <c:v>4.3999999999999997E-2</c:v>
                </c:pt>
                <c:pt idx="1">
                  <c:v>4.3999999999999997E-2</c:v>
                </c:pt>
                <c:pt idx="2">
                  <c:v>0.04</c:v>
                </c:pt>
              </c:numCache>
            </c:numRef>
          </c:val>
          <c:extLst>
            <c:ext xmlns:c16="http://schemas.microsoft.com/office/drawing/2014/chart" uri="{C3380CC4-5D6E-409C-BE32-E72D297353CC}">
              <c16:uniqueId val="{00000000-6916-47F9-BBD5-96D4A773D4C8}"/>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Anhydrous</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0.18101476767617031</c:v>
                </c:pt>
                <c:pt idx="1">
                  <c:v>0.18019632346857739</c:v>
                </c:pt>
                <c:pt idx="2">
                  <c:v>0.18013595950103056</c:v>
                </c:pt>
                <c:pt idx="3">
                  <c:v>0.17885793481316947</c:v>
                </c:pt>
                <c:pt idx="4">
                  <c:v>0.1779868939963084</c:v>
                </c:pt>
                <c:pt idx="5">
                  <c:v>0.17704272449912151</c:v>
                </c:pt>
                <c:pt idx="6">
                  <c:v>0.17626540936461566</c:v>
                </c:pt>
                <c:pt idx="7">
                  <c:v>0.17540981651677412</c:v>
                </c:pt>
                <c:pt idx="8">
                  <c:v>0.17450995126700564</c:v>
                </c:pt>
                <c:pt idx="9">
                  <c:v>0.17379826719888347</c:v>
                </c:pt>
                <c:pt idx="10">
                  <c:v>0.17311152563264953</c:v>
                </c:pt>
              </c:numCache>
            </c:numRef>
          </c:val>
          <c:extLst>
            <c:ext xmlns:c16="http://schemas.microsoft.com/office/drawing/2014/chart" uri="{C3380CC4-5D6E-409C-BE32-E72D297353CC}">
              <c16:uniqueId val="{00000000-46B7-4319-AAD5-F08DF4908D4A}"/>
            </c:ext>
          </c:extLst>
        </c:ser>
        <c:ser>
          <c:idx val="1"/>
          <c:order val="1"/>
          <c:tx>
            <c:strRef>
              <c:f>Sheet1!$C$1</c:f>
              <c:strCache>
                <c:ptCount val="1"/>
                <c:pt idx="0">
                  <c:v>Hydrous</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81898523232382969</c:v>
                </c:pt>
                <c:pt idx="1">
                  <c:v>0.81980367653142261</c:v>
                </c:pt>
                <c:pt idx="2">
                  <c:v>0.81986404049896944</c:v>
                </c:pt>
                <c:pt idx="3">
                  <c:v>0.82114206518683053</c:v>
                </c:pt>
                <c:pt idx="4">
                  <c:v>0.8220131060036916</c:v>
                </c:pt>
                <c:pt idx="5">
                  <c:v>0.82295727550087849</c:v>
                </c:pt>
                <c:pt idx="6">
                  <c:v>0.82373459063538434</c:v>
                </c:pt>
                <c:pt idx="7">
                  <c:v>0.82459018348322588</c:v>
                </c:pt>
                <c:pt idx="8">
                  <c:v>0.82549004873299436</c:v>
                </c:pt>
                <c:pt idx="9">
                  <c:v>0.82620173280111653</c:v>
                </c:pt>
                <c:pt idx="10">
                  <c:v>0.82688847436735047</c:v>
                </c:pt>
              </c:numCache>
            </c:numRef>
          </c:val>
          <c:extLst>
            <c:ext xmlns:c16="http://schemas.microsoft.com/office/drawing/2014/chart" uri="{C3380CC4-5D6E-409C-BE32-E72D297353CC}">
              <c16:uniqueId val="{00000001-46B7-4319-AAD5-F08DF4908D4A}"/>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eagent Grad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7.6494624941255307E-2</c:v>
                </c:pt>
                <c:pt idx="1">
                  <c:v>5.3924662294879848E-2</c:v>
                </c:pt>
                <c:pt idx="2">
                  <c:v>6.1568951407719667E-2</c:v>
                </c:pt>
                <c:pt idx="3">
                  <c:v>6.3712147002883288E-2</c:v>
                </c:pt>
                <c:pt idx="4">
                  <c:v>7.630438315289248E-2</c:v>
                </c:pt>
                <c:pt idx="5">
                  <c:v>7.3838980828105416E-2</c:v>
                </c:pt>
                <c:pt idx="6">
                  <c:v>7.220859231216771E-2</c:v>
                </c:pt>
                <c:pt idx="7">
                  <c:v>7.0452141037155261E-2</c:v>
                </c:pt>
                <c:pt idx="8">
                  <c:v>6.8942315994100445E-2</c:v>
                </c:pt>
                <c:pt idx="9">
                  <c:v>6.8433474070211178E-2</c:v>
                </c:pt>
                <c:pt idx="10">
                  <c:v>6.679020236122421E-2</c:v>
                </c:pt>
              </c:numCache>
            </c:numRef>
          </c:val>
          <c:extLst>
            <c:ext xmlns:c16="http://schemas.microsoft.com/office/drawing/2014/chart" uri="{C3380CC4-5D6E-409C-BE32-E72D297353CC}">
              <c16:uniqueId val="{00000000-46B7-4319-AAD5-F08DF4908D4A}"/>
            </c:ext>
          </c:extLst>
        </c:ser>
        <c:ser>
          <c:idx val="1"/>
          <c:order val="1"/>
          <c:tx>
            <c:strRef>
              <c:f>Sheet1!$C$1</c:f>
              <c:strCache>
                <c:ptCount val="1"/>
                <c:pt idx="0">
                  <c:v>Industrial Grade</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92354287781630051</c:v>
                </c:pt>
                <c:pt idx="1">
                  <c:v>0.94605250902399518</c:v>
                </c:pt>
                <c:pt idx="2">
                  <c:v>0.93842280016918478</c:v>
                </c:pt>
                <c:pt idx="3">
                  <c:v>0.93626130351437375</c:v>
                </c:pt>
                <c:pt idx="4">
                  <c:v>0.92368719823347545</c:v>
                </c:pt>
                <c:pt idx="5">
                  <c:v>0.92619783463438887</c:v>
                </c:pt>
                <c:pt idx="6">
                  <c:v>0.92779210321904404</c:v>
                </c:pt>
                <c:pt idx="7">
                  <c:v>0.92955246498357169</c:v>
                </c:pt>
                <c:pt idx="8">
                  <c:v>0.9310823983915375</c:v>
                </c:pt>
                <c:pt idx="9">
                  <c:v>0.93155516146025286</c:v>
                </c:pt>
                <c:pt idx="10">
                  <c:v>0.93319458851330039</c:v>
                </c:pt>
              </c:numCache>
            </c:numRef>
          </c:val>
          <c:extLst>
            <c:ext xmlns:c16="http://schemas.microsoft.com/office/drawing/2014/chart" uri="{C3380CC4-5D6E-409C-BE32-E72D297353CC}">
              <c16:uniqueId val="{00000001-46B7-4319-AAD5-F08DF4908D4A}"/>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6"/>
          <c:order val="0"/>
          <c:tx>
            <c:strRef>
              <c:f>Sheet1!$H$1</c:f>
              <c:strCache>
                <c:ptCount val="1"/>
                <c:pt idx="0">
                  <c:v>Others</c:v>
                </c:pt>
              </c:strCache>
            </c:strRef>
          </c:tx>
          <c:spPr>
            <a:solidFill>
              <a:schemeClr val="accent1">
                <a:lumMod val="80000"/>
                <a:lumOff val="2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H$2:$H$12</c:f>
              <c:numCache>
                <c:formatCode>0.00%</c:formatCode>
                <c:ptCount val="11"/>
                <c:pt idx="0">
                  <c:v>5.4314823044498035E-2</c:v>
                </c:pt>
                <c:pt idx="1">
                  <c:v>5.5454443773829777E-2</c:v>
                </c:pt>
                <c:pt idx="2">
                  <c:v>5.0065446243125263E-2</c:v>
                </c:pt>
                <c:pt idx="3">
                  <c:v>4.8235833838030456E-2</c:v>
                </c:pt>
                <c:pt idx="4">
                  <c:v>5.6241104984944522E-2</c:v>
                </c:pt>
                <c:pt idx="5">
                  <c:v>5.155544395106474E-2</c:v>
                </c:pt>
                <c:pt idx="6">
                  <c:v>4.9851424080836065E-2</c:v>
                </c:pt>
                <c:pt idx="7">
                  <c:v>4.8954629171991719E-2</c:v>
                </c:pt>
                <c:pt idx="8">
                  <c:v>4.9217358922450223E-2</c:v>
                </c:pt>
                <c:pt idx="9">
                  <c:v>4.7674486763755283E-2</c:v>
                </c:pt>
                <c:pt idx="10">
                  <c:v>4.7629148980297277E-2</c:v>
                </c:pt>
              </c:numCache>
            </c:numRef>
          </c:val>
          <c:extLst>
            <c:ext xmlns:c16="http://schemas.microsoft.com/office/drawing/2014/chart" uri="{C3380CC4-5D6E-409C-BE32-E72D297353CC}">
              <c16:uniqueId val="{00000001-F08A-4B31-A8C4-92ADB4704588}"/>
            </c:ext>
          </c:extLst>
        </c:ser>
        <c:ser>
          <c:idx val="5"/>
          <c:order val="1"/>
          <c:tx>
            <c:strRef>
              <c:f>Sheet1!$G$1</c:f>
              <c:strCache>
                <c:ptCount val="1"/>
                <c:pt idx="0">
                  <c:v>Leather and Textiles</c:v>
                </c:pt>
              </c:strCache>
            </c:strRef>
          </c:tx>
          <c:spPr>
            <a:solidFill>
              <a:schemeClr val="accent5">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G$2:$G$12</c:f>
              <c:numCache>
                <c:formatCode>0.00%</c:formatCode>
                <c:ptCount val="11"/>
                <c:pt idx="0">
                  <c:v>2.8074993753462767E-2</c:v>
                </c:pt>
                <c:pt idx="1">
                  <c:v>2.7954603476227986E-2</c:v>
                </c:pt>
                <c:pt idx="2">
                  <c:v>2.7769496197406582E-2</c:v>
                </c:pt>
                <c:pt idx="3">
                  <c:v>2.7409916487667565E-2</c:v>
                </c:pt>
                <c:pt idx="4">
                  <c:v>2.5808627036049397E-2</c:v>
                </c:pt>
                <c:pt idx="5">
                  <c:v>2.5760823760733159E-2</c:v>
                </c:pt>
                <c:pt idx="6">
                  <c:v>2.5640571792061348E-2</c:v>
                </c:pt>
                <c:pt idx="7">
                  <c:v>2.55236536518577E-2</c:v>
                </c:pt>
                <c:pt idx="8">
                  <c:v>2.5290287530182379E-2</c:v>
                </c:pt>
                <c:pt idx="9">
                  <c:v>2.5048445063692127E-2</c:v>
                </c:pt>
                <c:pt idx="10">
                  <c:v>2.4838200483926719E-2</c:v>
                </c:pt>
              </c:numCache>
            </c:numRef>
          </c:val>
          <c:extLst>
            <c:ext xmlns:c16="http://schemas.microsoft.com/office/drawing/2014/chart" uri="{C3380CC4-5D6E-409C-BE32-E72D297353CC}">
              <c16:uniqueId val="{00000001-B594-462E-8F90-A4F3DE6A7556}"/>
            </c:ext>
          </c:extLst>
        </c:ser>
        <c:ser>
          <c:idx val="4"/>
          <c:order val="2"/>
          <c:tx>
            <c:strRef>
              <c:f>Sheet1!$F$1</c:f>
              <c:strCache>
                <c:ptCount val="1"/>
                <c:pt idx="0">
                  <c:v>Chemicals</c:v>
                </c:pt>
              </c:strCache>
            </c:strRef>
          </c:tx>
          <c:spPr>
            <a:solidFill>
              <a:schemeClr val="accent3">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F$2:$F$12</c:f>
              <c:numCache>
                <c:formatCode>0.00%</c:formatCode>
                <c:ptCount val="11"/>
                <c:pt idx="0">
                  <c:v>4.0397819270578762E-2</c:v>
                </c:pt>
                <c:pt idx="1">
                  <c:v>3.812982150741652E-2</c:v>
                </c:pt>
                <c:pt idx="2">
                  <c:v>4.0447803264145252E-2</c:v>
                </c:pt>
                <c:pt idx="3">
                  <c:v>3.9668294953287712E-2</c:v>
                </c:pt>
                <c:pt idx="4">
                  <c:v>3.6526699609329208E-2</c:v>
                </c:pt>
                <c:pt idx="5">
                  <c:v>3.7171889553612517E-2</c:v>
                </c:pt>
                <c:pt idx="6">
                  <c:v>3.7471210050426015E-2</c:v>
                </c:pt>
                <c:pt idx="7">
                  <c:v>3.7260977463398584E-2</c:v>
                </c:pt>
                <c:pt idx="8">
                  <c:v>3.647120346623145E-2</c:v>
                </c:pt>
                <c:pt idx="9">
                  <c:v>3.5977921959087909E-2</c:v>
                </c:pt>
                <c:pt idx="10">
                  <c:v>3.5757068371932252E-2</c:v>
                </c:pt>
              </c:numCache>
            </c:numRef>
          </c:val>
          <c:extLst>
            <c:ext xmlns:c16="http://schemas.microsoft.com/office/drawing/2014/chart" uri="{C3380CC4-5D6E-409C-BE32-E72D297353CC}">
              <c16:uniqueId val="{00000001-594A-4F28-872A-6A481B77918A}"/>
            </c:ext>
          </c:extLst>
        </c:ser>
        <c:ser>
          <c:idx val="3"/>
          <c:order val="3"/>
          <c:tx>
            <c:strRef>
              <c:f>Sheet1!$E$1</c:f>
              <c:strCache>
                <c:ptCount val="1"/>
                <c:pt idx="0">
                  <c:v>Industrial</c:v>
                </c:pt>
              </c:strCache>
            </c:strRef>
          </c:tx>
          <c:spPr>
            <a:solidFill>
              <a:schemeClr val="accent1">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E$2:$E$12</c:f>
              <c:numCache>
                <c:formatCode>0.00%</c:formatCode>
                <c:ptCount val="11"/>
                <c:pt idx="0">
                  <c:v>7.7147264196190765E-2</c:v>
                </c:pt>
                <c:pt idx="1">
                  <c:v>7.815239896702178E-2</c:v>
                </c:pt>
                <c:pt idx="2">
                  <c:v>8.0669175135198709E-2</c:v>
                </c:pt>
                <c:pt idx="3">
                  <c:v>7.8936172574340907E-2</c:v>
                </c:pt>
                <c:pt idx="4">
                  <c:v>7.2906989797258154E-2</c:v>
                </c:pt>
                <c:pt idx="5">
                  <c:v>7.1917277496548568E-2</c:v>
                </c:pt>
                <c:pt idx="6">
                  <c:v>7.2081385428621109E-2</c:v>
                </c:pt>
                <c:pt idx="7">
                  <c:v>7.2381899720348739E-2</c:v>
                </c:pt>
                <c:pt idx="8">
                  <c:v>7.2860598663247081E-2</c:v>
                </c:pt>
                <c:pt idx="9">
                  <c:v>7.3236916922061732E-2</c:v>
                </c:pt>
                <c:pt idx="10">
                  <c:v>7.3767538748703759E-2</c:v>
                </c:pt>
              </c:numCache>
            </c:numRef>
          </c:val>
          <c:extLst>
            <c:ext xmlns:c16="http://schemas.microsoft.com/office/drawing/2014/chart" uri="{C3380CC4-5D6E-409C-BE32-E72D297353CC}">
              <c16:uniqueId val="{00000000-594A-4F28-872A-6A481B77918A}"/>
            </c:ext>
          </c:extLst>
        </c:ser>
        <c:ser>
          <c:idx val="2"/>
          <c:order val="4"/>
          <c:tx>
            <c:strRef>
              <c:f>Sheet1!$D$1</c:f>
              <c:strCache>
                <c:ptCount val="1"/>
                <c:pt idx="0">
                  <c:v>Healthcare</c:v>
                </c:pt>
              </c:strCache>
            </c:strRef>
          </c:tx>
          <c:spPr>
            <a:solidFill>
              <a:schemeClr val="accent5"/>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D$2:$D$12</c:f>
              <c:numCache>
                <c:formatCode>0.00%</c:formatCode>
                <c:ptCount val="11"/>
                <c:pt idx="0">
                  <c:v>0.15269370031385862</c:v>
                </c:pt>
                <c:pt idx="1">
                  <c:v>0.14506496161276633</c:v>
                </c:pt>
                <c:pt idx="2">
                  <c:v>0.15003592634555565</c:v>
                </c:pt>
                <c:pt idx="3">
                  <c:v>0.15160087923859122</c:v>
                </c:pt>
                <c:pt idx="4">
                  <c:v>0.15519877815508323</c:v>
                </c:pt>
                <c:pt idx="5">
                  <c:v>0.15913077438768647</c:v>
                </c:pt>
                <c:pt idx="6">
                  <c:v>0.16003864034655285</c:v>
                </c:pt>
                <c:pt idx="7">
                  <c:v>0.16119985401787107</c:v>
                </c:pt>
                <c:pt idx="8">
                  <c:v>0.16207183084532339</c:v>
                </c:pt>
                <c:pt idx="9">
                  <c:v>0.16422955212700346</c:v>
                </c:pt>
                <c:pt idx="10">
                  <c:v>0.1653118052540615</c:v>
                </c:pt>
              </c:numCache>
            </c:numRef>
          </c:val>
          <c:extLst>
            <c:ext xmlns:c16="http://schemas.microsoft.com/office/drawing/2014/chart" uri="{C3380CC4-5D6E-409C-BE32-E72D297353CC}">
              <c16:uniqueId val="{00000002-46B7-4319-AAD5-F08DF4908D4A}"/>
            </c:ext>
          </c:extLst>
        </c:ser>
        <c:ser>
          <c:idx val="1"/>
          <c:order val="5"/>
          <c:tx>
            <c:strRef>
              <c:f>Sheet1!$C$1</c:f>
              <c:strCache>
                <c:ptCount val="1"/>
                <c:pt idx="0">
                  <c:v>Animal Husbandry</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22218352878888156</c:v>
                </c:pt>
                <c:pt idx="1">
                  <c:v>0.22601791608462554</c:v>
                </c:pt>
                <c:pt idx="2">
                  <c:v>0.22953026986899563</c:v>
                </c:pt>
                <c:pt idx="3">
                  <c:v>0.23186202708962739</c:v>
                </c:pt>
                <c:pt idx="4">
                  <c:v>0.23413280067966782</c:v>
                </c:pt>
                <c:pt idx="5">
                  <c:v>0.23577671075983678</c:v>
                </c:pt>
                <c:pt idx="6">
                  <c:v>0.23784501625431753</c:v>
                </c:pt>
                <c:pt idx="7">
                  <c:v>0.23859087400008891</c:v>
                </c:pt>
                <c:pt idx="8">
                  <c:v>0.23946791624315475</c:v>
                </c:pt>
                <c:pt idx="9">
                  <c:v>0.2407910609126627</c:v>
                </c:pt>
                <c:pt idx="10">
                  <c:v>0.24160768765986865</c:v>
                </c:pt>
              </c:numCache>
            </c:numRef>
          </c:val>
          <c:extLst>
            <c:ext xmlns:c16="http://schemas.microsoft.com/office/drawing/2014/chart" uri="{C3380CC4-5D6E-409C-BE32-E72D297353CC}">
              <c16:uniqueId val="{00000001-46B7-4319-AAD5-F08DF4908D4A}"/>
            </c:ext>
          </c:extLst>
        </c:ser>
        <c:ser>
          <c:idx val="0"/>
          <c:order val="6"/>
          <c:tx>
            <c:strRef>
              <c:f>Sheet1!$B$1</c:f>
              <c:strCache>
                <c:ptCount val="1"/>
                <c:pt idx="0">
                  <c:v>Agricultur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0.4252253733900852</c:v>
                </c:pt>
                <c:pt idx="1">
                  <c:v>0.42920302589698728</c:v>
                </c:pt>
                <c:pt idx="2">
                  <c:v>0.42147363452247733</c:v>
                </c:pt>
                <c:pt idx="3">
                  <c:v>0.42226032633571181</c:v>
                </c:pt>
                <c:pt idx="4">
                  <c:v>0.41917658112403572</c:v>
                </c:pt>
                <c:pt idx="5">
                  <c:v>0.41872389555301209</c:v>
                </c:pt>
                <c:pt idx="6">
                  <c:v>0.41707244757839712</c:v>
                </c:pt>
                <c:pt idx="7">
                  <c:v>0.41609271799517039</c:v>
                </c:pt>
                <c:pt idx="8">
                  <c:v>0.41464551871504857</c:v>
                </c:pt>
                <c:pt idx="9">
                  <c:v>0.41303025178220099</c:v>
                </c:pt>
                <c:pt idx="10">
                  <c:v>0.41107334137573454</c:v>
                </c:pt>
              </c:numCache>
            </c:numRef>
          </c:val>
          <c:extLst>
            <c:ext xmlns:c16="http://schemas.microsoft.com/office/drawing/2014/chart" uri="{C3380CC4-5D6E-409C-BE32-E72D297353CC}">
              <c16:uniqueId val="{00000000-46B7-4319-AAD5-F08DF4908D4A}"/>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5"/>
          <c:order val="0"/>
          <c:tx>
            <c:strRef>
              <c:f>Sheet1!$G$1</c:f>
              <c:strCache>
                <c:ptCount val="1"/>
                <c:pt idx="0">
                  <c:v>Rest of South-East Asia</c:v>
                </c:pt>
              </c:strCache>
            </c:strRef>
          </c:tx>
          <c:spPr>
            <a:solidFill>
              <a:schemeClr val="accent5">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G$2:$G$12</c:f>
              <c:numCache>
                <c:formatCode>0.00%</c:formatCode>
                <c:ptCount val="11"/>
                <c:pt idx="0">
                  <c:v>5.3165673946613728E-2</c:v>
                </c:pt>
                <c:pt idx="1">
                  <c:v>5.4270001037667326E-2</c:v>
                </c:pt>
                <c:pt idx="2">
                  <c:v>5.4633672974284328E-2</c:v>
                </c:pt>
                <c:pt idx="3">
                  <c:v>5.5570813878970976E-2</c:v>
                </c:pt>
                <c:pt idx="4">
                  <c:v>5.4064491214520172E-2</c:v>
                </c:pt>
                <c:pt idx="5">
                  <c:v>5.4210768522779562E-2</c:v>
                </c:pt>
                <c:pt idx="6">
                  <c:v>5.4251434533124678E-2</c:v>
                </c:pt>
                <c:pt idx="7">
                  <c:v>5.387399243296595E-2</c:v>
                </c:pt>
                <c:pt idx="8">
                  <c:v>5.3625553742131044E-2</c:v>
                </c:pt>
                <c:pt idx="9">
                  <c:v>5.3376347239533696E-2</c:v>
                </c:pt>
                <c:pt idx="10">
                  <c:v>5.3162806774974078E-2</c:v>
                </c:pt>
              </c:numCache>
            </c:numRef>
          </c:val>
          <c:extLst>
            <c:ext xmlns:c16="http://schemas.microsoft.com/office/drawing/2014/chart" uri="{C3380CC4-5D6E-409C-BE32-E72D297353CC}">
              <c16:uniqueId val="{00000002-2824-4786-8D58-06E64BFDFC29}"/>
            </c:ext>
          </c:extLst>
        </c:ser>
        <c:ser>
          <c:idx val="4"/>
          <c:order val="1"/>
          <c:tx>
            <c:strRef>
              <c:f>Sheet1!$F$1</c:f>
              <c:strCache>
                <c:ptCount val="1"/>
                <c:pt idx="0">
                  <c:v>Thailand</c:v>
                </c:pt>
              </c:strCache>
            </c:strRef>
          </c:tx>
          <c:spPr>
            <a:solidFill>
              <a:schemeClr val="accent3">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F$2:$F$12</c:f>
              <c:numCache>
                <c:formatCode>0.00%</c:formatCode>
                <c:ptCount val="11"/>
                <c:pt idx="0">
                  <c:v>4.8180013236267381E-2</c:v>
                </c:pt>
                <c:pt idx="1">
                  <c:v>4.8697727508560752E-2</c:v>
                </c:pt>
                <c:pt idx="2">
                  <c:v>4.904997573993207E-2</c:v>
                </c:pt>
                <c:pt idx="3">
                  <c:v>4.9651194726723427E-2</c:v>
                </c:pt>
                <c:pt idx="4">
                  <c:v>4.8901332303533503E-2</c:v>
                </c:pt>
                <c:pt idx="5">
                  <c:v>4.7160607455131148E-2</c:v>
                </c:pt>
                <c:pt idx="6">
                  <c:v>4.705268648930621E-2</c:v>
                </c:pt>
                <c:pt idx="7">
                  <c:v>4.6915611120250042E-2</c:v>
                </c:pt>
                <c:pt idx="8">
                  <c:v>4.6831429237584515E-2</c:v>
                </c:pt>
                <c:pt idx="9">
                  <c:v>4.6374367622259695E-2</c:v>
                </c:pt>
                <c:pt idx="10">
                  <c:v>4.6340822675423436E-2</c:v>
                </c:pt>
              </c:numCache>
            </c:numRef>
          </c:val>
          <c:extLst>
            <c:ext xmlns:c16="http://schemas.microsoft.com/office/drawing/2014/chart" uri="{C3380CC4-5D6E-409C-BE32-E72D297353CC}">
              <c16:uniqueId val="{00000001-2824-4786-8D58-06E64BFDFC29}"/>
            </c:ext>
          </c:extLst>
        </c:ser>
        <c:ser>
          <c:idx val="2"/>
          <c:order val="2"/>
          <c:tx>
            <c:strRef>
              <c:f>Sheet1!$D$1</c:f>
              <c:strCache>
                <c:ptCount val="1"/>
                <c:pt idx="0">
                  <c:v>Phillipines</c:v>
                </c:pt>
              </c:strCache>
            </c:strRef>
          </c:tx>
          <c:spPr>
            <a:solidFill>
              <a:schemeClr val="accent5"/>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D$2:$D$12</c:f>
              <c:numCache>
                <c:formatCode>0.00%</c:formatCode>
                <c:ptCount val="11"/>
                <c:pt idx="0">
                  <c:v>8.9642620780939763E-2</c:v>
                </c:pt>
                <c:pt idx="1">
                  <c:v>8.8718480855037862E-2</c:v>
                </c:pt>
                <c:pt idx="2">
                  <c:v>8.7369238233867066E-2</c:v>
                </c:pt>
                <c:pt idx="3">
                  <c:v>8.7210473313192358E-2</c:v>
                </c:pt>
                <c:pt idx="4">
                  <c:v>8.4838076848812519E-2</c:v>
                </c:pt>
                <c:pt idx="5">
                  <c:v>8.5853658536585373E-2</c:v>
                </c:pt>
                <c:pt idx="6">
                  <c:v>8.5694661797948185E-2</c:v>
                </c:pt>
                <c:pt idx="7">
                  <c:v>8.549925974666886E-2</c:v>
                </c:pt>
                <c:pt idx="8">
                  <c:v>8.5211004896246223E-2</c:v>
                </c:pt>
                <c:pt idx="9">
                  <c:v>8.4622039738983815E-2</c:v>
                </c:pt>
                <c:pt idx="10">
                  <c:v>8.4159695817490485E-2</c:v>
                </c:pt>
              </c:numCache>
            </c:numRef>
          </c:val>
          <c:extLst>
            <c:ext xmlns:c16="http://schemas.microsoft.com/office/drawing/2014/chart" uri="{C3380CC4-5D6E-409C-BE32-E72D297353CC}">
              <c16:uniqueId val="{00000002-46B7-4319-AAD5-F08DF4908D4A}"/>
            </c:ext>
          </c:extLst>
        </c:ser>
        <c:ser>
          <c:idx val="3"/>
          <c:order val="3"/>
          <c:tx>
            <c:strRef>
              <c:f>Sheet1!$E$1</c:f>
              <c:strCache>
                <c:ptCount val="1"/>
                <c:pt idx="0">
                  <c:v>Vietnam</c:v>
                </c:pt>
              </c:strCache>
            </c:strRef>
          </c:tx>
          <c:spPr>
            <a:solidFill>
              <a:schemeClr val="accent1">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E$2:$E$12</c:f>
              <c:numCache>
                <c:formatCode>0.00%</c:formatCode>
                <c:ptCount val="11"/>
                <c:pt idx="0">
                  <c:v>0.20593425987204944</c:v>
                </c:pt>
                <c:pt idx="1">
                  <c:v>0.20784476496835114</c:v>
                </c:pt>
                <c:pt idx="2">
                  <c:v>0.2124211547792334</c:v>
                </c:pt>
                <c:pt idx="3">
                  <c:v>0.21111416277579417</c:v>
                </c:pt>
                <c:pt idx="4">
                  <c:v>0.21210658428268003</c:v>
                </c:pt>
                <c:pt idx="5">
                  <c:v>0.21095260009203867</c:v>
                </c:pt>
                <c:pt idx="6">
                  <c:v>0.21300643366371066</c:v>
                </c:pt>
                <c:pt idx="7">
                  <c:v>0.21508471788123046</c:v>
                </c:pt>
                <c:pt idx="8">
                  <c:v>0.21761094272169118</c:v>
                </c:pt>
                <c:pt idx="9">
                  <c:v>0.22164381552899776</c:v>
                </c:pt>
                <c:pt idx="10">
                  <c:v>0.22661596958174904</c:v>
                </c:pt>
              </c:numCache>
            </c:numRef>
          </c:val>
          <c:extLst>
            <c:ext xmlns:c16="http://schemas.microsoft.com/office/drawing/2014/chart" uri="{C3380CC4-5D6E-409C-BE32-E72D297353CC}">
              <c16:uniqueId val="{00000000-2824-4786-8D58-06E64BFDFC29}"/>
            </c:ext>
          </c:extLst>
        </c:ser>
        <c:ser>
          <c:idx val="1"/>
          <c:order val="4"/>
          <c:tx>
            <c:strRef>
              <c:f>Sheet1!$C$1</c:f>
              <c:strCache>
                <c:ptCount val="1"/>
                <c:pt idx="0">
                  <c:v>Malaysia</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20661813368630047</c:v>
                </c:pt>
                <c:pt idx="1">
                  <c:v>0.20740479402303616</c:v>
                </c:pt>
                <c:pt idx="2">
                  <c:v>0.2075803008248423</c:v>
                </c:pt>
                <c:pt idx="3">
                  <c:v>0.20670694864048336</c:v>
                </c:pt>
                <c:pt idx="4">
                  <c:v>0.21088627148098085</c:v>
                </c:pt>
                <c:pt idx="5">
                  <c:v>0.21179935572940634</c:v>
                </c:pt>
                <c:pt idx="6">
                  <c:v>0.21095983307250912</c:v>
                </c:pt>
                <c:pt idx="7">
                  <c:v>0.21050337226517524</c:v>
                </c:pt>
                <c:pt idx="8">
                  <c:v>0.21011657729074379</c:v>
                </c:pt>
                <c:pt idx="9">
                  <c:v>0.20990629811569766</c:v>
                </c:pt>
                <c:pt idx="10">
                  <c:v>0.20904182509505703</c:v>
                </c:pt>
              </c:numCache>
            </c:numRef>
          </c:val>
          <c:extLst>
            <c:ext xmlns:c16="http://schemas.microsoft.com/office/drawing/2014/chart" uri="{C3380CC4-5D6E-409C-BE32-E72D297353CC}">
              <c16:uniqueId val="{00000001-46B7-4319-AAD5-F08DF4908D4A}"/>
            </c:ext>
          </c:extLst>
        </c:ser>
        <c:ser>
          <c:idx val="0"/>
          <c:order val="5"/>
          <c:tx>
            <c:strRef>
              <c:f>Sheet1!$B$1</c:f>
              <c:strCache>
                <c:ptCount val="1"/>
                <c:pt idx="0">
                  <c:v>Indonesia</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0.396496801235385</c:v>
                </c:pt>
                <c:pt idx="1">
                  <c:v>0.39304140292622186</c:v>
                </c:pt>
                <c:pt idx="2">
                  <c:v>0.38893740902474527</c:v>
                </c:pt>
                <c:pt idx="3">
                  <c:v>0.38971985718209273</c:v>
                </c:pt>
                <c:pt idx="4">
                  <c:v>0.38919482525584093</c:v>
                </c:pt>
                <c:pt idx="5">
                  <c:v>0.39005982512655313</c:v>
                </c:pt>
                <c:pt idx="6">
                  <c:v>0.38903564597461304</c:v>
                </c:pt>
                <c:pt idx="7">
                  <c:v>0.38812765257443654</c:v>
                </c:pt>
                <c:pt idx="8">
                  <c:v>0.38662920649724103</c:v>
                </c:pt>
                <c:pt idx="9">
                  <c:v>0.38406576728499159</c:v>
                </c:pt>
                <c:pt idx="10">
                  <c:v>0.38066367092983056</c:v>
                </c:pt>
              </c:numCache>
            </c:numRef>
          </c:val>
          <c:extLst>
            <c:ext xmlns:c16="http://schemas.microsoft.com/office/drawing/2014/chart" uri="{C3380CC4-5D6E-409C-BE32-E72D297353CC}">
              <c16:uniqueId val="{00000000-46B7-4319-AAD5-F08DF4908D4A}"/>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share (2018)</c:v>
                </c:pt>
              </c:strCache>
            </c:strRef>
          </c:tx>
          <c:dPt>
            <c:idx val="0"/>
            <c:bubble3D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1-5913-4102-9749-A8CB1C976959}"/>
              </c:ext>
            </c:extLst>
          </c:dPt>
          <c:dPt>
            <c:idx val="1"/>
            <c:bubble3D val="0"/>
            <c:spPr>
              <a:solidFill>
                <a:schemeClr val="accent3"/>
              </a:solidFill>
              <a:ln w="25400">
                <a:solidFill>
                  <a:schemeClr val="lt1"/>
                </a:solidFill>
              </a:ln>
              <a:effectLst/>
              <a:sp3d contourW="25400">
                <a:contourClr>
                  <a:schemeClr val="lt1"/>
                </a:contourClr>
              </a:sp3d>
            </c:spPr>
            <c:extLst>
              <c:ext xmlns:c16="http://schemas.microsoft.com/office/drawing/2014/chart" uri="{C3380CC4-5D6E-409C-BE32-E72D297353CC}">
                <c16:uniqueId val="{00000003-5913-4102-9749-A8CB1C976959}"/>
              </c:ext>
            </c:extLst>
          </c:dPt>
          <c:dPt>
            <c:idx val="2"/>
            <c:bubble3D val="0"/>
            <c:spPr>
              <a:solidFill>
                <a:schemeClr val="accent5"/>
              </a:solidFill>
              <a:ln w="25400">
                <a:solidFill>
                  <a:schemeClr val="lt1"/>
                </a:solidFill>
              </a:ln>
              <a:effectLst/>
              <a:sp3d contourW="25400">
                <a:contourClr>
                  <a:schemeClr val="lt1"/>
                </a:contourClr>
              </a:sp3d>
            </c:spPr>
            <c:extLst>
              <c:ext xmlns:c16="http://schemas.microsoft.com/office/drawing/2014/chart" uri="{C3380CC4-5D6E-409C-BE32-E72D297353CC}">
                <c16:uniqueId val="{00000005-5913-4102-9749-A8CB1C976959}"/>
              </c:ext>
            </c:extLst>
          </c:dPt>
          <c:dPt>
            <c:idx val="3"/>
            <c:bubble3D val="0"/>
            <c:spPr>
              <a:solidFill>
                <a:schemeClr val="accent1">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7-5913-4102-9749-A8CB1C976959}"/>
              </c:ext>
            </c:extLst>
          </c:dPt>
          <c:dPt>
            <c:idx val="4"/>
            <c:bubble3D val="0"/>
            <c:spPr>
              <a:solidFill>
                <a:schemeClr val="accent3">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9-B04A-49DF-96B7-FC6945FC7EDD}"/>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5"/>
                <c:pt idx="0">
                  <c:v>Lam Seng Hang Indonesia PT.</c:v>
                </c:pt>
                <c:pt idx="1">
                  <c:v>JL Chemtonic Co., Ltd.</c:v>
                </c:pt>
                <c:pt idx="2">
                  <c:v>Chemtronic Technology (Thailand) Co.,Ltd.</c:v>
                </c:pt>
                <c:pt idx="3">
                  <c:v>Fajar Zippindo. PT</c:v>
                </c:pt>
                <c:pt idx="4">
                  <c:v>Others</c:v>
                </c:pt>
              </c:strCache>
              <c:extLst/>
            </c:strRef>
          </c:cat>
          <c:val>
            <c:numRef>
              <c:f>Sheet1!$B$2:$B$7</c:f>
              <c:numCache>
                <c:formatCode>0.00%</c:formatCode>
                <c:ptCount val="5"/>
                <c:pt idx="0">
                  <c:v>0.1174</c:v>
                </c:pt>
                <c:pt idx="1">
                  <c:v>7.4099999999999999E-2</c:v>
                </c:pt>
                <c:pt idx="2">
                  <c:v>6.5656000000000006E-2</c:v>
                </c:pt>
                <c:pt idx="3">
                  <c:v>4.9500000000000002E-2</c:v>
                </c:pt>
                <c:pt idx="4">
                  <c:v>0.69334399999999996</c:v>
                </c:pt>
              </c:numCache>
              <c:extLst/>
            </c:numRef>
          </c:val>
          <c:extLst>
            <c:ext xmlns:c16="http://schemas.microsoft.com/office/drawing/2014/chart" uri="{C3380CC4-5D6E-409C-BE32-E72D297353CC}">
              <c16:uniqueId val="{00000000-DE9A-4364-B5F4-653F8969D71B}"/>
            </c:ext>
          </c:extLst>
        </c:ser>
        <c:dLbls>
          <c:dLblPos val="bestFit"/>
          <c:showLegendKey val="0"/>
          <c:showVal val="1"/>
          <c:showCatName val="0"/>
          <c:showSerName val="0"/>
          <c:showPercent val="0"/>
          <c:showBubbleSize val="0"/>
          <c:showLeaderLines val="1"/>
        </c:dLbls>
      </c:pie3DChart>
      <c:spPr>
        <a:noFill/>
        <a:ln>
          <a:noFill/>
        </a:ln>
        <a:effectLst/>
      </c:spPr>
    </c:plotArea>
    <c:legend>
      <c:legendPos val="r"/>
      <c:layout>
        <c:manualLayout>
          <c:xMode val="edge"/>
          <c:yMode val="edge"/>
          <c:x val="0.73072032154517275"/>
          <c:y val="8.7956793874078537E-2"/>
          <c:w val="0.2663760779902512"/>
          <c:h val="0.82704837831250266"/>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24101482347547382"/>
          <c:y val="0.14581764039420822"/>
          <c:w val="0.45723535635361678"/>
          <c:h val="0.75851023638933646"/>
        </c:manualLayout>
      </c:layout>
      <c:pieChart>
        <c:varyColors val="1"/>
        <c:ser>
          <c:idx val="0"/>
          <c:order val="0"/>
          <c:tx>
            <c:strRef>
              <c:f>Sheet1!$B$1</c:f>
              <c:strCache>
                <c:ptCount val="1"/>
                <c:pt idx="0">
                  <c:v>Sales</c:v>
                </c:pt>
              </c:strCache>
            </c:strRef>
          </c:tx>
          <c:spPr>
            <a:ln w="3175">
              <a:noFill/>
            </a:ln>
          </c:spPr>
          <c:dPt>
            <c:idx val="0"/>
            <c:bubble3D val="0"/>
            <c:spPr>
              <a:solidFill>
                <a:schemeClr val="tx2">
                  <a:lumMod val="75000"/>
                </a:schemeClr>
              </a:solidFill>
              <a:ln w="3175">
                <a:noFill/>
              </a:ln>
              <a:effectLst/>
            </c:spPr>
            <c:extLst>
              <c:ext xmlns:c16="http://schemas.microsoft.com/office/drawing/2014/chart" uri="{C3380CC4-5D6E-409C-BE32-E72D297353CC}">
                <c16:uniqueId val="{00000001-0316-477F-93E3-0CCF1A04A703}"/>
              </c:ext>
            </c:extLst>
          </c:dPt>
          <c:dPt>
            <c:idx val="1"/>
            <c:bubble3D val="0"/>
            <c:spPr>
              <a:solidFill>
                <a:schemeClr val="accent1"/>
              </a:solidFill>
              <a:ln w="3175">
                <a:noFill/>
              </a:ln>
              <a:effectLst/>
            </c:spPr>
            <c:extLst>
              <c:ext xmlns:c16="http://schemas.microsoft.com/office/drawing/2014/chart" uri="{C3380CC4-5D6E-409C-BE32-E72D297353CC}">
                <c16:uniqueId val="{00000003-0316-477F-93E3-0CCF1A04A703}"/>
              </c:ext>
            </c:extLst>
          </c:dPt>
          <c:dPt>
            <c:idx val="2"/>
            <c:bubble3D val="0"/>
            <c:explosion val="2"/>
            <c:spPr>
              <a:solidFill>
                <a:schemeClr val="accent2"/>
              </a:solidFill>
              <a:ln w="3175">
                <a:noFill/>
              </a:ln>
              <a:effectLst/>
            </c:spPr>
            <c:extLst>
              <c:ext xmlns:c16="http://schemas.microsoft.com/office/drawing/2014/chart" uri="{C3380CC4-5D6E-409C-BE32-E72D297353CC}">
                <c16:uniqueId val="{00000005-0316-477F-93E3-0CCF1A04A703}"/>
              </c:ext>
            </c:extLst>
          </c:dPt>
          <c:dPt>
            <c:idx val="3"/>
            <c:bubble3D val="0"/>
            <c:spPr>
              <a:solidFill>
                <a:schemeClr val="accent6">
                  <a:tint val="77000"/>
                </a:schemeClr>
              </a:solidFill>
              <a:ln w="3175">
                <a:noFill/>
              </a:ln>
              <a:effectLst/>
            </c:spPr>
            <c:extLst>
              <c:ext xmlns:c16="http://schemas.microsoft.com/office/drawing/2014/chart" uri="{C3380CC4-5D6E-409C-BE32-E72D297353CC}">
                <c16:uniqueId val="{00000007-0316-477F-93E3-0CCF1A04A703}"/>
              </c:ext>
            </c:extLst>
          </c:dPt>
          <c:dPt>
            <c:idx val="4"/>
            <c:bubble3D val="0"/>
            <c:spPr>
              <a:solidFill>
                <a:schemeClr val="accent6">
                  <a:tint val="83000"/>
                </a:schemeClr>
              </a:solidFill>
              <a:ln w="3175">
                <a:noFill/>
              </a:ln>
              <a:effectLst/>
            </c:spPr>
            <c:extLst>
              <c:ext xmlns:c16="http://schemas.microsoft.com/office/drawing/2014/chart" uri="{C3380CC4-5D6E-409C-BE32-E72D297353CC}">
                <c16:uniqueId val="{00000009-0316-477F-93E3-0CCF1A04A703}"/>
              </c:ext>
            </c:extLst>
          </c:dPt>
          <c:dPt>
            <c:idx val="5"/>
            <c:bubble3D val="0"/>
            <c:spPr>
              <a:solidFill>
                <a:schemeClr val="accent6">
                  <a:tint val="65000"/>
                </a:schemeClr>
              </a:solidFill>
              <a:ln w="3175">
                <a:noFill/>
              </a:ln>
              <a:effectLst/>
            </c:spPr>
            <c:extLst>
              <c:ext xmlns:c16="http://schemas.microsoft.com/office/drawing/2014/chart" uri="{C3380CC4-5D6E-409C-BE32-E72D297353CC}">
                <c16:uniqueId val="{00000000-B3DB-45D2-8D79-1F81D5E45894}"/>
              </c:ext>
            </c:extLst>
          </c:dPt>
          <c:dPt>
            <c:idx val="6"/>
            <c:bubble3D val="0"/>
            <c:spPr>
              <a:solidFill>
                <a:schemeClr val="accent6">
                  <a:tint val="48000"/>
                </a:schemeClr>
              </a:solidFill>
              <a:ln w="3175">
                <a:noFill/>
              </a:ln>
              <a:effectLst/>
            </c:spPr>
            <c:extLst>
              <c:ext xmlns:c16="http://schemas.microsoft.com/office/drawing/2014/chart" uri="{C3380CC4-5D6E-409C-BE32-E72D297353CC}">
                <c16:uniqueId val="{0000000C-A605-40E9-B827-EE5BFBC8D73A}"/>
              </c:ext>
            </c:extLst>
          </c:dPt>
          <c:dLbls>
            <c:dLbl>
              <c:idx val="0"/>
              <c:layout>
                <c:manualLayout>
                  <c:x val="0.16799101798003316"/>
                  <c:y val="-9.6691266216169275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34684027510166693"/>
                      <c:h val="0.28754252059921576"/>
                    </c:manualLayout>
                  </c15:layout>
                </c:ext>
                <c:ext xmlns:c16="http://schemas.microsoft.com/office/drawing/2014/chart" uri="{C3380CC4-5D6E-409C-BE32-E72D297353CC}">
                  <c16:uniqueId val="{00000001-0316-477F-93E3-0CCF1A04A703}"/>
                </c:ext>
              </c:extLst>
            </c:dLbl>
            <c:dLbl>
              <c:idx val="1"/>
              <c:layout>
                <c:manualLayout>
                  <c:x val="-6.1499431322455216E-3"/>
                  <c:y val="-3.9280592399095725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29539066820538334"/>
                      <c:h val="0.18500482267910648"/>
                    </c:manualLayout>
                  </c15:layout>
                </c:ext>
                <c:ext xmlns:c16="http://schemas.microsoft.com/office/drawing/2014/chart" uri="{C3380CC4-5D6E-409C-BE32-E72D297353CC}">
                  <c16:uniqueId val="{00000003-0316-477F-93E3-0CCF1A04A703}"/>
                </c:ext>
              </c:extLst>
            </c:dLbl>
            <c:dLbl>
              <c:idx val="2"/>
              <c:layout>
                <c:manualLayout>
                  <c:x val="2.7487822175886155E-2"/>
                  <c:y val="7.8561831178009689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34911668292644599"/>
                      <c:h val="0.2503186965300026"/>
                    </c:manualLayout>
                  </c15:layout>
                </c:ext>
                <c:ext xmlns:c16="http://schemas.microsoft.com/office/drawing/2014/chart" uri="{C3380CC4-5D6E-409C-BE32-E72D297353CC}">
                  <c16:uniqueId val="{00000005-0316-477F-93E3-0CCF1A04A703}"/>
                </c:ext>
              </c:extLst>
            </c:dLbl>
            <c:dLbl>
              <c:idx val="3"/>
              <c:layout>
                <c:manualLayout>
                  <c:x val="8.4665891696682032E-3"/>
                  <c:y val="3.6259076129808276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24857625219240467"/>
                      <c:h val="0.2504538362306683"/>
                    </c:manualLayout>
                  </c15:layout>
                </c:ext>
                <c:ext xmlns:c16="http://schemas.microsoft.com/office/drawing/2014/chart" uri="{C3380CC4-5D6E-409C-BE32-E72D297353CC}">
                  <c16:uniqueId val="{00000007-0316-477F-93E3-0CCF1A04A703}"/>
                </c:ext>
              </c:extLst>
            </c:dLbl>
            <c:dLbl>
              <c:idx val="4"/>
              <c:layout>
                <c:manualLayout>
                  <c:x val="0"/>
                  <c:y val="1.0486650434041119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25228892519631685"/>
                      <c:h val="0.25151877513943421"/>
                    </c:manualLayout>
                  </c15:layout>
                </c:ext>
                <c:ext xmlns:c16="http://schemas.microsoft.com/office/drawing/2014/chart" uri="{C3380CC4-5D6E-409C-BE32-E72D297353CC}">
                  <c16:uniqueId val="{00000009-0316-477F-93E3-0CCF1A04A703}"/>
                </c:ext>
              </c:extLst>
            </c:dLbl>
            <c:dLbl>
              <c:idx val="5"/>
              <c:layout>
                <c:manualLayout>
                  <c:x val="1.4253611593012252E-2"/>
                  <c:y val="-0.10434307592234035"/>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24231139708120827"/>
                      <c:h val="0.24021795559328474"/>
                    </c:manualLayout>
                  </c15:layout>
                </c:ext>
                <c:ext xmlns:c16="http://schemas.microsoft.com/office/drawing/2014/chart" uri="{C3380CC4-5D6E-409C-BE32-E72D297353CC}">
                  <c16:uniqueId val="{00000000-B3DB-45D2-8D79-1F81D5E45894}"/>
                </c:ext>
              </c:extLst>
            </c:dLbl>
            <c:dLbl>
              <c:idx val="6"/>
              <c:layout>
                <c:manualLayout>
                  <c:x val="4.2974077787121152E-2"/>
                  <c:y val="-1.2761184832567146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C-A605-40E9-B827-EE5BFBC8D73A}"/>
                </c:ext>
              </c:extLst>
            </c:dLbl>
            <c:numFmt formatCode="0.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Industrial</c:v>
                </c:pt>
                <c:pt idx="1">
                  <c:v>Reagent</c:v>
                </c:pt>
              </c:strCache>
            </c:strRef>
          </c:cat>
          <c:val>
            <c:numRef>
              <c:f>Sheet1!$B$2:$B$3</c:f>
              <c:numCache>
                <c:formatCode>0.00%</c:formatCode>
                <c:ptCount val="2"/>
                <c:pt idx="0">
                  <c:v>0.92368719823347545</c:v>
                </c:pt>
                <c:pt idx="1">
                  <c:v>7.630438315289248E-2</c:v>
                </c:pt>
              </c:numCache>
            </c:numRef>
          </c:val>
          <c:extLst>
            <c:ext xmlns:c16="http://schemas.microsoft.com/office/drawing/2014/chart" uri="{C3380CC4-5D6E-409C-BE32-E72D297353CC}">
              <c16:uniqueId val="{0000000A-0316-477F-93E3-0CCF1A04A703}"/>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rgbClr val="7030A0"/>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179636791595551E-2"/>
          <c:y val="6.1584280508391702E-2"/>
          <c:w val="0.93451887310237958"/>
          <c:h val="0.90042296015229328"/>
        </c:manualLayout>
      </c:layout>
      <c:scatterChart>
        <c:scatterStyle val="lineMarker"/>
        <c:varyColors val="0"/>
        <c:ser>
          <c:idx val="0"/>
          <c:order val="0"/>
          <c:tx>
            <c:strRef>
              <c:f>Sheet1!$B$1</c:f>
              <c:strCache>
                <c:ptCount val="1"/>
                <c:pt idx="0">
                  <c:v>CAGR(2021E-2026F)</c:v>
                </c:pt>
              </c:strCache>
            </c:strRef>
          </c:tx>
          <c:spPr>
            <a:ln w="25400">
              <a:noFill/>
            </a:ln>
            <a:effectLst/>
          </c:spPr>
          <c:marker>
            <c:symbol val="circle"/>
            <c:size val="11"/>
            <c:spPr>
              <a:solidFill>
                <a:schemeClr val="accent1"/>
              </a:solidFill>
              <a:ln w="9525" cap="flat" cmpd="sng" algn="ctr">
                <a:solidFill>
                  <a:schemeClr val="accent1"/>
                </a:solidFill>
                <a:round/>
              </a:ln>
              <a:effectLst/>
            </c:spPr>
          </c:marker>
          <c:dPt>
            <c:idx val="0"/>
            <c:marker>
              <c:symbol val="circle"/>
              <c:size val="11"/>
              <c:spPr>
                <a:solidFill>
                  <a:schemeClr val="bg2">
                    <a:lumMod val="75000"/>
                  </a:schemeClr>
                </a:solidFill>
                <a:ln w="9525" cap="flat" cmpd="sng" algn="ctr">
                  <a:noFill/>
                  <a:round/>
                </a:ln>
                <a:effectLst/>
              </c:spPr>
            </c:marker>
            <c:bubble3D val="0"/>
            <c:spPr>
              <a:ln w="25400">
                <a:noFill/>
              </a:ln>
              <a:effectLst/>
            </c:spPr>
            <c:extLst>
              <c:ext xmlns:c16="http://schemas.microsoft.com/office/drawing/2014/chart" uri="{C3380CC4-5D6E-409C-BE32-E72D297353CC}">
                <c16:uniqueId val="{00000001-B3E4-4B6D-AB39-934C52009A9C}"/>
              </c:ext>
            </c:extLst>
          </c:dPt>
          <c:dPt>
            <c:idx val="1"/>
            <c:marker>
              <c:symbol val="circle"/>
              <c:size val="11"/>
              <c:spPr>
                <a:solidFill>
                  <a:schemeClr val="tx2">
                    <a:lumMod val="75000"/>
                  </a:schemeClr>
                </a:solidFill>
                <a:ln w="9525" cap="flat" cmpd="sng" algn="ctr">
                  <a:noFill/>
                  <a:round/>
                </a:ln>
                <a:effectLst/>
              </c:spPr>
            </c:marker>
            <c:bubble3D val="0"/>
            <c:spPr>
              <a:ln w="25400">
                <a:noFill/>
              </a:ln>
              <a:effectLst/>
            </c:spPr>
            <c:extLst>
              <c:ext xmlns:c16="http://schemas.microsoft.com/office/drawing/2014/chart" uri="{C3380CC4-5D6E-409C-BE32-E72D297353CC}">
                <c16:uniqueId val="{00000003-B3E4-4B6D-AB39-934C52009A9C}"/>
              </c:ext>
            </c:extLst>
          </c:dPt>
          <c:dPt>
            <c:idx val="4"/>
            <c:marker>
              <c:symbol val="circle"/>
              <c:size val="11"/>
              <c:spPr>
                <a:solidFill>
                  <a:schemeClr val="accent4">
                    <a:lumMod val="60000"/>
                    <a:lumOff val="40000"/>
                  </a:schemeClr>
                </a:solidFill>
                <a:ln w="9525" cap="flat" cmpd="sng" algn="ctr">
                  <a:solidFill>
                    <a:schemeClr val="accent1"/>
                  </a:solidFill>
                  <a:round/>
                </a:ln>
                <a:effectLst/>
              </c:spPr>
            </c:marker>
            <c:bubble3D val="0"/>
            <c:extLst>
              <c:ext xmlns:c16="http://schemas.microsoft.com/office/drawing/2014/chart" uri="{C3380CC4-5D6E-409C-BE32-E72D297353CC}">
                <c16:uniqueId val="{00000004-B3E4-4B6D-AB39-934C52009A9C}"/>
              </c:ext>
            </c:extLst>
          </c:dPt>
          <c:dLbls>
            <c:dLbl>
              <c:idx val="0"/>
              <c:layout>
                <c:manualLayout>
                  <c:x val="-0.11379330606777967"/>
                  <c:y val="6.0627304714868151E-2"/>
                </c:manualLayout>
              </c:layout>
              <c:tx>
                <c:rich>
                  <a:bodyPr/>
                  <a:lstStyle/>
                  <a:p>
                    <a:fld id="{9196968E-DAEB-431C-8386-C03A81DE0D9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3E4-4B6D-AB39-934C52009A9C}"/>
                </c:ext>
              </c:extLst>
            </c:dLbl>
            <c:dLbl>
              <c:idx val="1"/>
              <c:layout>
                <c:manualLayout>
                  <c:x val="-1.5423604800261378E-2"/>
                  <c:y val="0.12255050659561029"/>
                </c:manualLayout>
              </c:layout>
              <c:tx>
                <c:rich>
                  <a:bodyPr/>
                  <a:lstStyle/>
                  <a:p>
                    <a:fld id="{7908FFF8-3866-4F23-853E-54FAA60C68E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3E4-4B6D-AB39-934C52009A9C}"/>
                </c:ext>
              </c:extLst>
            </c:dLbl>
            <c:dLbl>
              <c:idx val="2"/>
              <c:layout>
                <c:manualLayout>
                  <c:x val="3.6317089642282481E-2"/>
                  <c:y val="3.0241693977816085E-2"/>
                </c:manualLayout>
              </c:layout>
              <c:tx>
                <c:rich>
                  <a:bodyPr/>
                  <a:lstStyle/>
                  <a:p>
                    <a:fld id="{ED6D67FE-1B0F-40B9-94FE-5FA12B72FA5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3E4-4B6D-AB39-934C52009A9C}"/>
                </c:ext>
              </c:extLst>
            </c:dLbl>
            <c:dLbl>
              <c:idx val="3"/>
              <c:layout>
                <c:manualLayout>
                  <c:x val="-0.10088063231662601"/>
                  <c:y val="4.5362350269801378E-2"/>
                </c:manualLayout>
              </c:layout>
              <c:tx>
                <c:rich>
                  <a:bodyPr/>
                  <a:lstStyle/>
                  <a:p>
                    <a:fld id="{B0D46095-EDB0-48D8-AA9E-BD095D68505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3E4-4B6D-AB39-934C52009A9C}"/>
                </c:ext>
              </c:extLst>
            </c:dLbl>
            <c:dLbl>
              <c:idx val="4"/>
              <c:layout>
                <c:manualLayout>
                  <c:x val="-0.10904081703289495"/>
                  <c:y val="7.113969146659796E-2"/>
                </c:manualLayout>
              </c:layout>
              <c:tx>
                <c:rich>
                  <a:bodyPr rot="0" spcFirstLastPara="1" vertOverflow="ellipsis" vert="horz" wrap="square" lIns="38100" tIns="19050" rIns="38100" bIns="19050" anchor="ctr" anchorCtr="1">
                    <a:no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fld id="{B08806B4-8C16-403E-97B9-54757EF3D7CD}" type="CELLRANGE">
                      <a:rPr lang="en-US"/>
                      <a:pPr>
                        <a:defRPr/>
                      </a:pPr>
                      <a:t>[CELLRANGE]</a:t>
                    </a:fld>
                    <a:endParaRPr lang="en-US"/>
                  </a:p>
                </c:rich>
              </c:tx>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0.11182633328745249"/>
                      <c:h val="4.6350245132468049E-2"/>
                    </c:manualLayout>
                  </c15:layout>
                  <c15:dlblFieldTable/>
                  <c15:showDataLabelsRange val="1"/>
                </c:ext>
                <c:ext xmlns:c16="http://schemas.microsoft.com/office/drawing/2014/chart" uri="{C3380CC4-5D6E-409C-BE32-E72D297353CC}">
                  <c16:uniqueId val="{00000004-B3E4-4B6D-AB39-934C52009A9C}"/>
                </c:ext>
              </c:extLst>
            </c:dLbl>
            <c:dLbl>
              <c:idx val="5"/>
              <c:layout>
                <c:manualLayout>
                  <c:x val="-1.3630093744457743E-2"/>
                  <c:y val="9.8501111261443217E-2"/>
                </c:manualLayout>
              </c:layout>
              <c:tx>
                <c:rich>
                  <a:bodyPr/>
                  <a:lstStyle/>
                  <a:p>
                    <a:fld id="{59DA90C5-5A34-4E3A-8A7B-2E7E7A38F73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3E4-4B6D-AB39-934C52009A9C}"/>
                </c:ext>
              </c:extLst>
            </c:dLbl>
            <c:dLbl>
              <c:idx val="6"/>
              <c:layout>
                <c:manualLayout>
                  <c:x val="3.4075234361144358E-3"/>
                  <c:y val="4.1042129692268052E-2"/>
                </c:manualLayout>
              </c:layou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B3E4-4B6D-AB39-934C52009A9C}"/>
                </c:ext>
              </c:extLst>
            </c:dLbl>
            <c:dLbl>
              <c:idx val="7"/>
              <c:layout>
                <c:manualLayout>
                  <c:x val="-1.7037617180572194E-2"/>
                  <c:y val="-0.11765410511783508"/>
                </c:manualLayout>
              </c:layou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3E4-4B6D-AB39-934C52009A9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3175">
                      <a:solidFill>
                        <a:schemeClr val="bg1">
                          <a:lumMod val="85000"/>
                        </a:schemeClr>
                      </a:solidFill>
                    </a:ln>
                    <a:effectLst/>
                  </c:spPr>
                </c15:leaderLines>
              </c:ext>
            </c:extLst>
          </c:dLbls>
          <c:xVal>
            <c:numRef>
              <c:f>Sheet1!$A$2:$A$7</c:f>
              <c:numCache>
                <c:formatCode>0.00</c:formatCode>
                <c:ptCount val="6"/>
                <c:pt idx="0">
                  <c:v>40.312800000000003</c:v>
                </c:pt>
                <c:pt idx="1">
                  <c:v>21.843599999999999</c:v>
                </c:pt>
                <c:pt idx="2">
                  <c:v>8.7874999999999996</c:v>
                </c:pt>
                <c:pt idx="3">
                  <c:v>21.967199999999998</c:v>
                </c:pt>
                <c:pt idx="4">
                  <c:v>5.0651999999999999</c:v>
                </c:pt>
                <c:pt idx="5">
                  <c:v>5.5986000000000002</c:v>
                </c:pt>
              </c:numCache>
            </c:numRef>
          </c:xVal>
          <c:yVal>
            <c:numRef>
              <c:f>Sheet1!$B$2:$B$7</c:f>
              <c:numCache>
                <c:formatCode>0.00%</c:formatCode>
                <c:ptCount val="6"/>
                <c:pt idx="0">
                  <c:v>5.3800000000000001E-2</c:v>
                </c:pt>
                <c:pt idx="1">
                  <c:v>5.6099999999999997E-2</c:v>
                </c:pt>
                <c:pt idx="2">
                  <c:v>5.4699999999999999E-2</c:v>
                </c:pt>
                <c:pt idx="3">
                  <c:v>7.4099999999999999E-2</c:v>
                </c:pt>
                <c:pt idx="4">
                  <c:v>5.5199999999999999E-2</c:v>
                </c:pt>
                <c:pt idx="5">
                  <c:v>5.4899999999999997E-2</c:v>
                </c:pt>
              </c:numCache>
            </c:numRef>
          </c:yVal>
          <c:smooth val="0"/>
          <c:extLst>
            <c:ext xmlns:c15="http://schemas.microsoft.com/office/drawing/2012/chart" uri="{02D57815-91ED-43cb-92C2-25804820EDAC}">
              <c15:datalabelsRange>
                <c15:f>Sheet1!$C$2:$C$7</c15:f>
                <c15:dlblRangeCache>
                  <c:ptCount val="6"/>
                  <c:pt idx="0">
                    <c:v>Indonesia</c:v>
                  </c:pt>
                  <c:pt idx="1">
                    <c:v>Malaysia</c:v>
                  </c:pt>
                  <c:pt idx="2">
                    <c:v>Phillipines</c:v>
                  </c:pt>
                  <c:pt idx="3">
                    <c:v>Vietnam</c:v>
                  </c:pt>
                  <c:pt idx="4">
                    <c:v>Thailand</c:v>
                  </c:pt>
                  <c:pt idx="5">
                    <c:v>Rest of South-East Asia</c:v>
                  </c:pt>
                </c15:dlblRangeCache>
              </c15:datalabelsRange>
            </c:ext>
            <c:ext xmlns:c16="http://schemas.microsoft.com/office/drawing/2014/chart" uri="{C3380CC4-5D6E-409C-BE32-E72D297353CC}">
              <c16:uniqueId val="{0000000A-B3E4-4B6D-AB39-934C52009A9C}"/>
            </c:ext>
          </c:extLst>
        </c:ser>
        <c:dLbls>
          <c:showLegendKey val="0"/>
          <c:showVal val="1"/>
          <c:showCatName val="0"/>
          <c:showSerName val="0"/>
          <c:showPercent val="0"/>
          <c:showBubbleSize val="0"/>
        </c:dLbls>
        <c:axId val="461268448"/>
        <c:axId val="461277304"/>
      </c:scatterChart>
      <c:valAx>
        <c:axId val="461268448"/>
        <c:scaling>
          <c:orientation val="minMax"/>
        </c:scaling>
        <c:delete val="0"/>
        <c:axPos val="b"/>
        <c:numFmt formatCode="General"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61277304"/>
        <c:crosses val="autoZero"/>
        <c:crossBetween val="midCat"/>
      </c:valAx>
      <c:valAx>
        <c:axId val="461277304"/>
        <c:scaling>
          <c:orientation val="minMax"/>
        </c:scaling>
        <c:delete val="0"/>
        <c:axPos val="l"/>
        <c:numFmt formatCode="0.00%" sourceLinked="1"/>
        <c:majorTickMark val="out"/>
        <c:minorTickMark val="none"/>
        <c:tickLblPos val="nextTo"/>
        <c:spPr>
          <a:noFill/>
          <a:ln>
            <a:noFill/>
          </a:ln>
          <a:effectLst/>
        </c:spPr>
        <c:txPr>
          <a:bodyPr rot="-5400000" spcFirstLastPara="1" vertOverflow="ellipsis" wrap="square" anchor="ctr" anchorCtr="1"/>
          <a:lstStyle/>
          <a:p>
            <a:pPr>
              <a:defRPr sz="8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6126844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alpha val="47000"/>
      </a:schemeClr>
    </a:solidFill>
    <a:ln w="9525" cap="flat" cmpd="sng" algn="ctr">
      <a:noFill/>
      <a:round/>
    </a:ln>
    <a:effectLst/>
  </c:spPr>
  <c:txPr>
    <a:bodyPr/>
    <a:lstStyle/>
    <a:p>
      <a:pPr>
        <a:defRPr sz="9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179636791595551E-2"/>
          <c:y val="6.1584280508391702E-2"/>
          <c:w val="0.93451887310237958"/>
          <c:h val="0.90042296015229328"/>
        </c:manualLayout>
      </c:layout>
      <c:scatterChart>
        <c:scatterStyle val="lineMarker"/>
        <c:varyColors val="0"/>
        <c:ser>
          <c:idx val="0"/>
          <c:order val="0"/>
          <c:tx>
            <c:strRef>
              <c:f>Sheet1!$B$1</c:f>
              <c:strCache>
                <c:ptCount val="1"/>
                <c:pt idx="0">
                  <c:v>CAGR(2021E-2026F)</c:v>
                </c:pt>
              </c:strCache>
            </c:strRef>
          </c:tx>
          <c:spPr>
            <a:ln w="25400">
              <a:noFill/>
            </a:ln>
            <a:effectLst/>
          </c:spPr>
          <c:marker>
            <c:symbol val="circle"/>
            <c:size val="11"/>
            <c:spPr>
              <a:solidFill>
                <a:schemeClr val="accent1"/>
              </a:solidFill>
              <a:ln w="9525" cap="flat" cmpd="sng" algn="ctr">
                <a:solidFill>
                  <a:schemeClr val="accent1"/>
                </a:solidFill>
                <a:round/>
              </a:ln>
              <a:effectLst/>
            </c:spPr>
          </c:marker>
          <c:dPt>
            <c:idx val="0"/>
            <c:marker>
              <c:symbol val="circle"/>
              <c:size val="11"/>
              <c:spPr>
                <a:solidFill>
                  <a:schemeClr val="bg2">
                    <a:lumMod val="75000"/>
                  </a:schemeClr>
                </a:solidFill>
                <a:ln w="9525" cap="flat" cmpd="sng" algn="ctr">
                  <a:noFill/>
                  <a:round/>
                </a:ln>
                <a:effectLst/>
              </c:spPr>
            </c:marker>
            <c:bubble3D val="0"/>
            <c:spPr>
              <a:ln w="25400">
                <a:noFill/>
              </a:ln>
              <a:effectLst/>
            </c:spPr>
            <c:extLst>
              <c:ext xmlns:c16="http://schemas.microsoft.com/office/drawing/2014/chart" uri="{C3380CC4-5D6E-409C-BE32-E72D297353CC}">
                <c16:uniqueId val="{00000001-B3E4-4B6D-AB39-934C52009A9C}"/>
              </c:ext>
            </c:extLst>
          </c:dPt>
          <c:dPt>
            <c:idx val="1"/>
            <c:marker>
              <c:symbol val="circle"/>
              <c:size val="11"/>
              <c:spPr>
                <a:solidFill>
                  <a:schemeClr val="tx2">
                    <a:lumMod val="75000"/>
                  </a:schemeClr>
                </a:solidFill>
                <a:ln w="9525" cap="flat" cmpd="sng" algn="ctr">
                  <a:noFill/>
                  <a:round/>
                </a:ln>
                <a:effectLst/>
              </c:spPr>
            </c:marker>
            <c:bubble3D val="0"/>
            <c:spPr>
              <a:ln w="25400">
                <a:noFill/>
              </a:ln>
              <a:effectLst/>
            </c:spPr>
            <c:extLst>
              <c:ext xmlns:c16="http://schemas.microsoft.com/office/drawing/2014/chart" uri="{C3380CC4-5D6E-409C-BE32-E72D297353CC}">
                <c16:uniqueId val="{00000003-B3E4-4B6D-AB39-934C52009A9C}"/>
              </c:ext>
            </c:extLst>
          </c:dPt>
          <c:dPt>
            <c:idx val="4"/>
            <c:marker>
              <c:symbol val="circle"/>
              <c:size val="11"/>
              <c:spPr>
                <a:solidFill>
                  <a:schemeClr val="accent4">
                    <a:lumMod val="60000"/>
                    <a:lumOff val="40000"/>
                  </a:schemeClr>
                </a:solidFill>
                <a:ln w="9525" cap="flat" cmpd="sng" algn="ctr">
                  <a:solidFill>
                    <a:schemeClr val="accent1"/>
                  </a:solidFill>
                  <a:round/>
                </a:ln>
                <a:effectLst/>
              </c:spPr>
            </c:marker>
            <c:bubble3D val="0"/>
            <c:extLst>
              <c:ext xmlns:c16="http://schemas.microsoft.com/office/drawing/2014/chart" uri="{C3380CC4-5D6E-409C-BE32-E72D297353CC}">
                <c16:uniqueId val="{00000004-B3E4-4B6D-AB39-934C52009A9C}"/>
              </c:ext>
            </c:extLst>
          </c:dPt>
          <c:dLbls>
            <c:dLbl>
              <c:idx val="0"/>
              <c:layout>
                <c:manualLayout>
                  <c:x val="-0.11890459122195132"/>
                  <c:y val="-2.9665380608121582E-2"/>
                </c:manualLayout>
              </c:layout>
              <c:tx>
                <c:rich>
                  <a:bodyPr/>
                  <a:lstStyle/>
                  <a:p>
                    <a:fld id="{54B465A5-9B60-40B3-A699-C2806D869DA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3E4-4B6D-AB39-934C52009A9C}"/>
                </c:ext>
              </c:extLst>
            </c:dLbl>
            <c:dLbl>
              <c:idx val="1"/>
              <c:layout>
                <c:manualLayout>
                  <c:x val="-5.2010344919181948E-3"/>
                  <c:y val="-5.2562580091400093E-2"/>
                </c:manualLayout>
              </c:layout>
              <c:tx>
                <c:rich>
                  <a:bodyPr/>
                  <a:lstStyle/>
                  <a:p>
                    <a:fld id="{B3B62D54-D534-4995-A750-DC1E2303F25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3E4-4B6D-AB39-934C52009A9C}"/>
                </c:ext>
              </c:extLst>
            </c:dLbl>
            <c:dLbl>
              <c:idx val="2"/>
              <c:layout>
                <c:manualLayout>
                  <c:x val="3.6317089642282481E-2"/>
                  <c:y val="3.0241693977816085E-2"/>
                </c:manualLayout>
              </c:layout>
              <c:tx>
                <c:rich>
                  <a:bodyPr/>
                  <a:lstStyle/>
                  <a:p>
                    <a:fld id="{085F2198-F181-4EF6-9AA4-B00C8D64927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3E4-4B6D-AB39-934C52009A9C}"/>
                </c:ext>
              </c:extLst>
            </c:dLbl>
            <c:dLbl>
              <c:idx val="3"/>
              <c:layout>
                <c:manualLayout>
                  <c:x val="-0.10088063231662601"/>
                  <c:y val="4.5362350269801378E-2"/>
                </c:manualLayout>
              </c:layout>
              <c:tx>
                <c:rich>
                  <a:bodyPr/>
                  <a:lstStyle/>
                  <a:p>
                    <a:fld id="{3C370ED3-484D-4FA8-B205-BC0583B3A86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3E4-4B6D-AB39-934C52009A9C}"/>
                </c:ext>
              </c:extLst>
            </c:dLbl>
            <c:dLbl>
              <c:idx val="4"/>
              <c:layout>
                <c:manualLayout>
                  <c:x val="-2.5556492848091278E-2"/>
                  <c:y val="7.113969146659796E-2"/>
                </c:manualLayout>
              </c:layout>
              <c:tx>
                <c:rich>
                  <a:bodyPr rot="0" spcFirstLastPara="1" vertOverflow="ellipsis" vert="horz" wrap="square" lIns="38100" tIns="19050" rIns="38100" bIns="19050" anchor="ctr" anchorCtr="1">
                    <a:no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fld id="{E043E90A-0471-41E2-9491-82AAC952F186}" type="CELLRANGE">
                      <a:rPr lang="en-US"/>
                      <a:pPr>
                        <a:defRPr/>
                      </a:pPr>
                      <a:t>[CELLRANGE]</a:t>
                    </a:fld>
                    <a:endParaRPr lang="en-US"/>
                  </a:p>
                </c:rich>
              </c:tx>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0.11182633328745249"/>
                      <c:h val="4.6350245132468049E-2"/>
                    </c:manualLayout>
                  </c15:layout>
                  <c15:dlblFieldTable/>
                  <c15:showDataLabelsRange val="1"/>
                </c:ext>
                <c:ext xmlns:c16="http://schemas.microsoft.com/office/drawing/2014/chart" uri="{C3380CC4-5D6E-409C-BE32-E72D297353CC}">
                  <c16:uniqueId val="{00000004-B3E4-4B6D-AB39-934C52009A9C}"/>
                </c:ext>
              </c:extLst>
            </c:dLbl>
            <c:dLbl>
              <c:idx val="5"/>
              <c:layout>
                <c:manualLayout>
                  <c:x val="3.066771092502989E-2"/>
                  <c:y val="2.7361419794844867E-3"/>
                </c:manualLayout>
              </c:layout>
              <c:tx>
                <c:rich>
                  <a:bodyPr/>
                  <a:lstStyle/>
                  <a:p>
                    <a:fld id="{83E1CFAD-4EDC-4152-8DBE-33571905B89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3E4-4B6D-AB39-934C52009A9C}"/>
                </c:ext>
              </c:extLst>
            </c:dLbl>
            <c:dLbl>
              <c:idx val="6"/>
              <c:layout>
                <c:manualLayout>
                  <c:x val="3.4075234361144358E-3"/>
                  <c:y val="4.1042129692268052E-2"/>
                </c:manualLayout>
              </c:layout>
              <c:tx>
                <c:rich>
                  <a:bodyPr/>
                  <a:lstStyle/>
                  <a:p>
                    <a:fld id="{F542A33D-DD3E-4971-88C5-1E5CAB0A680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3E4-4B6D-AB39-934C52009A9C}"/>
                </c:ext>
              </c:extLst>
            </c:dLbl>
            <c:dLbl>
              <c:idx val="7"/>
              <c:layout>
                <c:manualLayout>
                  <c:x val="-1.7037617180572194E-2"/>
                  <c:y val="-0.11765410511783508"/>
                </c:manualLayout>
              </c:layou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3E4-4B6D-AB39-934C52009A9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3175">
                      <a:solidFill>
                        <a:schemeClr val="bg1">
                          <a:lumMod val="85000"/>
                        </a:schemeClr>
                      </a:solidFill>
                    </a:ln>
                    <a:effectLst/>
                  </c:spPr>
                </c15:leaderLines>
              </c:ext>
            </c:extLst>
          </c:dLbls>
          <c:xVal>
            <c:numRef>
              <c:f>Sheet1!$A$2:$A$8</c:f>
              <c:numCache>
                <c:formatCode>0.00</c:formatCode>
                <c:ptCount val="7"/>
                <c:pt idx="0">
                  <c:v>43.680387799999998</c:v>
                </c:pt>
                <c:pt idx="1">
                  <c:v>24.643888759999999</c:v>
                </c:pt>
                <c:pt idx="2">
                  <c:v>17.196992879999996</c:v>
                </c:pt>
                <c:pt idx="3">
                  <c:v>7.6069355599999993</c:v>
                </c:pt>
                <c:pt idx="4">
                  <c:v>3.78345552</c:v>
                </c:pt>
                <c:pt idx="5">
                  <c:v>2.5564514400000005</c:v>
                </c:pt>
                <c:pt idx="6">
                  <c:v>4.1067880399999996</c:v>
                </c:pt>
              </c:numCache>
            </c:numRef>
          </c:xVal>
          <c:yVal>
            <c:numRef>
              <c:f>Sheet1!$B$2:$B$8</c:f>
              <c:numCache>
                <c:formatCode>0.00%</c:formatCode>
                <c:ptCount val="7"/>
                <c:pt idx="0">
                  <c:v>5.9499999999999997E-2</c:v>
                </c:pt>
                <c:pt idx="1">
                  <c:v>6.08E-2</c:v>
                </c:pt>
                <c:pt idx="2">
                  <c:v>6.0400000000000002E-2</c:v>
                </c:pt>
                <c:pt idx="3">
                  <c:v>6.0400000000000002E-2</c:v>
                </c:pt>
                <c:pt idx="4">
                  <c:v>5.0099999999999999E-2</c:v>
                </c:pt>
                <c:pt idx="5">
                  <c:v>5.2200000000000003E-2</c:v>
                </c:pt>
                <c:pt idx="6">
                  <c:v>4.07E-2</c:v>
                </c:pt>
              </c:numCache>
            </c:numRef>
          </c:yVal>
          <c:smooth val="0"/>
          <c:extLst>
            <c:ext xmlns:c15="http://schemas.microsoft.com/office/drawing/2012/chart" uri="{02D57815-91ED-43cb-92C2-25804820EDAC}">
              <c15:datalabelsRange>
                <c15:f>Sheet1!$C$2:$C$8</c15:f>
                <c15:dlblRangeCache>
                  <c:ptCount val="7"/>
                  <c:pt idx="0">
                    <c:v>Agriculture</c:v>
                  </c:pt>
                  <c:pt idx="1">
                    <c:v>Animal Husbandry</c:v>
                  </c:pt>
                  <c:pt idx="2">
                    <c:v>Healthcare</c:v>
                  </c:pt>
                  <c:pt idx="3">
                    <c:v>Industrial</c:v>
                  </c:pt>
                  <c:pt idx="4">
                    <c:v>Chemicals</c:v>
                  </c:pt>
                  <c:pt idx="5">
                    <c:v>Leather and Textiles</c:v>
                  </c:pt>
                  <c:pt idx="6">
                    <c:v>Others</c:v>
                  </c:pt>
                </c15:dlblRangeCache>
              </c15:datalabelsRange>
            </c:ext>
            <c:ext xmlns:c16="http://schemas.microsoft.com/office/drawing/2014/chart" uri="{C3380CC4-5D6E-409C-BE32-E72D297353CC}">
              <c16:uniqueId val="{0000000A-B3E4-4B6D-AB39-934C52009A9C}"/>
            </c:ext>
          </c:extLst>
        </c:ser>
        <c:dLbls>
          <c:showLegendKey val="0"/>
          <c:showVal val="1"/>
          <c:showCatName val="0"/>
          <c:showSerName val="0"/>
          <c:showPercent val="0"/>
          <c:showBubbleSize val="0"/>
        </c:dLbls>
        <c:axId val="461268448"/>
        <c:axId val="461277304"/>
      </c:scatterChart>
      <c:valAx>
        <c:axId val="461268448"/>
        <c:scaling>
          <c:orientation val="minMax"/>
        </c:scaling>
        <c:delete val="0"/>
        <c:axPos val="b"/>
        <c:numFmt formatCode="General"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61277304"/>
        <c:crosses val="autoZero"/>
        <c:crossBetween val="midCat"/>
      </c:valAx>
      <c:valAx>
        <c:axId val="461277304"/>
        <c:scaling>
          <c:orientation val="minMax"/>
        </c:scaling>
        <c:delete val="0"/>
        <c:axPos val="l"/>
        <c:numFmt formatCode="0.00%" sourceLinked="1"/>
        <c:majorTickMark val="out"/>
        <c:minorTickMark val="none"/>
        <c:tickLblPos val="nextTo"/>
        <c:spPr>
          <a:noFill/>
          <a:ln>
            <a:noFill/>
          </a:ln>
          <a:effectLst/>
        </c:spPr>
        <c:txPr>
          <a:bodyPr rot="-5400000" spcFirstLastPara="1" vertOverflow="ellipsis" wrap="square" anchor="ctr" anchorCtr="1"/>
          <a:lstStyle/>
          <a:p>
            <a:pPr>
              <a:defRPr sz="8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6126844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alpha val="47000"/>
      </a:schemeClr>
    </a:solidFill>
    <a:ln w="9525" cap="flat" cmpd="sng" algn="ctr">
      <a:noFill/>
      <a:round/>
    </a:ln>
    <a:effectLst/>
  </c:spPr>
  <c:txPr>
    <a:bodyPr/>
    <a:lstStyle/>
    <a:p>
      <a:pPr>
        <a:defRPr sz="9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179636791595551E-2"/>
          <c:y val="6.1584280508391702E-2"/>
          <c:w val="0.93451887310237958"/>
          <c:h val="0.90042296015229328"/>
        </c:manualLayout>
      </c:layout>
      <c:scatterChart>
        <c:scatterStyle val="lineMarker"/>
        <c:varyColors val="0"/>
        <c:ser>
          <c:idx val="0"/>
          <c:order val="0"/>
          <c:tx>
            <c:strRef>
              <c:f>Sheet1!$B$1</c:f>
              <c:strCache>
                <c:ptCount val="1"/>
                <c:pt idx="0">
                  <c:v>CAGR(2021E-2026F)</c:v>
                </c:pt>
              </c:strCache>
            </c:strRef>
          </c:tx>
          <c:spPr>
            <a:ln w="25400">
              <a:noFill/>
            </a:ln>
            <a:effectLst/>
          </c:spPr>
          <c:marker>
            <c:symbol val="circle"/>
            <c:size val="11"/>
            <c:spPr>
              <a:solidFill>
                <a:schemeClr val="accent1"/>
              </a:solidFill>
              <a:ln w="9525" cap="flat" cmpd="sng" algn="ctr">
                <a:solidFill>
                  <a:schemeClr val="accent1"/>
                </a:solidFill>
                <a:round/>
              </a:ln>
              <a:effectLst/>
            </c:spPr>
          </c:marker>
          <c:dPt>
            <c:idx val="0"/>
            <c:marker>
              <c:symbol val="circle"/>
              <c:size val="11"/>
              <c:spPr>
                <a:solidFill>
                  <a:schemeClr val="bg2">
                    <a:lumMod val="75000"/>
                  </a:schemeClr>
                </a:solidFill>
                <a:ln w="9525" cap="flat" cmpd="sng" algn="ctr">
                  <a:noFill/>
                  <a:round/>
                </a:ln>
                <a:effectLst/>
              </c:spPr>
            </c:marker>
            <c:bubble3D val="0"/>
            <c:spPr>
              <a:ln w="25400">
                <a:noFill/>
              </a:ln>
              <a:effectLst/>
            </c:spPr>
            <c:extLst>
              <c:ext xmlns:c16="http://schemas.microsoft.com/office/drawing/2014/chart" uri="{C3380CC4-5D6E-409C-BE32-E72D297353CC}">
                <c16:uniqueId val="{00000001-B3E4-4B6D-AB39-934C52009A9C}"/>
              </c:ext>
            </c:extLst>
          </c:dPt>
          <c:dPt>
            <c:idx val="1"/>
            <c:marker>
              <c:symbol val="circle"/>
              <c:size val="11"/>
              <c:spPr>
                <a:solidFill>
                  <a:schemeClr val="tx2">
                    <a:lumMod val="75000"/>
                  </a:schemeClr>
                </a:solidFill>
                <a:ln w="9525" cap="flat" cmpd="sng" algn="ctr">
                  <a:noFill/>
                  <a:round/>
                </a:ln>
                <a:effectLst/>
              </c:spPr>
            </c:marker>
            <c:bubble3D val="0"/>
            <c:spPr>
              <a:ln w="25400">
                <a:noFill/>
              </a:ln>
              <a:effectLst/>
            </c:spPr>
            <c:extLst>
              <c:ext xmlns:c16="http://schemas.microsoft.com/office/drawing/2014/chart" uri="{C3380CC4-5D6E-409C-BE32-E72D297353CC}">
                <c16:uniqueId val="{00000003-B3E4-4B6D-AB39-934C52009A9C}"/>
              </c:ext>
            </c:extLst>
          </c:dPt>
          <c:dPt>
            <c:idx val="4"/>
            <c:marker>
              <c:symbol val="circle"/>
              <c:size val="11"/>
              <c:spPr>
                <a:solidFill>
                  <a:schemeClr val="accent4">
                    <a:lumMod val="60000"/>
                    <a:lumOff val="40000"/>
                  </a:schemeClr>
                </a:solidFill>
                <a:ln w="9525" cap="flat" cmpd="sng" algn="ctr">
                  <a:solidFill>
                    <a:schemeClr val="accent1"/>
                  </a:solidFill>
                  <a:round/>
                </a:ln>
                <a:effectLst/>
              </c:spPr>
            </c:marker>
            <c:bubble3D val="0"/>
            <c:extLst>
              <c:ext xmlns:c16="http://schemas.microsoft.com/office/drawing/2014/chart" uri="{C3380CC4-5D6E-409C-BE32-E72D297353CC}">
                <c16:uniqueId val="{00000004-B3E4-4B6D-AB39-934C52009A9C}"/>
              </c:ext>
            </c:extLst>
          </c:dPt>
          <c:dLbls>
            <c:dLbl>
              <c:idx val="0"/>
              <c:layout>
                <c:manualLayout>
                  <c:x val="-0.11890459122195132"/>
                  <c:y val="-2.9665380608121582E-2"/>
                </c:manualLayout>
              </c:layout>
              <c:tx>
                <c:rich>
                  <a:bodyPr/>
                  <a:lstStyle/>
                  <a:p>
                    <a:fld id="{6324809A-34F9-42D8-A3DA-3AABCDB957A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3E4-4B6D-AB39-934C52009A9C}"/>
                </c:ext>
              </c:extLst>
            </c:dLbl>
            <c:dLbl>
              <c:idx val="1"/>
              <c:layout>
                <c:manualLayout>
                  <c:x val="-5.2010344919181948E-3"/>
                  <c:y val="-5.2562580091400093E-2"/>
                </c:manualLayout>
              </c:layout>
              <c:tx>
                <c:rich>
                  <a:bodyPr/>
                  <a:lstStyle/>
                  <a:p>
                    <a:fld id="{5CAE8507-AAAC-4210-A481-A62C72648F0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3E4-4B6D-AB39-934C52009A9C}"/>
                </c:ext>
              </c:extLst>
            </c:dLbl>
            <c:dLbl>
              <c:idx val="2"/>
              <c:layout>
                <c:manualLayout>
                  <c:x val="3.6317089642282481E-2"/>
                  <c:y val="3.0241693977816085E-2"/>
                </c:manualLayout>
              </c:layou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3E4-4B6D-AB39-934C52009A9C}"/>
                </c:ext>
              </c:extLst>
            </c:dLbl>
            <c:dLbl>
              <c:idx val="3"/>
              <c:layout>
                <c:manualLayout>
                  <c:x val="-0.10088063231662601"/>
                  <c:y val="4.5362350269801378E-2"/>
                </c:manualLayout>
              </c:layou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3E4-4B6D-AB39-934C52009A9C}"/>
                </c:ext>
              </c:extLst>
            </c:dLbl>
            <c:dLbl>
              <c:idx val="4"/>
              <c:layout>
                <c:manualLayout>
                  <c:x val="-2.5556492848091278E-2"/>
                  <c:y val="7.113969146659796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0.11182633328745249"/>
                      <c:h val="4.6350245132468049E-2"/>
                    </c:manualLayout>
                  </c15:layout>
                  <c15:showDataLabelsRange val="1"/>
                </c:ext>
                <c:ext xmlns:c16="http://schemas.microsoft.com/office/drawing/2014/chart" uri="{C3380CC4-5D6E-409C-BE32-E72D297353CC}">
                  <c16:uniqueId val="{00000004-B3E4-4B6D-AB39-934C52009A9C}"/>
                </c:ext>
              </c:extLst>
            </c:dLbl>
            <c:dLbl>
              <c:idx val="5"/>
              <c:layout>
                <c:manualLayout>
                  <c:x val="3.066771092502989E-2"/>
                  <c:y val="2.7361419794844867E-3"/>
                </c:manualLayout>
              </c:layou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3E4-4B6D-AB39-934C52009A9C}"/>
                </c:ext>
              </c:extLst>
            </c:dLbl>
            <c:dLbl>
              <c:idx val="6"/>
              <c:layout>
                <c:manualLayout>
                  <c:x val="3.4075234361144358E-3"/>
                  <c:y val="4.1042129692268052E-2"/>
                </c:manualLayout>
              </c:layou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B3E4-4B6D-AB39-934C52009A9C}"/>
                </c:ext>
              </c:extLst>
            </c:dLbl>
            <c:dLbl>
              <c:idx val="7"/>
              <c:layout>
                <c:manualLayout>
                  <c:x val="-1.7037617180572194E-2"/>
                  <c:y val="-0.11765410511783508"/>
                </c:manualLayout>
              </c:layou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3E4-4B6D-AB39-934C52009A9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3175">
                      <a:solidFill>
                        <a:schemeClr val="bg1">
                          <a:lumMod val="85000"/>
                        </a:schemeClr>
                      </a:solidFill>
                    </a:ln>
                    <a:effectLst/>
                  </c:spPr>
                </c15:leaderLines>
              </c:ext>
            </c:extLst>
          </c:dLbls>
          <c:xVal>
            <c:numRef>
              <c:f>Sheet1!$A$2:$A$3</c:f>
              <c:numCache>
                <c:formatCode>0.00</c:formatCode>
                <c:ptCount val="2"/>
                <c:pt idx="0">
                  <c:v>73.103000000000009</c:v>
                </c:pt>
                <c:pt idx="1">
                  <c:v>30.471900000000002</c:v>
                </c:pt>
              </c:numCache>
            </c:numRef>
          </c:xVal>
          <c:yVal>
            <c:numRef>
              <c:f>Sheet1!$B$2:$B$3</c:f>
              <c:numCache>
                <c:formatCode>0.00%</c:formatCode>
                <c:ptCount val="2"/>
                <c:pt idx="0">
                  <c:v>5.96E-2</c:v>
                </c:pt>
                <c:pt idx="1">
                  <c:v>5.7099999999999998E-2</c:v>
                </c:pt>
              </c:numCache>
            </c:numRef>
          </c:yVal>
          <c:smooth val="0"/>
          <c:extLst>
            <c:ext xmlns:c15="http://schemas.microsoft.com/office/drawing/2012/chart" uri="{02D57815-91ED-43cb-92C2-25804820EDAC}">
              <c15:datalabelsRange>
                <c15:f>Sheet1!$C$2:$C$3</c15:f>
                <c15:dlblRangeCache>
                  <c:ptCount val="2"/>
                  <c:pt idx="0">
                    <c:v>Reagent</c:v>
                  </c:pt>
                  <c:pt idx="1">
                    <c:v>Industrial</c:v>
                  </c:pt>
                </c15:dlblRangeCache>
              </c15:datalabelsRange>
            </c:ext>
            <c:ext xmlns:c16="http://schemas.microsoft.com/office/drawing/2014/chart" uri="{C3380CC4-5D6E-409C-BE32-E72D297353CC}">
              <c16:uniqueId val="{0000000A-B3E4-4B6D-AB39-934C52009A9C}"/>
            </c:ext>
          </c:extLst>
        </c:ser>
        <c:dLbls>
          <c:showLegendKey val="0"/>
          <c:showVal val="1"/>
          <c:showCatName val="0"/>
          <c:showSerName val="0"/>
          <c:showPercent val="0"/>
          <c:showBubbleSize val="0"/>
        </c:dLbls>
        <c:axId val="461268448"/>
        <c:axId val="461277304"/>
      </c:scatterChart>
      <c:valAx>
        <c:axId val="461268448"/>
        <c:scaling>
          <c:orientation val="minMax"/>
        </c:scaling>
        <c:delete val="0"/>
        <c:axPos val="b"/>
        <c:numFmt formatCode="General"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61277304"/>
        <c:crosses val="autoZero"/>
        <c:crossBetween val="midCat"/>
      </c:valAx>
      <c:valAx>
        <c:axId val="461277304"/>
        <c:scaling>
          <c:orientation val="minMax"/>
        </c:scaling>
        <c:delete val="0"/>
        <c:axPos val="l"/>
        <c:numFmt formatCode="0.00%" sourceLinked="1"/>
        <c:majorTickMark val="out"/>
        <c:minorTickMark val="none"/>
        <c:tickLblPos val="nextTo"/>
        <c:spPr>
          <a:noFill/>
          <a:ln>
            <a:noFill/>
          </a:ln>
          <a:effectLst/>
        </c:spPr>
        <c:txPr>
          <a:bodyPr rot="-5400000" spcFirstLastPara="1" vertOverflow="ellipsis" wrap="square" anchor="ctr" anchorCtr="1"/>
          <a:lstStyle/>
          <a:p>
            <a:pPr>
              <a:defRPr sz="8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6126844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alpha val="47000"/>
      </a:schemeClr>
    </a:solidFill>
    <a:ln w="9525" cap="flat" cmpd="sng" algn="ctr">
      <a:noFill/>
      <a:round/>
    </a:ln>
    <a:effectLst/>
  </c:spPr>
  <c:txPr>
    <a:bodyPr/>
    <a:lstStyle/>
    <a:p>
      <a:pPr>
        <a:defRPr sz="9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olume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35.946399999999997</c:v>
                </c:pt>
                <c:pt idx="1">
                  <c:v>37.877400000000002</c:v>
                </c:pt>
                <c:pt idx="2">
                  <c:v>40.08</c:v>
                </c:pt>
                <c:pt idx="3">
                  <c:v>42.569099999999999</c:v>
                </c:pt>
                <c:pt idx="4">
                  <c:v>40.312800000000003</c:v>
                </c:pt>
                <c:pt idx="5">
                  <c:v>42.38</c:v>
                </c:pt>
                <c:pt idx="6">
                  <c:v>44.746899999999997</c:v>
                </c:pt>
                <c:pt idx="7">
                  <c:v>47.188600000000001</c:v>
                </c:pt>
                <c:pt idx="8">
                  <c:v>49.747599999999998</c:v>
                </c:pt>
                <c:pt idx="9">
                  <c:v>52.3827</c:v>
                </c:pt>
                <c:pt idx="10">
                  <c:v>55.063000000000002</c:v>
                </c:pt>
              </c:numCache>
            </c:numRef>
          </c:val>
          <c:extLst>
            <c:ext xmlns:c16="http://schemas.microsoft.com/office/drawing/2014/chart" uri="{C3380CC4-5D6E-409C-BE32-E72D297353CC}">
              <c16:uniqueId val="{00000000-FB3E-45AB-BDE0-5419C8D17AD4}"/>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3.3098054815493286E-2"/>
          <c:w val="1"/>
          <c:h val="0.83895023884418807"/>
        </c:manualLayout>
      </c:layout>
      <c:barChart>
        <c:barDir val="col"/>
        <c:grouping val="clustered"/>
        <c:varyColors val="0"/>
        <c:ser>
          <c:idx val="0"/>
          <c:order val="0"/>
          <c:tx>
            <c:strRef>
              <c:f>Sheet1!$B$1</c:f>
              <c:strCache>
                <c:ptCount val="1"/>
                <c:pt idx="0">
                  <c:v>Manufacturing Output</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00</c:formatCode>
                <c:ptCount val="6"/>
                <c:pt idx="0">
                  <c:v>20.99</c:v>
                </c:pt>
                <c:pt idx="1">
                  <c:v>20.52</c:v>
                </c:pt>
                <c:pt idx="2">
                  <c:v>20.16</c:v>
                </c:pt>
                <c:pt idx="3">
                  <c:v>19.86</c:v>
                </c:pt>
                <c:pt idx="4">
                  <c:v>19.7</c:v>
                </c:pt>
                <c:pt idx="5">
                  <c:v>19.88</c:v>
                </c:pt>
              </c:numCache>
            </c:numRef>
          </c:val>
          <c:extLst>
            <c:ext xmlns:c16="http://schemas.microsoft.com/office/drawing/2014/chart" uri="{C3380CC4-5D6E-409C-BE32-E72D297353CC}">
              <c16:uniqueId val="{00000000-0023-42B4-91D8-56E3081EDA85}"/>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olume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18.34</c:v>
                </c:pt>
                <c:pt idx="1">
                  <c:v>19.13</c:v>
                </c:pt>
                <c:pt idx="2">
                  <c:v>20.04</c:v>
                </c:pt>
                <c:pt idx="3">
                  <c:v>20.97</c:v>
                </c:pt>
                <c:pt idx="4">
                  <c:v>20.36</c:v>
                </c:pt>
                <c:pt idx="5">
                  <c:v>21.19</c:v>
                </c:pt>
                <c:pt idx="6">
                  <c:v>22.24</c:v>
                </c:pt>
                <c:pt idx="7">
                  <c:v>23.28</c:v>
                </c:pt>
                <c:pt idx="8">
                  <c:v>24.41</c:v>
                </c:pt>
                <c:pt idx="9">
                  <c:v>25.59</c:v>
                </c:pt>
                <c:pt idx="10">
                  <c:v>26.86</c:v>
                </c:pt>
              </c:numCache>
            </c:numRef>
          </c:val>
          <c:extLst>
            <c:ext xmlns:c16="http://schemas.microsoft.com/office/drawing/2014/chart" uri="{C3380CC4-5D6E-409C-BE32-E72D297353CC}">
              <c16:uniqueId val="{00000000-FB3E-45AB-BDE0-5419C8D17AD4}"/>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Agricultural Production</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5</c:v>
                </c:pt>
                <c:pt idx="1">
                  <c:v>2016</c:v>
                </c:pt>
                <c:pt idx="2">
                  <c:v>2017</c:v>
                </c:pt>
                <c:pt idx="3">
                  <c:v>2018</c:v>
                </c:pt>
                <c:pt idx="4">
                  <c:v>2019</c:v>
                </c:pt>
              </c:numCache>
            </c:numRef>
          </c:cat>
          <c:val>
            <c:numRef>
              <c:f>Sheet1!$B$2:$B$6</c:f>
              <c:numCache>
                <c:formatCode>0.00</c:formatCode>
                <c:ptCount val="5"/>
                <c:pt idx="0">
                  <c:v>1696.83</c:v>
                </c:pt>
                <c:pt idx="1">
                  <c:v>1729.74</c:v>
                </c:pt>
                <c:pt idx="2">
                  <c:v>2052.96</c:v>
                </c:pt>
                <c:pt idx="3">
                  <c:v>2099.15</c:v>
                </c:pt>
                <c:pt idx="4">
                  <c:v>2082.64</c:v>
                </c:pt>
              </c:numCache>
            </c:numRef>
          </c:val>
          <c:extLst>
            <c:ext xmlns:c16="http://schemas.microsoft.com/office/drawing/2014/chart" uri="{C3380CC4-5D6E-409C-BE32-E72D297353CC}">
              <c16:uniqueId val="{00000000-642A-4431-9BE4-9023D5499EF8}"/>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Agricultural Production</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2015</c:v>
                </c:pt>
                <c:pt idx="1">
                  <c:v>2016</c:v>
                </c:pt>
                <c:pt idx="2">
                  <c:v>2017</c:v>
                </c:pt>
                <c:pt idx="3">
                  <c:v>2018</c:v>
                </c:pt>
                <c:pt idx="4">
                  <c:v>2019</c:v>
                </c:pt>
                <c:pt idx="5">
                  <c:v>2020E</c:v>
                </c:pt>
              </c:strCache>
            </c:strRef>
          </c:cat>
          <c:val>
            <c:numRef>
              <c:f>Sheet1!$B$2:$B$7</c:f>
              <c:numCache>
                <c:formatCode>0.00</c:formatCode>
                <c:ptCount val="6"/>
                <c:pt idx="0">
                  <c:v>31.63</c:v>
                </c:pt>
                <c:pt idx="1">
                  <c:v>32.064</c:v>
                </c:pt>
                <c:pt idx="2">
                  <c:v>33.182000000000002</c:v>
                </c:pt>
                <c:pt idx="3">
                  <c:v>33.182000000000002</c:v>
                </c:pt>
                <c:pt idx="4">
                  <c:v>33.182000000000002</c:v>
                </c:pt>
                <c:pt idx="5">
                  <c:v>32.182000000000002</c:v>
                </c:pt>
              </c:numCache>
            </c:numRef>
          </c:val>
          <c:extLst>
            <c:ext xmlns:c16="http://schemas.microsoft.com/office/drawing/2014/chart" uri="{C3380CC4-5D6E-409C-BE32-E72D297353CC}">
              <c16:uniqueId val="{00000000-B45D-4AC2-BADF-834D4B2CBF4C}"/>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eagent Grad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6.8607412510999999E-2</c:v>
                </c:pt>
                <c:pt idx="1">
                  <c:v>5.3588621099999956E-2</c:v>
                </c:pt>
                <c:pt idx="2">
                  <c:v>6.024646644999998E-2</c:v>
                </c:pt>
                <c:pt idx="3">
                  <c:v>6.2297490099999964E-2</c:v>
                </c:pt>
                <c:pt idx="4">
                  <c:v>7.9822559999999876E-2</c:v>
                </c:pt>
                <c:pt idx="5">
                  <c:v>7.1183799999999908E-2</c:v>
                </c:pt>
                <c:pt idx="6">
                  <c:v>6.8922665799999949E-2</c:v>
                </c:pt>
                <c:pt idx="7">
                  <c:v>6.6426612500000037E-2</c:v>
                </c:pt>
                <c:pt idx="8">
                  <c:v>6.423785255000003E-2</c:v>
                </c:pt>
                <c:pt idx="9">
                  <c:v>6.2131512791099963E-2</c:v>
                </c:pt>
                <c:pt idx="10">
                  <c:v>5.9875525294999954E-2</c:v>
                </c:pt>
              </c:numCache>
            </c:numRef>
          </c:val>
          <c:extLst>
            <c:ext xmlns:c16="http://schemas.microsoft.com/office/drawing/2014/chart" uri="{C3380CC4-5D6E-409C-BE32-E72D297353CC}">
              <c16:uniqueId val="{00000000-1224-4620-B2F0-526F97CB6999}"/>
            </c:ext>
          </c:extLst>
        </c:ser>
        <c:ser>
          <c:idx val="1"/>
          <c:order val="1"/>
          <c:tx>
            <c:strRef>
              <c:f>Sheet1!$C$1</c:f>
              <c:strCache>
                <c:ptCount val="1"/>
                <c:pt idx="0">
                  <c:v>Industrial Grade</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931392587489</c:v>
                </c:pt>
                <c:pt idx="1">
                  <c:v>0.94641137890000004</c:v>
                </c:pt>
                <c:pt idx="2">
                  <c:v>0.93975353355000002</c:v>
                </c:pt>
                <c:pt idx="3">
                  <c:v>0.93770250990000004</c:v>
                </c:pt>
                <c:pt idx="4">
                  <c:v>0.92017744000000012</c:v>
                </c:pt>
                <c:pt idx="5">
                  <c:v>0.92881620000000009</c:v>
                </c:pt>
                <c:pt idx="6">
                  <c:v>0.93107733420000005</c:v>
                </c:pt>
                <c:pt idx="7">
                  <c:v>0.93357338749999996</c:v>
                </c:pt>
                <c:pt idx="8">
                  <c:v>0.93576214744999997</c:v>
                </c:pt>
                <c:pt idx="9">
                  <c:v>0.93786848720890004</c:v>
                </c:pt>
                <c:pt idx="10">
                  <c:v>0.94012447470500005</c:v>
                </c:pt>
              </c:numCache>
            </c:numRef>
          </c:val>
          <c:extLst>
            <c:ext xmlns:c16="http://schemas.microsoft.com/office/drawing/2014/chart" uri="{C3380CC4-5D6E-409C-BE32-E72D297353CC}">
              <c16:uniqueId val="{00000001-1224-4620-B2F0-526F97CB6999}"/>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6"/>
          <c:order val="0"/>
          <c:tx>
            <c:strRef>
              <c:f>Sheet1!$H$1</c:f>
              <c:strCache>
                <c:ptCount val="1"/>
                <c:pt idx="0">
                  <c:v>Others</c:v>
                </c:pt>
              </c:strCache>
            </c:strRef>
          </c:tx>
          <c:spPr>
            <a:solidFill>
              <a:schemeClr val="accent1">
                <a:lumMod val="80000"/>
                <a:lumOff val="2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H$2:$H$12</c:f>
              <c:numCache>
                <c:formatCode>0.00%</c:formatCode>
                <c:ptCount val="11"/>
                <c:pt idx="0">
                  <c:v>4.3946099225971369E-2</c:v>
                </c:pt>
                <c:pt idx="1">
                  <c:v>5.947862318443109E-2</c:v>
                </c:pt>
                <c:pt idx="2">
                  <c:v>4.5777624787331828E-2</c:v>
                </c:pt>
                <c:pt idx="3">
                  <c:v>4.0908365897829979E-2</c:v>
                </c:pt>
                <c:pt idx="4">
                  <c:v>4.9853832153872957E-2</c:v>
                </c:pt>
                <c:pt idx="5">
                  <c:v>4.8500000000000099E-2</c:v>
                </c:pt>
                <c:pt idx="6">
                  <c:v>4.7243333333333415E-2</c:v>
                </c:pt>
                <c:pt idx="7">
                  <c:v>4.6200000000000019E-2</c:v>
                </c:pt>
                <c:pt idx="8">
                  <c:v>4.7600000000000087E-2</c:v>
                </c:pt>
                <c:pt idx="9">
                  <c:v>4.390000000000005E-2</c:v>
                </c:pt>
                <c:pt idx="10">
                  <c:v>4.2100000000000026E-2</c:v>
                </c:pt>
              </c:numCache>
            </c:numRef>
          </c:val>
          <c:extLst>
            <c:ext xmlns:c16="http://schemas.microsoft.com/office/drawing/2014/chart" uri="{C3380CC4-5D6E-409C-BE32-E72D297353CC}">
              <c16:uniqueId val="{00000000-2F39-46DC-8925-1DF8FC47313C}"/>
            </c:ext>
          </c:extLst>
        </c:ser>
        <c:ser>
          <c:idx val="5"/>
          <c:order val="1"/>
          <c:tx>
            <c:strRef>
              <c:f>Sheet1!$G$1</c:f>
              <c:strCache>
                <c:ptCount val="1"/>
                <c:pt idx="0">
                  <c:v>Leather and Textiles</c:v>
                </c:pt>
              </c:strCache>
            </c:strRef>
          </c:tx>
          <c:spPr>
            <a:solidFill>
              <a:schemeClr val="accent5">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G$2:$G$12</c:f>
              <c:numCache>
                <c:formatCode>0.00%</c:formatCode>
                <c:ptCount val="11"/>
                <c:pt idx="0">
                  <c:v>1.3400000000000079E-2</c:v>
                </c:pt>
                <c:pt idx="1">
                  <c:v>1.3700000000000045E-2</c:v>
                </c:pt>
                <c:pt idx="2">
                  <c:v>1.4000000000000012E-2</c:v>
                </c:pt>
                <c:pt idx="3">
                  <c:v>1.4299999999999979E-2</c:v>
                </c:pt>
                <c:pt idx="4">
                  <c:v>1.21999999999999E-2</c:v>
                </c:pt>
                <c:pt idx="5">
                  <c:v>1.38E-2</c:v>
                </c:pt>
                <c:pt idx="6">
                  <c:v>1.33566666666666E-2</c:v>
                </c:pt>
                <c:pt idx="7">
                  <c:v>1.32E-2</c:v>
                </c:pt>
                <c:pt idx="8">
                  <c:v>1.2999999999999999E-2</c:v>
                </c:pt>
                <c:pt idx="9">
                  <c:v>1.2699999999999999E-2</c:v>
                </c:pt>
                <c:pt idx="10">
                  <c:v>1.2500000000000001E-2</c:v>
                </c:pt>
              </c:numCache>
            </c:numRef>
          </c:val>
          <c:extLst>
            <c:ext xmlns:c16="http://schemas.microsoft.com/office/drawing/2014/chart" uri="{C3380CC4-5D6E-409C-BE32-E72D297353CC}">
              <c16:uniqueId val="{00000001-2F39-46DC-8925-1DF8FC47313C}"/>
            </c:ext>
          </c:extLst>
        </c:ser>
        <c:ser>
          <c:idx val="4"/>
          <c:order val="2"/>
          <c:tx>
            <c:strRef>
              <c:f>Sheet1!$F$1</c:f>
              <c:strCache>
                <c:ptCount val="1"/>
                <c:pt idx="0">
                  <c:v>Chemicals</c:v>
                </c:pt>
              </c:strCache>
            </c:strRef>
          </c:tx>
          <c:spPr>
            <a:solidFill>
              <a:schemeClr val="accent3">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F$2:$F$12</c:f>
              <c:numCache>
                <c:formatCode>0.00%</c:formatCode>
                <c:ptCount val="11"/>
                <c:pt idx="0">
                  <c:v>3.4936152022752499E-2</c:v>
                </c:pt>
                <c:pt idx="1">
                  <c:v>3.0889506814910098E-2</c:v>
                </c:pt>
                <c:pt idx="2">
                  <c:v>3.4174577634295204E-2</c:v>
                </c:pt>
                <c:pt idx="3">
                  <c:v>3.0384124582094E-2</c:v>
                </c:pt>
                <c:pt idx="4">
                  <c:v>2.9033856557977199E-2</c:v>
                </c:pt>
                <c:pt idx="5">
                  <c:v>2.9499999999999998E-2</c:v>
                </c:pt>
                <c:pt idx="6">
                  <c:v>0.03</c:v>
                </c:pt>
                <c:pt idx="7">
                  <c:v>2.9000000000000001E-2</c:v>
                </c:pt>
                <c:pt idx="8">
                  <c:v>2.6499999999999999E-2</c:v>
                </c:pt>
                <c:pt idx="9">
                  <c:v>2.52E-2</c:v>
                </c:pt>
                <c:pt idx="10">
                  <c:v>2.46E-2</c:v>
                </c:pt>
              </c:numCache>
            </c:numRef>
          </c:val>
          <c:extLst>
            <c:ext xmlns:c16="http://schemas.microsoft.com/office/drawing/2014/chart" uri="{C3380CC4-5D6E-409C-BE32-E72D297353CC}">
              <c16:uniqueId val="{00000002-2F39-46DC-8925-1DF8FC47313C}"/>
            </c:ext>
          </c:extLst>
        </c:ser>
        <c:ser>
          <c:idx val="3"/>
          <c:order val="3"/>
          <c:tx>
            <c:strRef>
              <c:f>Sheet1!$E$1</c:f>
              <c:strCache>
                <c:ptCount val="1"/>
                <c:pt idx="0">
                  <c:v>Industrial</c:v>
                </c:pt>
              </c:strCache>
            </c:strRef>
          </c:tx>
          <c:spPr>
            <a:solidFill>
              <a:schemeClr val="accent1">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E$2:$E$12</c:f>
              <c:numCache>
                <c:formatCode>0.00%</c:formatCode>
                <c:ptCount val="11"/>
                <c:pt idx="0">
                  <c:v>3.8838467051684006E-2</c:v>
                </c:pt>
                <c:pt idx="1">
                  <c:v>4.2387818460284804E-2</c:v>
                </c:pt>
                <c:pt idx="2">
                  <c:v>4.4081036119815994E-2</c:v>
                </c:pt>
                <c:pt idx="3">
                  <c:v>3.8718374317935997E-2</c:v>
                </c:pt>
                <c:pt idx="4">
                  <c:v>3.1399999999999997E-2</c:v>
                </c:pt>
                <c:pt idx="5">
                  <c:v>3.2199999999999999E-2</c:v>
                </c:pt>
                <c:pt idx="6">
                  <c:v>3.2399999999999998E-2</c:v>
                </c:pt>
                <c:pt idx="7">
                  <c:v>3.2800000000000003E-2</c:v>
                </c:pt>
                <c:pt idx="8">
                  <c:v>3.3000000000000002E-2</c:v>
                </c:pt>
                <c:pt idx="9">
                  <c:v>3.3500000000000002E-2</c:v>
                </c:pt>
                <c:pt idx="10">
                  <c:v>3.3799999999999997E-2</c:v>
                </c:pt>
              </c:numCache>
            </c:numRef>
          </c:val>
          <c:extLst>
            <c:ext xmlns:c16="http://schemas.microsoft.com/office/drawing/2014/chart" uri="{C3380CC4-5D6E-409C-BE32-E72D297353CC}">
              <c16:uniqueId val="{00000003-2F39-46DC-8925-1DF8FC47313C}"/>
            </c:ext>
          </c:extLst>
        </c:ser>
        <c:ser>
          <c:idx val="2"/>
          <c:order val="4"/>
          <c:tx>
            <c:strRef>
              <c:f>Sheet1!$D$1</c:f>
              <c:strCache>
                <c:ptCount val="1"/>
                <c:pt idx="0">
                  <c:v>Healthcare</c:v>
                </c:pt>
              </c:strCache>
            </c:strRef>
          </c:tx>
          <c:spPr>
            <a:solidFill>
              <a:schemeClr val="accent5"/>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D$2:$D$12</c:f>
              <c:numCache>
                <c:formatCode>0.00%</c:formatCode>
                <c:ptCount val="11"/>
                <c:pt idx="0">
                  <c:v>0.144907260060194</c:v>
                </c:pt>
                <c:pt idx="1">
                  <c:v>0.12037718355604</c:v>
                </c:pt>
                <c:pt idx="2">
                  <c:v>0.13167374570628301</c:v>
                </c:pt>
                <c:pt idx="3">
                  <c:v>0.13719999999999999</c:v>
                </c:pt>
                <c:pt idx="4">
                  <c:v>0.1381</c:v>
                </c:pt>
                <c:pt idx="5">
                  <c:v>0.14050000000000001</c:v>
                </c:pt>
                <c:pt idx="6">
                  <c:v>0.1421</c:v>
                </c:pt>
                <c:pt idx="7">
                  <c:v>0.14419999999999999</c:v>
                </c:pt>
                <c:pt idx="8">
                  <c:v>0.14549999999999999</c:v>
                </c:pt>
                <c:pt idx="9">
                  <c:v>0.1502</c:v>
                </c:pt>
                <c:pt idx="10">
                  <c:v>0.15210000000000001</c:v>
                </c:pt>
              </c:numCache>
            </c:numRef>
          </c:val>
          <c:extLst>
            <c:ext xmlns:c16="http://schemas.microsoft.com/office/drawing/2014/chart" uri="{C3380CC4-5D6E-409C-BE32-E72D297353CC}">
              <c16:uniqueId val="{00000004-2F39-46DC-8925-1DF8FC47313C}"/>
            </c:ext>
          </c:extLst>
        </c:ser>
        <c:ser>
          <c:idx val="1"/>
          <c:order val="5"/>
          <c:tx>
            <c:strRef>
              <c:f>Sheet1!$C$1</c:f>
              <c:strCache>
                <c:ptCount val="1"/>
                <c:pt idx="0">
                  <c:v>Animal Husbandry</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20930000000000001</c:v>
                </c:pt>
                <c:pt idx="1">
                  <c:v>0.215</c:v>
                </c:pt>
                <c:pt idx="2">
                  <c:v>0.22289999999999999</c:v>
                </c:pt>
                <c:pt idx="3">
                  <c:v>0.22789000000000001</c:v>
                </c:pt>
                <c:pt idx="4">
                  <c:v>0.2321</c:v>
                </c:pt>
                <c:pt idx="5">
                  <c:v>0.23499999999999999</c:v>
                </c:pt>
                <c:pt idx="6">
                  <c:v>0.2361</c:v>
                </c:pt>
                <c:pt idx="7">
                  <c:v>0.23649999999999999</c:v>
                </c:pt>
                <c:pt idx="8">
                  <c:v>0.23719999999999999</c:v>
                </c:pt>
                <c:pt idx="9">
                  <c:v>0.23799999999999999</c:v>
                </c:pt>
                <c:pt idx="10">
                  <c:v>0.23880000000000001</c:v>
                </c:pt>
              </c:numCache>
            </c:numRef>
          </c:val>
          <c:extLst>
            <c:ext xmlns:c16="http://schemas.microsoft.com/office/drawing/2014/chart" uri="{C3380CC4-5D6E-409C-BE32-E72D297353CC}">
              <c16:uniqueId val="{00000005-2F39-46DC-8925-1DF8FC47313C}"/>
            </c:ext>
          </c:extLst>
        </c:ser>
        <c:ser>
          <c:idx val="0"/>
          <c:order val="6"/>
          <c:tx>
            <c:strRef>
              <c:f>Sheet1!$B$1</c:f>
              <c:strCache>
                <c:ptCount val="1"/>
                <c:pt idx="0">
                  <c:v>Agricultur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0.51467202163939796</c:v>
                </c:pt>
                <c:pt idx="1">
                  <c:v>0.51816686798433398</c:v>
                </c:pt>
                <c:pt idx="2">
                  <c:v>0.50739301575227402</c:v>
                </c:pt>
                <c:pt idx="3">
                  <c:v>0.51059913520213995</c:v>
                </c:pt>
                <c:pt idx="4">
                  <c:v>0.50731231128815002</c:v>
                </c:pt>
                <c:pt idx="5">
                  <c:v>0.50049999999999994</c:v>
                </c:pt>
                <c:pt idx="6">
                  <c:v>0.49880000000000002</c:v>
                </c:pt>
                <c:pt idx="7">
                  <c:v>0.49809999999999999</c:v>
                </c:pt>
                <c:pt idx="8">
                  <c:v>0.49719999999999998</c:v>
                </c:pt>
                <c:pt idx="9">
                  <c:v>0.4965</c:v>
                </c:pt>
                <c:pt idx="10">
                  <c:v>0.49609999999999999</c:v>
                </c:pt>
              </c:numCache>
            </c:numRef>
          </c:val>
          <c:extLst>
            <c:ext xmlns:c16="http://schemas.microsoft.com/office/drawing/2014/chart" uri="{C3380CC4-5D6E-409C-BE32-E72D297353CC}">
              <c16:uniqueId val="{00000006-2F39-46DC-8925-1DF8FC47313C}"/>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13626351607847287"/>
          <c:y val="0.19136948235186521"/>
          <c:w val="0.45723535635361678"/>
          <c:h val="0.75851023638933646"/>
        </c:manualLayout>
      </c:layout>
      <c:pieChart>
        <c:varyColors val="1"/>
        <c:ser>
          <c:idx val="0"/>
          <c:order val="0"/>
          <c:tx>
            <c:strRef>
              <c:f>Sheet1!$B$1</c:f>
              <c:strCache>
                <c:ptCount val="1"/>
                <c:pt idx="0">
                  <c:v>Column1</c:v>
                </c:pt>
              </c:strCache>
            </c:strRef>
          </c:tx>
          <c:spPr>
            <a:ln>
              <a:noFill/>
            </a:ln>
          </c:spPr>
          <c:dPt>
            <c:idx val="0"/>
            <c:bubble3D val="0"/>
            <c:spPr>
              <a:solidFill>
                <a:schemeClr val="bg1">
                  <a:lumMod val="75000"/>
                </a:schemeClr>
              </a:solidFill>
              <a:ln w="19050">
                <a:noFill/>
              </a:ln>
              <a:effectLst/>
            </c:spPr>
            <c:extLst>
              <c:ext xmlns:c16="http://schemas.microsoft.com/office/drawing/2014/chart" uri="{C3380CC4-5D6E-409C-BE32-E72D297353CC}">
                <c16:uniqueId val="{00000001-6C58-41D2-A5AC-B6DB167258FA}"/>
              </c:ext>
            </c:extLst>
          </c:dPt>
          <c:dPt>
            <c:idx val="1"/>
            <c:bubble3D val="0"/>
            <c:spPr>
              <a:solidFill>
                <a:srgbClr val="FFD966"/>
              </a:solidFill>
              <a:ln w="19050">
                <a:noFill/>
              </a:ln>
              <a:effectLst/>
            </c:spPr>
            <c:extLst>
              <c:ext xmlns:c16="http://schemas.microsoft.com/office/drawing/2014/chart" uri="{C3380CC4-5D6E-409C-BE32-E72D297353CC}">
                <c16:uniqueId val="{00000003-6C58-41D2-A5AC-B6DB167258FA}"/>
              </c:ext>
            </c:extLst>
          </c:dPt>
          <c:dPt>
            <c:idx val="2"/>
            <c:bubble3D val="0"/>
            <c:spPr>
              <a:solidFill>
                <a:schemeClr val="tx2">
                  <a:lumMod val="75000"/>
                </a:schemeClr>
              </a:solidFill>
              <a:ln w="19050">
                <a:noFill/>
              </a:ln>
              <a:effectLst/>
            </c:spPr>
            <c:extLst>
              <c:ext xmlns:c16="http://schemas.microsoft.com/office/drawing/2014/chart" uri="{C3380CC4-5D6E-409C-BE32-E72D297353CC}">
                <c16:uniqueId val="{00000005-6C58-41D2-A5AC-B6DB167258FA}"/>
              </c:ext>
            </c:extLst>
          </c:dPt>
          <c:dPt>
            <c:idx val="3"/>
            <c:bubble3D val="0"/>
            <c:spPr>
              <a:solidFill>
                <a:srgbClr val="9AB6EA"/>
              </a:solidFill>
              <a:ln w="19050">
                <a:noFill/>
              </a:ln>
              <a:effectLst/>
            </c:spPr>
            <c:extLst>
              <c:ext xmlns:c16="http://schemas.microsoft.com/office/drawing/2014/chart" uri="{C3380CC4-5D6E-409C-BE32-E72D297353CC}">
                <c16:uniqueId val="{00000007-6C58-41D2-A5AC-B6DB167258FA}"/>
              </c:ext>
            </c:extLst>
          </c:dPt>
          <c:dPt>
            <c:idx val="4"/>
            <c:bubble3D val="0"/>
            <c:spPr>
              <a:solidFill>
                <a:schemeClr val="accent6">
                  <a:tint val="77000"/>
                </a:schemeClr>
              </a:solidFill>
              <a:ln w="19050">
                <a:noFill/>
              </a:ln>
              <a:effectLst/>
            </c:spPr>
            <c:extLst>
              <c:ext xmlns:c16="http://schemas.microsoft.com/office/drawing/2014/chart" uri="{C3380CC4-5D6E-409C-BE32-E72D297353CC}">
                <c16:uniqueId val="{00000009-6C58-41D2-A5AC-B6DB167258FA}"/>
              </c:ext>
            </c:extLst>
          </c:dPt>
          <c:dPt>
            <c:idx val="5"/>
            <c:bubble3D val="0"/>
            <c:spPr>
              <a:solidFill>
                <a:schemeClr val="accent6">
                  <a:tint val="50000"/>
                </a:schemeClr>
              </a:solidFill>
              <a:ln w="19050">
                <a:noFill/>
              </a:ln>
              <a:effectLst/>
            </c:spPr>
            <c:extLst>
              <c:ext xmlns:c16="http://schemas.microsoft.com/office/drawing/2014/chart" uri="{C3380CC4-5D6E-409C-BE32-E72D297353CC}">
                <c16:uniqueId val="{0000000B-70F2-4D84-860D-CC427C7D69FA}"/>
              </c:ext>
            </c:extLst>
          </c:dPt>
          <c:dLbls>
            <c:dLbl>
              <c:idx val="0"/>
              <c:layout>
                <c:manualLayout>
                  <c:x val="3.8819315293221628E-2"/>
                  <c:y val="6.5341983108384613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18346827115147976"/>
                      <c:h val="0.25494490932546565"/>
                    </c:manualLayout>
                  </c15:layout>
                </c:ext>
                <c:ext xmlns:c16="http://schemas.microsoft.com/office/drawing/2014/chart" uri="{C3380CC4-5D6E-409C-BE32-E72D297353CC}">
                  <c16:uniqueId val="{00000001-6C58-41D2-A5AC-B6DB167258FA}"/>
                </c:ext>
              </c:extLst>
            </c:dLbl>
            <c:dLbl>
              <c:idx val="1"/>
              <c:layout>
                <c:manualLayout>
                  <c:x val="-0.21962139131767491"/>
                  <c:y val="0"/>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C58-41D2-A5AC-B6DB167258FA}"/>
                </c:ext>
              </c:extLst>
            </c:dLbl>
            <c:dLbl>
              <c:idx val="2"/>
              <c:layout>
                <c:manualLayout>
                  <c:x val="-3.3786742711415171E-2"/>
                  <c:y val="-0.17942956695261084"/>
                </c:manualLayout>
              </c:layout>
              <c:tx>
                <c:rich>
                  <a:bodyPr/>
                  <a:lstStyle/>
                  <a:p>
                    <a:fld id="{91C8B551-69F2-41C1-84CA-89D0CEEB69E7}" type="CATEGORYNAME">
                      <a:rPr lang="en-US">
                        <a:solidFill>
                          <a:schemeClr val="tx1"/>
                        </a:solidFill>
                      </a:rPr>
                      <a:pPr/>
                      <a:t>[CATEGORY NAME]</a:t>
                    </a:fld>
                    <a:r>
                      <a:rPr lang="en-US" dirty="0">
                        <a:solidFill>
                          <a:schemeClr val="tx1"/>
                        </a:solidFill>
                      </a:rPr>
                      <a:t>, </a:t>
                    </a:r>
                    <a:fld id="{66A33A4E-3D2A-40E2-A66A-AA899362E7B7}" type="VALUE">
                      <a:rPr lang="en-US">
                        <a:solidFill>
                          <a:schemeClr val="tx1"/>
                        </a:solidFill>
                      </a:rPr>
                      <a:pPr/>
                      <a:t>[VALUE]</a:t>
                    </a:fld>
                    <a:endParaRPr lang="en-US" dirty="0">
                      <a:solidFill>
                        <a:schemeClr val="tx1"/>
                      </a:solidFill>
                    </a:endParaRPr>
                  </a:p>
                </c:rich>
              </c:tx>
              <c:dLblPos val="bestFit"/>
              <c:showLegendKey val="0"/>
              <c:showVal val="1"/>
              <c:showCatName val="1"/>
              <c:showSerName val="0"/>
              <c:showPercent val="0"/>
              <c:showBubbleSize val="0"/>
              <c:extLst>
                <c:ext xmlns:c15="http://schemas.microsoft.com/office/drawing/2012/chart" uri="{CE6537A1-D6FC-4f65-9D91-7224C49458BB}">
                  <c15:layout>
                    <c:manualLayout>
                      <c:w val="0.18822643202801281"/>
                      <c:h val="0.28588104155867439"/>
                    </c:manualLayout>
                  </c15:layout>
                  <c15:dlblFieldTable/>
                  <c15:showDataLabelsRange val="0"/>
                </c:ext>
                <c:ext xmlns:c16="http://schemas.microsoft.com/office/drawing/2014/chart" uri="{C3380CC4-5D6E-409C-BE32-E72D297353CC}">
                  <c16:uniqueId val="{00000005-6C58-41D2-A5AC-B6DB167258FA}"/>
                </c:ext>
              </c:extLst>
            </c:dLbl>
            <c:dLbl>
              <c:idx val="3"/>
              <c:layout>
                <c:manualLayout>
                  <c:x val="-3.2606254434698383E-2"/>
                  <c:y val="-9.5879599496447407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16876907900272314"/>
                      <c:h val="0.16897315425778617"/>
                    </c:manualLayout>
                  </c15:layout>
                </c:ext>
                <c:ext xmlns:c16="http://schemas.microsoft.com/office/drawing/2014/chart" uri="{C3380CC4-5D6E-409C-BE32-E72D297353CC}">
                  <c16:uniqueId val="{00000007-6C58-41D2-A5AC-B6DB167258FA}"/>
                </c:ext>
              </c:extLst>
            </c:dLbl>
            <c:dLbl>
              <c:idx val="4"/>
              <c:layout>
                <c:manualLayout>
                  <c:x val="3.3872096507870262E-3"/>
                  <c:y val="9.9351266871153688E-3"/>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22490405151173387"/>
                      <c:h val="0.16897315425778617"/>
                    </c:manualLayout>
                  </c15:layout>
                </c:ext>
                <c:ext xmlns:c16="http://schemas.microsoft.com/office/drawing/2014/chart" uri="{C3380CC4-5D6E-409C-BE32-E72D297353CC}">
                  <c16:uniqueId val="{00000009-6C58-41D2-A5AC-B6DB167258FA}"/>
                </c:ext>
              </c:extLst>
            </c:dLbl>
            <c:dLbl>
              <c:idx val="5"/>
              <c:layout>
                <c:manualLayout>
                  <c:x val="0.21876189073344859"/>
                  <c:y val="0"/>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40246578615704964"/>
                      <c:h val="0.20263166612751726"/>
                    </c:manualLayout>
                  </c15:layout>
                </c:ext>
                <c:ext xmlns:c16="http://schemas.microsoft.com/office/drawing/2014/chart" uri="{C3380CC4-5D6E-409C-BE32-E72D297353CC}">
                  <c16:uniqueId val="{0000000B-70F2-4D84-860D-CC427C7D69FA}"/>
                </c:ext>
              </c:extLst>
            </c:dLbl>
            <c:numFmt formatCode="0.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Indonesia</c:v>
                </c:pt>
                <c:pt idx="1">
                  <c:v>Malaysia</c:v>
                </c:pt>
                <c:pt idx="2">
                  <c:v>Phillipines</c:v>
                </c:pt>
                <c:pt idx="3">
                  <c:v>Vietnam</c:v>
                </c:pt>
                <c:pt idx="4">
                  <c:v>Thailand</c:v>
                </c:pt>
                <c:pt idx="5">
                  <c:v>Rest of South-East Asia</c:v>
                </c:pt>
              </c:strCache>
            </c:strRef>
          </c:cat>
          <c:val>
            <c:numRef>
              <c:f>Sheet1!$B$2:$B$7</c:f>
              <c:numCache>
                <c:formatCode>0.00%</c:formatCode>
                <c:ptCount val="6"/>
                <c:pt idx="0">
                  <c:v>0.38919482525584093</c:v>
                </c:pt>
                <c:pt idx="1">
                  <c:v>0.21088627148098085</c:v>
                </c:pt>
                <c:pt idx="2">
                  <c:v>8.4838076848812519E-2</c:v>
                </c:pt>
                <c:pt idx="3">
                  <c:v>0.21210658428268003</c:v>
                </c:pt>
                <c:pt idx="4">
                  <c:v>4.8901332303533503E-2</c:v>
                </c:pt>
                <c:pt idx="5">
                  <c:v>5.4064491214520172E-2</c:v>
                </c:pt>
              </c:numCache>
            </c:numRef>
          </c:val>
          <c:extLst>
            <c:ext xmlns:c16="http://schemas.microsoft.com/office/drawing/2014/chart" uri="{C3380CC4-5D6E-409C-BE32-E72D297353CC}">
              <c16:uniqueId val="{0000000A-6C58-41D2-A5AC-B6DB167258FA}"/>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Import</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6</c:f>
              <c:numCache>
                <c:formatCode>0.00</c:formatCode>
                <c:ptCount val="5"/>
                <c:pt idx="0">
                  <c:v>15.54</c:v>
                </c:pt>
                <c:pt idx="1">
                  <c:v>18.96</c:v>
                </c:pt>
                <c:pt idx="2">
                  <c:v>17.29</c:v>
                </c:pt>
                <c:pt idx="3">
                  <c:v>16.84</c:v>
                </c:pt>
                <c:pt idx="4">
                  <c:v>14.72</c:v>
                </c:pt>
              </c:numCache>
            </c:numRef>
          </c:val>
          <c:extLst>
            <c:ext xmlns:c16="http://schemas.microsoft.com/office/drawing/2014/chart" uri="{C3380CC4-5D6E-409C-BE32-E72D297353CC}">
              <c16:uniqueId val="{00000000-0531-40ED-BBE9-623B9E604F7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Import</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00</c:formatCode>
                <c:ptCount val="6"/>
                <c:pt idx="0">
                  <c:v>4.8763223002212328</c:v>
                </c:pt>
                <c:pt idx="1">
                  <c:v>5.0330691828017677</c:v>
                </c:pt>
                <c:pt idx="2">
                  <c:v>5.0697859013491637</c:v>
                </c:pt>
                <c:pt idx="3">
                  <c:v>5.1742915395502393</c:v>
                </c:pt>
                <c:pt idx="4">
                  <c:v>5.0181597150828594</c:v>
                </c:pt>
                <c:pt idx="5">
                  <c:v>-2.0695434990643662</c:v>
                </c:pt>
              </c:numCache>
            </c:numRef>
          </c:val>
          <c:extLst>
            <c:ext xmlns:c16="http://schemas.microsoft.com/office/drawing/2014/chart" uri="{C3380CC4-5D6E-409C-BE32-E72D297353CC}">
              <c16:uniqueId val="{00000000-CD4C-407A-8CF6-E110015B5A7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alue (USD Million)</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4.3680000000000003</c:v>
                </c:pt>
                <c:pt idx="1">
                  <c:v>4.6929999999999996</c:v>
                </c:pt>
                <c:pt idx="2">
                  <c:v>5.0545999999999998</c:v>
                </c:pt>
                <c:pt idx="3">
                  <c:v>5.4234</c:v>
                </c:pt>
                <c:pt idx="4">
                  <c:v>5.0651999999999999</c:v>
                </c:pt>
                <c:pt idx="5">
                  <c:v>5.1239999999999997</c:v>
                </c:pt>
                <c:pt idx="6">
                  <c:v>5.4119999999999999</c:v>
                </c:pt>
                <c:pt idx="7">
                  <c:v>5.7039999999999997</c:v>
                </c:pt>
                <c:pt idx="8">
                  <c:v>6.0257999999999994</c:v>
                </c:pt>
                <c:pt idx="9">
                  <c:v>6.3249999999999993</c:v>
                </c:pt>
                <c:pt idx="10">
                  <c:v>6.7032000000000007</c:v>
                </c:pt>
              </c:numCache>
            </c:numRef>
          </c:val>
          <c:extLst>
            <c:ext xmlns:c16="http://schemas.microsoft.com/office/drawing/2014/chart" uri="{C3380CC4-5D6E-409C-BE32-E72D297353CC}">
              <c16:uniqueId val="{00000000-EA03-4B5A-974B-609E866BCAFE}"/>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1.9575047852245984E-2"/>
          <c:w val="1"/>
          <c:h val="0.85005355014249784"/>
        </c:manualLayout>
      </c:layout>
      <c:barChart>
        <c:barDir val="col"/>
        <c:grouping val="clustered"/>
        <c:varyColors val="0"/>
        <c:ser>
          <c:idx val="0"/>
          <c:order val="0"/>
          <c:tx>
            <c:strRef>
              <c:f>Sheet1!$B$1</c:f>
              <c:strCache>
                <c:ptCount val="1"/>
                <c:pt idx="0">
                  <c:v>Import</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00</c:formatCode>
                <c:ptCount val="6"/>
                <c:pt idx="0">
                  <c:v>27.37</c:v>
                </c:pt>
                <c:pt idx="1">
                  <c:v>27.14</c:v>
                </c:pt>
                <c:pt idx="2">
                  <c:v>27.015000000000001</c:v>
                </c:pt>
                <c:pt idx="3">
                  <c:v>26.71</c:v>
                </c:pt>
                <c:pt idx="4">
                  <c:v>25.62</c:v>
                </c:pt>
                <c:pt idx="5">
                  <c:v>25.29</c:v>
                </c:pt>
              </c:numCache>
            </c:numRef>
          </c:val>
          <c:extLst>
            <c:ext xmlns:c16="http://schemas.microsoft.com/office/drawing/2014/chart" uri="{C3380CC4-5D6E-409C-BE32-E72D297353CC}">
              <c16:uniqueId val="{00000000-B49E-47CC-878D-987F6A68F27A}"/>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olume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1.82</c:v>
                </c:pt>
                <c:pt idx="1">
                  <c:v>1.9</c:v>
                </c:pt>
                <c:pt idx="2">
                  <c:v>1.99</c:v>
                </c:pt>
                <c:pt idx="3">
                  <c:v>2.0699999999999998</c:v>
                </c:pt>
                <c:pt idx="4">
                  <c:v>2.0099999999999998</c:v>
                </c:pt>
                <c:pt idx="5">
                  <c:v>2.1</c:v>
                </c:pt>
                <c:pt idx="6">
                  <c:v>2.2000000000000002</c:v>
                </c:pt>
                <c:pt idx="7">
                  <c:v>2.2999999999999998</c:v>
                </c:pt>
                <c:pt idx="8">
                  <c:v>2.42</c:v>
                </c:pt>
                <c:pt idx="9">
                  <c:v>2.5299999999999998</c:v>
                </c:pt>
                <c:pt idx="10">
                  <c:v>2.66</c:v>
                </c:pt>
              </c:numCache>
            </c:numRef>
          </c:val>
          <c:extLst>
            <c:ext xmlns:c16="http://schemas.microsoft.com/office/drawing/2014/chart" uri="{C3380CC4-5D6E-409C-BE32-E72D297353CC}">
              <c16:uniqueId val="{00000000-FB3E-45AB-BDE0-5419C8D17AD4}"/>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Agricultural Production</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5"/>
                <c:pt idx="0">
                  <c:v>2015</c:v>
                </c:pt>
                <c:pt idx="1">
                  <c:v>2016</c:v>
                </c:pt>
                <c:pt idx="2">
                  <c:v>2017</c:v>
                </c:pt>
                <c:pt idx="3">
                  <c:v>2018</c:v>
                </c:pt>
                <c:pt idx="4">
                  <c:v>2019</c:v>
                </c:pt>
              </c:numCache>
            </c:numRef>
          </c:cat>
          <c:val>
            <c:numRef>
              <c:f>Sheet1!$B$2:$B$7</c:f>
              <c:numCache>
                <c:formatCode>0.00</c:formatCode>
                <c:ptCount val="5"/>
                <c:pt idx="0">
                  <c:v>499.53</c:v>
                </c:pt>
                <c:pt idx="1">
                  <c:v>517.86</c:v>
                </c:pt>
                <c:pt idx="2">
                  <c:v>527.04</c:v>
                </c:pt>
                <c:pt idx="3">
                  <c:v>534.36</c:v>
                </c:pt>
                <c:pt idx="4">
                  <c:v>520.61</c:v>
                </c:pt>
              </c:numCache>
            </c:numRef>
          </c:val>
          <c:extLst>
            <c:ext xmlns:c16="http://schemas.microsoft.com/office/drawing/2014/chart" uri="{C3380CC4-5D6E-409C-BE32-E72D297353CC}">
              <c16:uniqueId val="{00000000-E115-41E1-8991-79401E7F25B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Import</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00</c:formatCode>
                <c:ptCount val="6"/>
                <c:pt idx="0">
                  <c:v>3.6880000000000002</c:v>
                </c:pt>
                <c:pt idx="1">
                  <c:v>3.7629999999999999</c:v>
                </c:pt>
                <c:pt idx="2">
                  <c:v>3.8319999999999999</c:v>
                </c:pt>
                <c:pt idx="3">
                  <c:v>3.7930000000000001</c:v>
                </c:pt>
                <c:pt idx="4">
                  <c:v>3.8</c:v>
                </c:pt>
                <c:pt idx="5">
                  <c:v>4.6399999999999997</c:v>
                </c:pt>
              </c:numCache>
            </c:numRef>
          </c:val>
          <c:extLst>
            <c:ext xmlns:c16="http://schemas.microsoft.com/office/drawing/2014/chart" uri="{C3380CC4-5D6E-409C-BE32-E72D297353CC}">
              <c16:uniqueId val="{00000000-71D7-4018-8EED-692E29C2435A}"/>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eagent Grad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9.6023541456999872E-2</c:v>
                </c:pt>
                <c:pt idx="1">
                  <c:v>7.1073021775700074E-2</c:v>
                </c:pt>
                <c:pt idx="2">
                  <c:v>6.1806119150000005E-2</c:v>
                </c:pt>
                <c:pt idx="3">
                  <c:v>8.7575512586999915E-2</c:v>
                </c:pt>
                <c:pt idx="4">
                  <c:v>0.10756354800000001</c:v>
                </c:pt>
                <c:pt idx="5">
                  <c:v>0.10472510287999992</c:v>
                </c:pt>
                <c:pt idx="6">
                  <c:v>0.1011127289646</c:v>
                </c:pt>
                <c:pt idx="7">
                  <c:v>9.3096618675000076E-2</c:v>
                </c:pt>
                <c:pt idx="8">
                  <c:v>9.2867134184999811E-2</c:v>
                </c:pt>
                <c:pt idx="9">
                  <c:v>8.4905135812569976E-2</c:v>
                </c:pt>
                <c:pt idx="10">
                  <c:v>8.3846433856649916E-2</c:v>
                </c:pt>
              </c:numCache>
            </c:numRef>
          </c:val>
          <c:extLst>
            <c:ext xmlns:c16="http://schemas.microsoft.com/office/drawing/2014/chart" uri="{C3380CC4-5D6E-409C-BE32-E72D297353CC}">
              <c16:uniqueId val="{00000000-1224-4620-B2F0-526F97CB6999}"/>
            </c:ext>
          </c:extLst>
        </c:ser>
        <c:ser>
          <c:idx val="1"/>
          <c:order val="1"/>
          <c:tx>
            <c:strRef>
              <c:f>Sheet1!$C$1</c:f>
              <c:strCache>
                <c:ptCount val="1"/>
                <c:pt idx="0">
                  <c:v>Industrial Grade</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90397645854300013</c:v>
                </c:pt>
                <c:pt idx="1">
                  <c:v>0.92892697822429993</c:v>
                </c:pt>
                <c:pt idx="2">
                  <c:v>0.93819388084999999</c:v>
                </c:pt>
                <c:pt idx="3">
                  <c:v>0.91242448741300008</c:v>
                </c:pt>
                <c:pt idx="4">
                  <c:v>0.89243645199999999</c:v>
                </c:pt>
                <c:pt idx="5">
                  <c:v>0.89527489712000008</c:v>
                </c:pt>
                <c:pt idx="6">
                  <c:v>0.8988872710354</c:v>
                </c:pt>
                <c:pt idx="7">
                  <c:v>0.90690338132499992</c:v>
                </c:pt>
                <c:pt idx="8">
                  <c:v>0.90713286581500019</c:v>
                </c:pt>
                <c:pt idx="9">
                  <c:v>0.91509486418743002</c:v>
                </c:pt>
                <c:pt idx="10">
                  <c:v>0.91615356614335008</c:v>
                </c:pt>
              </c:numCache>
            </c:numRef>
          </c:val>
          <c:extLst>
            <c:ext xmlns:c16="http://schemas.microsoft.com/office/drawing/2014/chart" uri="{C3380CC4-5D6E-409C-BE32-E72D297353CC}">
              <c16:uniqueId val="{00000001-1224-4620-B2F0-526F97CB6999}"/>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6"/>
          <c:order val="0"/>
          <c:tx>
            <c:strRef>
              <c:f>Sheet1!$H$1</c:f>
              <c:strCache>
                <c:ptCount val="1"/>
                <c:pt idx="0">
                  <c:v>Others</c:v>
                </c:pt>
              </c:strCache>
            </c:strRef>
          </c:tx>
          <c:spPr>
            <a:solidFill>
              <a:schemeClr val="accent1">
                <a:lumMod val="80000"/>
                <a:lumOff val="2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H$2:$H$12</c:f>
              <c:numCache>
                <c:formatCode>0.00%</c:formatCode>
                <c:ptCount val="11"/>
                <c:pt idx="0">
                  <c:v>0.11413852930351054</c:v>
                </c:pt>
                <c:pt idx="1">
                  <c:v>9.9195473883828766E-2</c:v>
                </c:pt>
                <c:pt idx="2">
                  <c:v>9.3676050327635707E-2</c:v>
                </c:pt>
                <c:pt idx="3">
                  <c:v>9.8900939476625704E-2</c:v>
                </c:pt>
                <c:pt idx="4">
                  <c:v>0.10502827663247949</c:v>
                </c:pt>
                <c:pt idx="5">
                  <c:v>0.10470332680749006</c:v>
                </c:pt>
                <c:pt idx="6">
                  <c:v>0.10335142117371998</c:v>
                </c:pt>
                <c:pt idx="7">
                  <c:v>0.10219999999999996</c:v>
                </c:pt>
                <c:pt idx="8">
                  <c:v>0.10119999999999996</c:v>
                </c:pt>
                <c:pt idx="9">
                  <c:v>9.9299999999999944E-2</c:v>
                </c:pt>
                <c:pt idx="10">
                  <c:v>9.7700000000000009E-2</c:v>
                </c:pt>
              </c:numCache>
            </c:numRef>
          </c:val>
          <c:extLst>
            <c:ext xmlns:c16="http://schemas.microsoft.com/office/drawing/2014/chart" uri="{C3380CC4-5D6E-409C-BE32-E72D297353CC}">
              <c16:uniqueId val="{00000000-EB81-4498-A1BF-7B374FC823DE}"/>
            </c:ext>
          </c:extLst>
        </c:ser>
        <c:ser>
          <c:idx val="5"/>
          <c:order val="1"/>
          <c:tx>
            <c:strRef>
              <c:f>Sheet1!$G$1</c:f>
              <c:strCache>
                <c:ptCount val="1"/>
                <c:pt idx="0">
                  <c:v>Leather and Textiles</c:v>
                </c:pt>
              </c:strCache>
            </c:strRef>
          </c:tx>
          <c:spPr>
            <a:solidFill>
              <a:schemeClr val="accent5">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G$2:$G$12</c:f>
              <c:numCache>
                <c:formatCode>0.00%</c:formatCode>
                <c:ptCount val="11"/>
                <c:pt idx="0">
                  <c:v>4.5067095624755388E-2</c:v>
                </c:pt>
                <c:pt idx="1">
                  <c:v>4.5830630964154302E-2</c:v>
                </c:pt>
                <c:pt idx="2">
                  <c:v>4.3558879891087171E-2</c:v>
                </c:pt>
                <c:pt idx="3">
                  <c:v>4.42822025409743E-2</c:v>
                </c:pt>
                <c:pt idx="4">
                  <c:v>4.2181778930545963E-2</c:v>
                </c:pt>
                <c:pt idx="5">
                  <c:v>4.1840300859417957E-2</c:v>
                </c:pt>
                <c:pt idx="6">
                  <c:v>4.19E-2</c:v>
                </c:pt>
                <c:pt idx="7">
                  <c:v>4.2099999999999999E-2</c:v>
                </c:pt>
                <c:pt idx="8">
                  <c:v>4.2200000000000001E-2</c:v>
                </c:pt>
                <c:pt idx="9">
                  <c:v>4.24E-2</c:v>
                </c:pt>
                <c:pt idx="10">
                  <c:v>4.2500000000000003E-2</c:v>
                </c:pt>
              </c:numCache>
            </c:numRef>
          </c:val>
          <c:extLst>
            <c:ext xmlns:c16="http://schemas.microsoft.com/office/drawing/2014/chart" uri="{C3380CC4-5D6E-409C-BE32-E72D297353CC}">
              <c16:uniqueId val="{00000001-EB81-4498-A1BF-7B374FC823DE}"/>
            </c:ext>
          </c:extLst>
        </c:ser>
        <c:ser>
          <c:idx val="4"/>
          <c:order val="2"/>
          <c:tx>
            <c:strRef>
              <c:f>Sheet1!$F$1</c:f>
              <c:strCache>
                <c:ptCount val="1"/>
                <c:pt idx="0">
                  <c:v>Chemicals</c:v>
                </c:pt>
              </c:strCache>
            </c:strRef>
          </c:tx>
          <c:spPr>
            <a:solidFill>
              <a:schemeClr val="accent3">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F$2:$F$12</c:f>
              <c:numCache>
                <c:formatCode>0.00%</c:formatCode>
                <c:ptCount val="11"/>
                <c:pt idx="0">
                  <c:v>6.0900000000000003E-2</c:v>
                </c:pt>
                <c:pt idx="1">
                  <c:v>6.25E-2</c:v>
                </c:pt>
                <c:pt idx="2">
                  <c:v>6.3299999999999995E-2</c:v>
                </c:pt>
                <c:pt idx="3">
                  <c:v>6.4199999999999993E-2</c:v>
                </c:pt>
                <c:pt idx="4">
                  <c:v>5.7556461044755508E-2</c:v>
                </c:pt>
                <c:pt idx="5">
                  <c:v>6.0299999999999999E-2</c:v>
                </c:pt>
                <c:pt idx="6">
                  <c:v>6.0499999999999998E-2</c:v>
                </c:pt>
                <c:pt idx="7">
                  <c:v>6.08E-2</c:v>
                </c:pt>
                <c:pt idx="8">
                  <c:v>6.1199999999999997E-2</c:v>
                </c:pt>
                <c:pt idx="9">
                  <c:v>6.13E-2</c:v>
                </c:pt>
                <c:pt idx="10">
                  <c:v>6.1499999999999999E-2</c:v>
                </c:pt>
              </c:numCache>
            </c:numRef>
          </c:val>
          <c:extLst>
            <c:ext xmlns:c16="http://schemas.microsoft.com/office/drawing/2014/chart" uri="{C3380CC4-5D6E-409C-BE32-E72D297353CC}">
              <c16:uniqueId val="{00000002-EB81-4498-A1BF-7B374FC823DE}"/>
            </c:ext>
          </c:extLst>
        </c:ser>
        <c:ser>
          <c:idx val="3"/>
          <c:order val="3"/>
          <c:tx>
            <c:strRef>
              <c:f>Sheet1!$E$1</c:f>
              <c:strCache>
                <c:ptCount val="1"/>
                <c:pt idx="0">
                  <c:v>Industrial</c:v>
                </c:pt>
              </c:strCache>
            </c:strRef>
          </c:tx>
          <c:spPr>
            <a:solidFill>
              <a:schemeClr val="accent1">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E$2:$E$12</c:f>
              <c:numCache>
                <c:formatCode>0.00%</c:formatCode>
                <c:ptCount val="11"/>
                <c:pt idx="0">
                  <c:v>0.10150000000000001</c:v>
                </c:pt>
                <c:pt idx="1">
                  <c:v>0.1021</c:v>
                </c:pt>
                <c:pt idx="2">
                  <c:v>0.1032</c:v>
                </c:pt>
                <c:pt idx="3">
                  <c:v>0.10440000000000001</c:v>
                </c:pt>
                <c:pt idx="4">
                  <c:v>0.1061</c:v>
                </c:pt>
                <c:pt idx="5">
                  <c:v>0.1082</c:v>
                </c:pt>
                <c:pt idx="6">
                  <c:v>0.1091</c:v>
                </c:pt>
                <c:pt idx="7">
                  <c:v>0.10970000000000001</c:v>
                </c:pt>
                <c:pt idx="8">
                  <c:v>0.1103</c:v>
                </c:pt>
                <c:pt idx="9">
                  <c:v>0.11210000000000001</c:v>
                </c:pt>
                <c:pt idx="10">
                  <c:v>0.1132</c:v>
                </c:pt>
              </c:numCache>
            </c:numRef>
          </c:val>
          <c:extLst>
            <c:ext xmlns:c16="http://schemas.microsoft.com/office/drawing/2014/chart" uri="{C3380CC4-5D6E-409C-BE32-E72D297353CC}">
              <c16:uniqueId val="{00000003-EB81-4498-A1BF-7B374FC823DE}"/>
            </c:ext>
          </c:extLst>
        </c:ser>
        <c:ser>
          <c:idx val="2"/>
          <c:order val="4"/>
          <c:tx>
            <c:strRef>
              <c:f>Sheet1!$D$1</c:f>
              <c:strCache>
                <c:ptCount val="1"/>
                <c:pt idx="0">
                  <c:v>Healthcare</c:v>
                </c:pt>
              </c:strCache>
            </c:strRef>
          </c:tx>
          <c:spPr>
            <a:solidFill>
              <a:schemeClr val="accent5"/>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D$2:$D$12</c:f>
              <c:numCache>
                <c:formatCode>0.00%</c:formatCode>
                <c:ptCount val="11"/>
                <c:pt idx="0">
                  <c:v>0.147754060766178</c:v>
                </c:pt>
                <c:pt idx="1">
                  <c:v>0.14974552141816799</c:v>
                </c:pt>
                <c:pt idx="2">
                  <c:v>0.14891630109727599</c:v>
                </c:pt>
                <c:pt idx="3">
                  <c:v>0.149905539911936</c:v>
                </c:pt>
                <c:pt idx="4">
                  <c:v>0.15938808310581801</c:v>
                </c:pt>
                <c:pt idx="5">
                  <c:v>0.16009999999999999</c:v>
                </c:pt>
                <c:pt idx="6">
                  <c:v>0.1603</c:v>
                </c:pt>
                <c:pt idx="7">
                  <c:v>0.16070000000000001</c:v>
                </c:pt>
                <c:pt idx="8">
                  <c:v>0.16089999999999999</c:v>
                </c:pt>
                <c:pt idx="9">
                  <c:v>0.1613</c:v>
                </c:pt>
                <c:pt idx="10">
                  <c:v>0.1615</c:v>
                </c:pt>
              </c:numCache>
            </c:numRef>
          </c:val>
          <c:extLst>
            <c:ext xmlns:c16="http://schemas.microsoft.com/office/drawing/2014/chart" uri="{C3380CC4-5D6E-409C-BE32-E72D297353CC}">
              <c16:uniqueId val="{00000004-EB81-4498-A1BF-7B374FC823DE}"/>
            </c:ext>
          </c:extLst>
        </c:ser>
        <c:ser>
          <c:idx val="1"/>
          <c:order val="5"/>
          <c:tx>
            <c:strRef>
              <c:f>Sheet1!$C$1</c:f>
              <c:strCache>
                <c:ptCount val="1"/>
                <c:pt idx="0">
                  <c:v>Animal Husbandry</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20019999999999999</c:v>
                </c:pt>
                <c:pt idx="1">
                  <c:v>0.2016</c:v>
                </c:pt>
                <c:pt idx="2">
                  <c:v>0.2021</c:v>
                </c:pt>
                <c:pt idx="3">
                  <c:v>0.20269999999999999</c:v>
                </c:pt>
                <c:pt idx="4">
                  <c:v>0.20319999999999999</c:v>
                </c:pt>
                <c:pt idx="5">
                  <c:v>0.19839999999999999</c:v>
                </c:pt>
                <c:pt idx="6">
                  <c:v>0.19819999999999999</c:v>
                </c:pt>
                <c:pt idx="7">
                  <c:v>0.19769999999999999</c:v>
                </c:pt>
                <c:pt idx="8">
                  <c:v>0.19719999999999999</c:v>
                </c:pt>
                <c:pt idx="9">
                  <c:v>0.19650000000000001</c:v>
                </c:pt>
                <c:pt idx="10">
                  <c:v>0.19620000000000001</c:v>
                </c:pt>
              </c:numCache>
            </c:numRef>
          </c:val>
          <c:extLst>
            <c:ext xmlns:c16="http://schemas.microsoft.com/office/drawing/2014/chart" uri="{C3380CC4-5D6E-409C-BE32-E72D297353CC}">
              <c16:uniqueId val="{00000005-EB81-4498-A1BF-7B374FC823DE}"/>
            </c:ext>
          </c:extLst>
        </c:ser>
        <c:ser>
          <c:idx val="0"/>
          <c:order val="6"/>
          <c:tx>
            <c:strRef>
              <c:f>Sheet1!$B$1</c:f>
              <c:strCache>
                <c:ptCount val="1"/>
                <c:pt idx="0">
                  <c:v>Agricultur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0.33044031430555598</c:v>
                </c:pt>
                <c:pt idx="1">
                  <c:v>0.33902837373384898</c:v>
                </c:pt>
                <c:pt idx="2">
                  <c:v>0.34524876868400101</c:v>
                </c:pt>
                <c:pt idx="3">
                  <c:v>0.33561131807046402</c:v>
                </c:pt>
                <c:pt idx="4">
                  <c:v>0.326545400286401</c:v>
                </c:pt>
                <c:pt idx="5">
                  <c:v>0.32645637233309199</c:v>
                </c:pt>
                <c:pt idx="6">
                  <c:v>0.32664857882628001</c:v>
                </c:pt>
                <c:pt idx="7">
                  <c:v>0.32679999999999998</c:v>
                </c:pt>
                <c:pt idx="8">
                  <c:v>0.32700000000000001</c:v>
                </c:pt>
                <c:pt idx="9">
                  <c:v>0.3271</c:v>
                </c:pt>
                <c:pt idx="10">
                  <c:v>0.32740000000000002</c:v>
                </c:pt>
              </c:numCache>
            </c:numRef>
          </c:val>
          <c:extLst>
            <c:ext xmlns:c16="http://schemas.microsoft.com/office/drawing/2014/chart" uri="{C3380CC4-5D6E-409C-BE32-E72D297353CC}">
              <c16:uniqueId val="{00000006-EB81-4498-A1BF-7B374FC823DE}"/>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Production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6</c:f>
              <c:numCache>
                <c:formatCode>0.00</c:formatCode>
                <c:ptCount val="5"/>
                <c:pt idx="0">
                  <c:v>1.0751440000000001</c:v>
                </c:pt>
                <c:pt idx="1">
                  <c:v>1.301426</c:v>
                </c:pt>
                <c:pt idx="2">
                  <c:v>1.2013560000000001</c:v>
                </c:pt>
                <c:pt idx="3">
                  <c:v>1.492229</c:v>
                </c:pt>
                <c:pt idx="4">
                  <c:v>2.101445</c:v>
                </c:pt>
              </c:numCache>
            </c:numRef>
          </c:val>
          <c:extLst>
            <c:ext xmlns:c16="http://schemas.microsoft.com/office/drawing/2014/chart" uri="{C3380CC4-5D6E-409C-BE32-E72D297353CC}">
              <c16:uniqueId val="{00000000-0531-40ED-BBE9-623B9E604F7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28400917480130156"/>
          <c:w val="0.99798805302561078"/>
          <c:h val="0.53210291424405687"/>
        </c:manualLayout>
      </c:layout>
      <c:barChart>
        <c:barDir val="col"/>
        <c:grouping val="clustered"/>
        <c:varyColors val="0"/>
        <c:ser>
          <c:idx val="0"/>
          <c:order val="0"/>
          <c:tx>
            <c:strRef>
              <c:f>Sheet1!$B$1</c:f>
              <c:strCache>
                <c:ptCount val="1"/>
                <c:pt idx="0">
                  <c:v>By Value</c:v>
                </c:pt>
              </c:strCache>
            </c:strRef>
          </c:tx>
          <c:spPr>
            <a:solidFill>
              <a:schemeClr val="accent1"/>
            </a:solidFill>
            <a:ln>
              <a:noFill/>
            </a:ln>
            <a:effectLst>
              <a:innerShdw blurRad="63500" dist="50800" dir="13500000">
                <a:prstClr val="black">
                  <a:alpha val="50000"/>
                </a:prstClr>
              </a:innerShdw>
            </a:effectLst>
          </c:spPr>
          <c:invertIfNegative val="0"/>
          <c:dPt>
            <c:idx val="0"/>
            <c:invertIfNegative val="0"/>
            <c:bubble3D val="0"/>
            <c:spPr>
              <a:solidFill>
                <a:schemeClr val="accent1"/>
              </a:solidFill>
              <a:ln>
                <a:noFill/>
              </a:ln>
              <a:effectLst>
                <a:innerShdw blurRad="63500" dist="50800" dir="13500000">
                  <a:prstClr val="black">
                    <a:alpha val="50000"/>
                  </a:prstClr>
                </a:innerShdw>
              </a:effectLst>
            </c:spPr>
            <c:extLst>
              <c:ext xmlns:c16="http://schemas.microsoft.com/office/drawing/2014/chart" uri="{C3380CC4-5D6E-409C-BE32-E72D297353CC}">
                <c16:uniqueId val="{00000005-AC01-46FA-8C4A-342E563A51B5}"/>
              </c:ext>
            </c:extLst>
          </c:dPt>
          <c:dPt>
            <c:idx val="1"/>
            <c:invertIfNegative val="0"/>
            <c:bubble3D val="0"/>
            <c:spPr>
              <a:solidFill>
                <a:schemeClr val="accent1"/>
              </a:solidFill>
              <a:ln>
                <a:noFill/>
              </a:ln>
              <a:effectLst>
                <a:innerShdw blurRad="63500" dist="50800" dir="13500000">
                  <a:prstClr val="black">
                    <a:alpha val="50000"/>
                  </a:prstClr>
                </a:innerShdw>
              </a:effectLst>
            </c:spPr>
            <c:extLst>
              <c:ext xmlns:c16="http://schemas.microsoft.com/office/drawing/2014/chart" uri="{C3380CC4-5D6E-409C-BE32-E72D297353CC}">
                <c16:uniqueId val="{00000006-AC01-46FA-8C4A-342E563A51B5}"/>
              </c:ext>
            </c:extLst>
          </c:dPt>
          <c:dPt>
            <c:idx val="2"/>
            <c:invertIfNegative val="0"/>
            <c:bubble3D val="0"/>
            <c:spPr>
              <a:solidFill>
                <a:schemeClr val="accent1"/>
              </a:solidFill>
              <a:ln>
                <a:noFill/>
              </a:ln>
              <a:effectLst>
                <a:innerShdw blurRad="63500" dist="50800" dir="13500000">
                  <a:prstClr val="black">
                    <a:alpha val="50000"/>
                  </a:prstClr>
                </a:innerShdw>
              </a:effectLst>
            </c:spPr>
            <c:extLst>
              <c:ext xmlns:c16="http://schemas.microsoft.com/office/drawing/2014/chart" uri="{C3380CC4-5D6E-409C-BE32-E72D297353CC}">
                <c16:uniqueId val="{00000001-AC01-46FA-8C4A-342E563A51B5}"/>
              </c:ext>
            </c:extLst>
          </c:dPt>
          <c:dPt>
            <c:idx val="3"/>
            <c:invertIfNegative val="0"/>
            <c:bubble3D val="0"/>
            <c:spPr>
              <a:solidFill>
                <a:schemeClr val="accent1"/>
              </a:solidFill>
              <a:ln>
                <a:noFill/>
              </a:ln>
              <a:effectLst>
                <a:innerShdw blurRad="63500" dist="50800" dir="13500000">
                  <a:prstClr val="black">
                    <a:alpha val="50000"/>
                  </a:prstClr>
                </a:innerShdw>
              </a:effectLst>
            </c:spPr>
            <c:extLst>
              <c:ext xmlns:c16="http://schemas.microsoft.com/office/drawing/2014/chart" uri="{C3380CC4-5D6E-409C-BE32-E72D297353CC}">
                <c16:uniqueId val="{00000003-AC01-46FA-8C4A-342E563A51B5}"/>
              </c:ext>
            </c:extLst>
          </c:dPt>
          <c:dLbls>
            <c:dLbl>
              <c:idx val="2"/>
              <c:layout>
                <c:manualLayout>
                  <c:x val="1.504517699406841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C01-46FA-8C4A-342E563A51B5}"/>
                </c:ext>
              </c:extLst>
            </c:dLbl>
            <c:dLbl>
              <c:idx val="3"/>
              <c:layout>
                <c:manualLayout>
                  <c:x val="-5.1005430048571276E-3"/>
                  <c:y val="5.5731583720061866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1114256126603295"/>
                      <c:h val="0.22586048026048025"/>
                    </c:manualLayout>
                  </c15:layout>
                </c:ext>
                <c:ext xmlns:c16="http://schemas.microsoft.com/office/drawing/2014/chart" uri="{C3380CC4-5D6E-409C-BE32-E72D297353CC}">
                  <c16:uniqueId val="{00000003-AC01-46FA-8C4A-342E563A51B5}"/>
                </c:ext>
              </c:extLst>
            </c:dLbl>
            <c:numFmt formatCode="0.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2016</c:v>
                </c:pt>
                <c:pt idx="1">
                  <c:v>2020</c:v>
                </c:pt>
                <c:pt idx="2">
                  <c:v>2021E</c:v>
                </c:pt>
                <c:pt idx="3">
                  <c:v>2026F</c:v>
                </c:pt>
              </c:strCache>
            </c:strRef>
          </c:cat>
          <c:val>
            <c:numRef>
              <c:f>Sheet1!$B$2:$B$5</c:f>
              <c:numCache>
                <c:formatCode>0.00</c:formatCode>
                <c:ptCount val="4"/>
                <c:pt idx="0">
                  <c:v>90.66</c:v>
                </c:pt>
                <c:pt idx="1">
                  <c:v>103.58</c:v>
                </c:pt>
                <c:pt idx="2">
                  <c:v>108.65</c:v>
                </c:pt>
                <c:pt idx="3">
                  <c:v>144.65</c:v>
                </c:pt>
              </c:numCache>
            </c:numRef>
          </c:val>
          <c:extLst>
            <c:ext xmlns:c16="http://schemas.microsoft.com/office/drawing/2014/chart" uri="{C3380CC4-5D6E-409C-BE32-E72D297353CC}">
              <c16:uniqueId val="{00000004-AC01-46FA-8C4A-342E563A51B5}"/>
            </c:ext>
          </c:extLst>
        </c:ser>
        <c:dLbls>
          <c:showLegendKey val="0"/>
          <c:showVal val="0"/>
          <c:showCatName val="0"/>
          <c:showSerName val="0"/>
          <c:showPercent val="0"/>
          <c:showBubbleSize val="0"/>
        </c:dLbls>
        <c:gapWidth val="219"/>
        <c:overlap val="-27"/>
        <c:axId val="350554472"/>
        <c:axId val="350554864"/>
      </c:barChart>
      <c:catAx>
        <c:axId val="35055447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350554864"/>
        <c:crosses val="autoZero"/>
        <c:auto val="0"/>
        <c:lblAlgn val="ctr"/>
        <c:lblOffset val="100"/>
        <c:noMultiLvlLbl val="0"/>
      </c:catAx>
      <c:valAx>
        <c:axId val="350554864"/>
        <c:scaling>
          <c:orientation val="minMax"/>
        </c:scaling>
        <c:delete val="1"/>
        <c:axPos val="l"/>
        <c:numFmt formatCode="0.00" sourceLinked="1"/>
        <c:majorTickMark val="out"/>
        <c:minorTickMark val="none"/>
        <c:tickLblPos val="nextTo"/>
        <c:crossAx val="350554472"/>
        <c:crosses val="autoZero"/>
        <c:crossBetween val="between"/>
      </c:valAx>
      <c:spPr>
        <a:noFill/>
        <a:ln>
          <a:noFill/>
        </a:ln>
        <a:effectLst/>
      </c:spPr>
    </c:plotArea>
    <c:plotVisOnly val="1"/>
    <c:dispBlanksAs val="gap"/>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Import</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00</c:formatCode>
                <c:ptCount val="6"/>
                <c:pt idx="0">
                  <c:v>35.606000000000002</c:v>
                </c:pt>
                <c:pt idx="1">
                  <c:v>35.045999999999999</c:v>
                </c:pt>
                <c:pt idx="2">
                  <c:v>38.363</c:v>
                </c:pt>
                <c:pt idx="3">
                  <c:v>41.46</c:v>
                </c:pt>
                <c:pt idx="4">
                  <c:v>44.286000000000001</c:v>
                </c:pt>
                <c:pt idx="5">
                  <c:v>43.378999999999998</c:v>
                </c:pt>
              </c:numCache>
            </c:numRef>
          </c:val>
          <c:extLst>
            <c:ext xmlns:c16="http://schemas.microsoft.com/office/drawing/2014/chart" uri="{C3380CC4-5D6E-409C-BE32-E72D297353CC}">
              <c16:uniqueId val="{00000000-EB52-4C4A-8765-6A6DAFA98C5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alue (USD Million)</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18.731999999999999</c:v>
                </c:pt>
                <c:pt idx="1">
                  <c:v>19.987599999999997</c:v>
                </c:pt>
                <c:pt idx="2">
                  <c:v>21.39115</c:v>
                </c:pt>
                <c:pt idx="3">
                  <c:v>22.578599999999998</c:v>
                </c:pt>
                <c:pt idx="4">
                  <c:v>21.843599999999995</c:v>
                </c:pt>
                <c:pt idx="5">
                  <c:v>23.012</c:v>
                </c:pt>
                <c:pt idx="6">
                  <c:v>24.264599999999998</c:v>
                </c:pt>
                <c:pt idx="7">
                  <c:v>25.593000000000004</c:v>
                </c:pt>
                <c:pt idx="8">
                  <c:v>27.035700000000002</c:v>
                </c:pt>
                <c:pt idx="9">
                  <c:v>28.62912</c:v>
                </c:pt>
                <c:pt idx="10">
                  <c:v>30.2379</c:v>
                </c:pt>
              </c:numCache>
            </c:numRef>
          </c:val>
          <c:extLst>
            <c:ext xmlns:c16="http://schemas.microsoft.com/office/drawing/2014/chart" uri="{C3380CC4-5D6E-409C-BE32-E72D297353CC}">
              <c16:uniqueId val="{00000000-EA03-4B5A-974B-609E866BCAFE}"/>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973277908199458E-2"/>
          <c:y val="5.3094681887597465E-2"/>
          <c:w val="0.98902666629196212"/>
          <c:h val="0.76860346857081263"/>
        </c:manualLayout>
      </c:layout>
      <c:barChart>
        <c:barDir val="col"/>
        <c:grouping val="clustered"/>
        <c:varyColors val="0"/>
        <c:ser>
          <c:idx val="0"/>
          <c:order val="0"/>
          <c:tx>
            <c:strRef>
              <c:f>Sheet1!$B$1</c:f>
              <c:strCache>
                <c:ptCount val="1"/>
                <c:pt idx="0">
                  <c:v>%</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0"/>
              <c:layout>
                <c:manualLayout>
                  <c:x val="-4.0093156043976134E-18"/>
                  <c:y val="2.94170064767570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3F0-4D0A-B1EC-D3578688CCB2}"/>
                </c:ext>
              </c:extLst>
            </c:dLbl>
            <c:dLbl>
              <c:idx val="1"/>
              <c:layout>
                <c:manualLayout>
                  <c:x val="3.4990794941267491E-3"/>
                  <c:y val="-9.496896086945880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3F0-4D0A-B1EC-D3578688CCB2}"/>
                </c:ext>
              </c:extLst>
            </c:dLbl>
            <c:dLbl>
              <c:idx val="2"/>
              <c:layout>
                <c:manualLayout>
                  <c:x val="3.4990794941267812E-3"/>
                  <c:y val="-2.20774286772325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3F0-4D0A-B1EC-D3578688CCB2}"/>
                </c:ext>
              </c:extLst>
            </c:dLbl>
            <c:dLbl>
              <c:idx val="3"/>
              <c:layout>
                <c:manualLayout>
                  <c:x val="-1.0497238482380343E-2"/>
                  <c:y val="1.1045384256645639E-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3F0-4D0A-B1EC-D3578688CCB2}"/>
                </c:ext>
              </c:extLst>
            </c:dLbl>
            <c:dLbl>
              <c:idx val="4"/>
              <c:layout>
                <c:manualLayout>
                  <c:x val="3.4990794941267812E-3"/>
                  <c:y val="8.5374950776004939E-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3F0-4D0A-B1EC-D3578688CCB2}"/>
                </c:ext>
              </c:extLst>
            </c:dLbl>
            <c:dLbl>
              <c:idx val="5"/>
              <c:layout>
                <c:manualLayout>
                  <c:x val="-3.4990794941269095E-3"/>
                  <c:y val="0.2579716192319883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3F0-4D0A-B1EC-D3578688CCB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0</c:f>
              <c:numCache>
                <c:formatCode>General</c:formatCode>
                <c:ptCount val="9"/>
                <c:pt idx="0">
                  <c:v>2015</c:v>
                </c:pt>
                <c:pt idx="1">
                  <c:v>2016</c:v>
                </c:pt>
                <c:pt idx="2">
                  <c:v>2017</c:v>
                </c:pt>
                <c:pt idx="3">
                  <c:v>2018</c:v>
                </c:pt>
                <c:pt idx="4">
                  <c:v>2019</c:v>
                </c:pt>
                <c:pt idx="5">
                  <c:v>2020</c:v>
                </c:pt>
              </c:numCache>
            </c:numRef>
          </c:cat>
          <c:val>
            <c:numRef>
              <c:f>Sheet1!$B$2:$B$7</c:f>
              <c:numCache>
                <c:formatCode>0.00%</c:formatCode>
                <c:ptCount val="6"/>
                <c:pt idx="0">
                  <c:v>0.05</c:v>
                </c:pt>
                <c:pt idx="1">
                  <c:v>4.3999999999999997E-2</c:v>
                </c:pt>
                <c:pt idx="2">
                  <c:v>5.7000000000000002E-2</c:v>
                </c:pt>
                <c:pt idx="3">
                  <c:v>4.7E-2</c:v>
                </c:pt>
                <c:pt idx="4">
                  <c:v>4.2999999999999997E-2</c:v>
                </c:pt>
                <c:pt idx="5">
                  <c:v>-1.7000000000000001E-2</c:v>
                </c:pt>
              </c:numCache>
            </c:numRef>
          </c:val>
          <c:extLst>
            <c:ext xmlns:c16="http://schemas.microsoft.com/office/drawing/2014/chart" uri="{C3380CC4-5D6E-409C-BE32-E72D297353CC}">
              <c16:uniqueId val="{00000001-03F0-4D0A-B1EC-D3578688CCB2}"/>
            </c:ext>
          </c:extLst>
        </c:ser>
        <c:dLbls>
          <c:dLblPos val="ctr"/>
          <c:showLegendKey val="0"/>
          <c:showVal val="1"/>
          <c:showCatName val="0"/>
          <c:showSerName val="0"/>
          <c:showPercent val="0"/>
          <c:showBubbleSize val="0"/>
        </c:dLbls>
        <c:gapWidth val="100"/>
        <c:overlap val="-24"/>
        <c:axId val="427572040"/>
        <c:axId val="427574992"/>
      </c:barChart>
      <c:catAx>
        <c:axId val="427572040"/>
        <c:scaling>
          <c:orientation val="minMax"/>
        </c:scaling>
        <c:delete val="0"/>
        <c:axPos val="b"/>
        <c:numFmt formatCode="General" sourceLinked="1"/>
        <c:majorTickMark val="none"/>
        <c:minorTickMark val="none"/>
        <c:tickLblPos val="low"/>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27574992"/>
        <c:crosses val="autoZero"/>
        <c:auto val="1"/>
        <c:lblAlgn val="ctr"/>
        <c:lblOffset val="100"/>
        <c:noMultiLvlLbl val="0"/>
      </c:catAx>
      <c:valAx>
        <c:axId val="427574992"/>
        <c:scaling>
          <c:orientation val="minMax"/>
        </c:scaling>
        <c:delete val="1"/>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crossAx val="4275720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olume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8.92</c:v>
                </c:pt>
                <c:pt idx="1">
                  <c:v>9.34</c:v>
                </c:pt>
                <c:pt idx="2">
                  <c:v>9.7899999999999991</c:v>
                </c:pt>
                <c:pt idx="3">
                  <c:v>10.263</c:v>
                </c:pt>
                <c:pt idx="4">
                  <c:v>10.02</c:v>
                </c:pt>
                <c:pt idx="5">
                  <c:v>10.46</c:v>
                </c:pt>
                <c:pt idx="6">
                  <c:v>10.93</c:v>
                </c:pt>
                <c:pt idx="7">
                  <c:v>11.4</c:v>
                </c:pt>
                <c:pt idx="8">
                  <c:v>11.91</c:v>
                </c:pt>
                <c:pt idx="9">
                  <c:v>12.48</c:v>
                </c:pt>
                <c:pt idx="10">
                  <c:v>13.09</c:v>
                </c:pt>
              </c:numCache>
            </c:numRef>
          </c:val>
          <c:extLst>
            <c:ext xmlns:c16="http://schemas.microsoft.com/office/drawing/2014/chart" uri="{C3380CC4-5D6E-409C-BE32-E72D297353CC}">
              <c16:uniqueId val="{00000000-FB3E-45AB-BDE0-5419C8D17AD4}"/>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Agricultural Production</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5"/>
                <c:pt idx="0">
                  <c:v>2015</c:v>
                </c:pt>
                <c:pt idx="1">
                  <c:v>2016</c:v>
                </c:pt>
                <c:pt idx="2">
                  <c:v>2017</c:v>
                </c:pt>
                <c:pt idx="3">
                  <c:v>2018</c:v>
                </c:pt>
                <c:pt idx="4">
                  <c:v>2019</c:v>
                </c:pt>
              </c:numCache>
              <c:extLst/>
            </c:numRef>
          </c:cat>
          <c:val>
            <c:numRef>
              <c:f>Sheet1!$B$2:$B$7</c:f>
              <c:numCache>
                <c:formatCode>0.00</c:formatCode>
                <c:ptCount val="5"/>
                <c:pt idx="0">
                  <c:v>478.79</c:v>
                </c:pt>
                <c:pt idx="1">
                  <c:v>454.39</c:v>
                </c:pt>
                <c:pt idx="2">
                  <c:v>487.2</c:v>
                </c:pt>
                <c:pt idx="3">
                  <c:v>473.7</c:v>
                </c:pt>
                <c:pt idx="4">
                  <c:v>485.05</c:v>
                </c:pt>
              </c:numCache>
              <c:extLst/>
            </c:numRef>
          </c:val>
          <c:extLst>
            <c:ext xmlns:c16="http://schemas.microsoft.com/office/drawing/2014/chart" uri="{C3380CC4-5D6E-409C-BE32-E72D297353CC}">
              <c16:uniqueId val="{00000000-8576-4935-8B5C-4C792E60CB7F}"/>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Fertilizer Consumption</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5"/>
                <c:pt idx="0">
                  <c:v>2015</c:v>
                </c:pt>
                <c:pt idx="1">
                  <c:v>2016</c:v>
                </c:pt>
                <c:pt idx="2">
                  <c:v>2017</c:v>
                </c:pt>
                <c:pt idx="3">
                  <c:v>2018</c:v>
                </c:pt>
                <c:pt idx="4">
                  <c:v>2019</c:v>
                </c:pt>
              </c:numCache>
            </c:numRef>
          </c:cat>
          <c:val>
            <c:numRef>
              <c:f>Sheet1!$B$2:$B$7</c:f>
              <c:numCache>
                <c:formatCode>0.00</c:formatCode>
                <c:ptCount val="5"/>
                <c:pt idx="0">
                  <c:v>247.411</c:v>
                </c:pt>
                <c:pt idx="1">
                  <c:v>291.42899999999997</c:v>
                </c:pt>
                <c:pt idx="2">
                  <c:v>204.702</c:v>
                </c:pt>
                <c:pt idx="3">
                  <c:v>198.75</c:v>
                </c:pt>
                <c:pt idx="4">
                  <c:v>195.23</c:v>
                </c:pt>
              </c:numCache>
            </c:numRef>
          </c:val>
          <c:extLst>
            <c:ext xmlns:c16="http://schemas.microsoft.com/office/drawing/2014/chart" uri="{C3380CC4-5D6E-409C-BE32-E72D297353CC}">
              <c16:uniqueId val="{00000000-8FEC-4694-A844-12F50F7C79AD}"/>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eagent Grad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7.3826712399999939E-2</c:v>
                </c:pt>
                <c:pt idx="1">
                  <c:v>3.8746257759999958E-2</c:v>
                </c:pt>
                <c:pt idx="2">
                  <c:v>5.9319513759999998E-2</c:v>
                </c:pt>
                <c:pt idx="3">
                  <c:v>4.6616799999999903E-2</c:v>
                </c:pt>
                <c:pt idx="4">
                  <c:v>7.2490840719999894E-2</c:v>
                </c:pt>
                <c:pt idx="5">
                  <c:v>7.1824504323999894E-2</c:v>
                </c:pt>
                <c:pt idx="6">
                  <c:v>7.1215881760000044E-2</c:v>
                </c:pt>
                <c:pt idx="7">
                  <c:v>7.1481952575999985E-2</c:v>
                </c:pt>
                <c:pt idx="8">
                  <c:v>7.0935793600000019E-2</c:v>
                </c:pt>
                <c:pt idx="9">
                  <c:v>7.4164893760000017E-2</c:v>
                </c:pt>
                <c:pt idx="10">
                  <c:v>7.5646843239999928E-2</c:v>
                </c:pt>
              </c:numCache>
            </c:numRef>
          </c:val>
          <c:extLst>
            <c:ext xmlns:c16="http://schemas.microsoft.com/office/drawing/2014/chart" uri="{C3380CC4-5D6E-409C-BE32-E72D297353CC}">
              <c16:uniqueId val="{00000000-1224-4620-B2F0-526F97CB6999}"/>
            </c:ext>
          </c:extLst>
        </c:ser>
        <c:ser>
          <c:idx val="1"/>
          <c:order val="1"/>
          <c:tx>
            <c:strRef>
              <c:f>Sheet1!$C$1</c:f>
              <c:strCache>
                <c:ptCount val="1"/>
                <c:pt idx="0">
                  <c:v>Industrial Grade</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92617328760000006</c:v>
                </c:pt>
                <c:pt idx="1">
                  <c:v>0.96125374224000004</c:v>
                </c:pt>
                <c:pt idx="2">
                  <c:v>0.94068048624</c:v>
                </c:pt>
                <c:pt idx="3">
                  <c:v>0.9533832000000001</c:v>
                </c:pt>
                <c:pt idx="4">
                  <c:v>0.92750915928000011</c:v>
                </c:pt>
                <c:pt idx="5">
                  <c:v>0.92817549567600011</c:v>
                </c:pt>
                <c:pt idx="6">
                  <c:v>0.92878411823999996</c:v>
                </c:pt>
                <c:pt idx="7">
                  <c:v>0.92851804742400001</c:v>
                </c:pt>
                <c:pt idx="8">
                  <c:v>0.92906420639999998</c:v>
                </c:pt>
                <c:pt idx="9">
                  <c:v>0.92583510623999998</c:v>
                </c:pt>
                <c:pt idx="10">
                  <c:v>0.92435315676000007</c:v>
                </c:pt>
              </c:numCache>
            </c:numRef>
          </c:val>
          <c:extLst>
            <c:ext xmlns:c16="http://schemas.microsoft.com/office/drawing/2014/chart" uri="{C3380CC4-5D6E-409C-BE32-E72D297353CC}">
              <c16:uniqueId val="{00000001-1224-4620-B2F0-526F97CB6999}"/>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6"/>
          <c:order val="0"/>
          <c:tx>
            <c:strRef>
              <c:f>Sheet1!$H$1</c:f>
              <c:strCache>
                <c:ptCount val="1"/>
                <c:pt idx="0">
                  <c:v>Others</c:v>
                </c:pt>
              </c:strCache>
            </c:strRef>
          </c:tx>
          <c:spPr>
            <a:solidFill>
              <a:schemeClr val="accent1">
                <a:lumMod val="80000"/>
                <a:lumOff val="2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H$2:$H$12</c:f>
              <c:numCache>
                <c:formatCode>0.00%</c:formatCode>
                <c:ptCount val="11"/>
                <c:pt idx="0">
                  <c:v>4.7100000000000003E-2</c:v>
                </c:pt>
                <c:pt idx="1">
                  <c:v>3.56E-2</c:v>
                </c:pt>
                <c:pt idx="2">
                  <c:v>0.04</c:v>
                </c:pt>
                <c:pt idx="3">
                  <c:v>3.8300000000000001E-2</c:v>
                </c:pt>
                <c:pt idx="4">
                  <c:v>4.4600000000000001E-2</c:v>
                </c:pt>
                <c:pt idx="5">
                  <c:v>3.9600000000000003E-2</c:v>
                </c:pt>
                <c:pt idx="6">
                  <c:v>3.6700000000000003E-2</c:v>
                </c:pt>
                <c:pt idx="7">
                  <c:v>3.4700000000000002E-2</c:v>
                </c:pt>
                <c:pt idx="8">
                  <c:v>3.3500000000000002E-2</c:v>
                </c:pt>
                <c:pt idx="9">
                  <c:v>3.0700000000000002E-2</c:v>
                </c:pt>
                <c:pt idx="10">
                  <c:v>3.2099999999999997E-2</c:v>
                </c:pt>
              </c:numCache>
            </c:numRef>
          </c:val>
          <c:extLst>
            <c:ext xmlns:c16="http://schemas.microsoft.com/office/drawing/2014/chart" uri="{C3380CC4-5D6E-409C-BE32-E72D297353CC}">
              <c16:uniqueId val="{00000000-8803-4694-AAFD-913C1065DFF3}"/>
            </c:ext>
          </c:extLst>
        </c:ser>
        <c:ser>
          <c:idx val="5"/>
          <c:order val="1"/>
          <c:tx>
            <c:strRef>
              <c:f>Sheet1!$G$1</c:f>
              <c:strCache>
                <c:ptCount val="1"/>
                <c:pt idx="0">
                  <c:v>Leather and Textiles</c:v>
                </c:pt>
              </c:strCache>
            </c:strRef>
          </c:tx>
          <c:spPr>
            <a:solidFill>
              <a:schemeClr val="accent5">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G$2:$G$12</c:f>
              <c:numCache>
                <c:formatCode>0.00%</c:formatCode>
                <c:ptCount val="11"/>
                <c:pt idx="0">
                  <c:v>2.5999999999999999E-2</c:v>
                </c:pt>
                <c:pt idx="1">
                  <c:v>2.6700000000000002E-2</c:v>
                </c:pt>
                <c:pt idx="2">
                  <c:v>2.53E-2</c:v>
                </c:pt>
                <c:pt idx="3">
                  <c:v>2.46E-2</c:v>
                </c:pt>
                <c:pt idx="4">
                  <c:v>2.4E-2</c:v>
                </c:pt>
                <c:pt idx="5">
                  <c:v>2.4299999999999999E-2</c:v>
                </c:pt>
                <c:pt idx="6">
                  <c:v>2.4500000000000001E-2</c:v>
                </c:pt>
                <c:pt idx="7">
                  <c:v>2.47E-2</c:v>
                </c:pt>
                <c:pt idx="8">
                  <c:v>2.41E-2</c:v>
                </c:pt>
                <c:pt idx="9">
                  <c:v>2.3599999999999999E-2</c:v>
                </c:pt>
                <c:pt idx="10">
                  <c:v>2.2800000000000001E-2</c:v>
                </c:pt>
              </c:numCache>
            </c:numRef>
          </c:val>
          <c:extLst>
            <c:ext xmlns:c16="http://schemas.microsoft.com/office/drawing/2014/chart" uri="{C3380CC4-5D6E-409C-BE32-E72D297353CC}">
              <c16:uniqueId val="{00000001-8803-4694-AAFD-913C1065DFF3}"/>
            </c:ext>
          </c:extLst>
        </c:ser>
        <c:ser>
          <c:idx val="4"/>
          <c:order val="2"/>
          <c:tx>
            <c:strRef>
              <c:f>Sheet1!$F$1</c:f>
              <c:strCache>
                <c:ptCount val="1"/>
                <c:pt idx="0">
                  <c:v>Chemicals</c:v>
                </c:pt>
              </c:strCache>
            </c:strRef>
          </c:tx>
          <c:spPr>
            <a:solidFill>
              <a:schemeClr val="accent3">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F$2:$F$12</c:f>
              <c:numCache>
                <c:formatCode>0.00%</c:formatCode>
                <c:ptCount val="11"/>
                <c:pt idx="0">
                  <c:v>3.6200000000000003E-2</c:v>
                </c:pt>
                <c:pt idx="1">
                  <c:v>3.0200000000000001E-2</c:v>
                </c:pt>
                <c:pt idx="2">
                  <c:v>3.4299999999999997E-2</c:v>
                </c:pt>
                <c:pt idx="3">
                  <c:v>3.6900000000000002E-2</c:v>
                </c:pt>
                <c:pt idx="4">
                  <c:v>2.9000000000000001E-2</c:v>
                </c:pt>
                <c:pt idx="5">
                  <c:v>0.03</c:v>
                </c:pt>
                <c:pt idx="6">
                  <c:v>3.0200000000000001E-2</c:v>
                </c:pt>
                <c:pt idx="7">
                  <c:v>3.04E-2</c:v>
                </c:pt>
                <c:pt idx="8">
                  <c:v>3.0700000000000002E-2</c:v>
                </c:pt>
                <c:pt idx="9">
                  <c:v>3.0500000000000003E-2</c:v>
                </c:pt>
                <c:pt idx="10">
                  <c:v>0.03</c:v>
                </c:pt>
              </c:numCache>
            </c:numRef>
          </c:val>
          <c:extLst>
            <c:ext xmlns:c16="http://schemas.microsoft.com/office/drawing/2014/chart" uri="{C3380CC4-5D6E-409C-BE32-E72D297353CC}">
              <c16:uniqueId val="{00000002-8803-4694-AAFD-913C1065DFF3}"/>
            </c:ext>
          </c:extLst>
        </c:ser>
        <c:ser>
          <c:idx val="3"/>
          <c:order val="3"/>
          <c:tx>
            <c:strRef>
              <c:f>Sheet1!$E$1</c:f>
              <c:strCache>
                <c:ptCount val="1"/>
                <c:pt idx="0">
                  <c:v>Industrial</c:v>
                </c:pt>
              </c:strCache>
            </c:strRef>
          </c:tx>
          <c:spPr>
            <a:solidFill>
              <a:schemeClr val="accent1">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E$2:$E$12</c:f>
              <c:numCache>
                <c:formatCode>0.00%</c:formatCode>
                <c:ptCount val="11"/>
                <c:pt idx="0">
                  <c:v>9.5100000000000004E-2</c:v>
                </c:pt>
                <c:pt idx="1">
                  <c:v>9.06E-2</c:v>
                </c:pt>
                <c:pt idx="2">
                  <c:v>9.5799999999999996E-2</c:v>
                </c:pt>
                <c:pt idx="3">
                  <c:v>9.6199999999999994E-2</c:v>
                </c:pt>
                <c:pt idx="4">
                  <c:v>9.5500000000000002E-2</c:v>
                </c:pt>
                <c:pt idx="5">
                  <c:v>9.7100000000000006E-2</c:v>
                </c:pt>
                <c:pt idx="6">
                  <c:v>9.7299999999999998E-2</c:v>
                </c:pt>
                <c:pt idx="7">
                  <c:v>9.7600000000000006E-2</c:v>
                </c:pt>
                <c:pt idx="8">
                  <c:v>9.7900000000000001E-2</c:v>
                </c:pt>
                <c:pt idx="9">
                  <c:v>9.8199999999999996E-2</c:v>
                </c:pt>
                <c:pt idx="10">
                  <c:v>9.8500000000000004E-2</c:v>
                </c:pt>
              </c:numCache>
            </c:numRef>
          </c:val>
          <c:extLst>
            <c:ext xmlns:c16="http://schemas.microsoft.com/office/drawing/2014/chart" uri="{C3380CC4-5D6E-409C-BE32-E72D297353CC}">
              <c16:uniqueId val="{00000003-8803-4694-AAFD-913C1065DFF3}"/>
            </c:ext>
          </c:extLst>
        </c:ser>
        <c:ser>
          <c:idx val="2"/>
          <c:order val="4"/>
          <c:tx>
            <c:strRef>
              <c:f>Sheet1!$D$1</c:f>
              <c:strCache>
                <c:ptCount val="1"/>
                <c:pt idx="0">
                  <c:v>Healthcare</c:v>
                </c:pt>
              </c:strCache>
            </c:strRef>
          </c:tx>
          <c:spPr>
            <a:solidFill>
              <a:schemeClr val="accent5"/>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D$2:$D$12</c:f>
              <c:numCache>
                <c:formatCode>0.00%</c:formatCode>
                <c:ptCount val="11"/>
                <c:pt idx="0">
                  <c:v>0.14530000000000001</c:v>
                </c:pt>
                <c:pt idx="1">
                  <c:v>0.14949999999999999</c:v>
                </c:pt>
                <c:pt idx="2">
                  <c:v>0.15040000000000001</c:v>
                </c:pt>
                <c:pt idx="3">
                  <c:v>0.152</c:v>
                </c:pt>
                <c:pt idx="4">
                  <c:v>0.16009999999999999</c:v>
                </c:pt>
                <c:pt idx="5">
                  <c:v>0.16059999999999999</c:v>
                </c:pt>
                <c:pt idx="6">
                  <c:v>0.161</c:v>
                </c:pt>
                <c:pt idx="7">
                  <c:v>0.16139999999999999</c:v>
                </c:pt>
                <c:pt idx="8">
                  <c:v>0.1618</c:v>
                </c:pt>
                <c:pt idx="9">
                  <c:v>0.1623</c:v>
                </c:pt>
                <c:pt idx="10">
                  <c:v>0.16259999999999999</c:v>
                </c:pt>
              </c:numCache>
            </c:numRef>
          </c:val>
          <c:extLst>
            <c:ext xmlns:c16="http://schemas.microsoft.com/office/drawing/2014/chart" uri="{C3380CC4-5D6E-409C-BE32-E72D297353CC}">
              <c16:uniqueId val="{00000004-8803-4694-AAFD-913C1065DFF3}"/>
            </c:ext>
          </c:extLst>
        </c:ser>
        <c:ser>
          <c:idx val="1"/>
          <c:order val="5"/>
          <c:tx>
            <c:strRef>
              <c:f>Sheet1!$C$1</c:f>
              <c:strCache>
                <c:ptCount val="1"/>
                <c:pt idx="0">
                  <c:v>Animal Husbandry</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2291</c:v>
                </c:pt>
                <c:pt idx="1">
                  <c:v>0.22939999999999999</c:v>
                </c:pt>
                <c:pt idx="2">
                  <c:v>0.2298</c:v>
                </c:pt>
                <c:pt idx="3">
                  <c:v>0.23039999999999999</c:v>
                </c:pt>
                <c:pt idx="4">
                  <c:v>0.23119999999999999</c:v>
                </c:pt>
                <c:pt idx="5">
                  <c:v>0.2344</c:v>
                </c:pt>
                <c:pt idx="6">
                  <c:v>0.23710000000000001</c:v>
                </c:pt>
                <c:pt idx="7">
                  <c:v>0.2384</c:v>
                </c:pt>
                <c:pt idx="8">
                  <c:v>0.24049999999999999</c:v>
                </c:pt>
                <c:pt idx="9">
                  <c:v>0.24429999999999999</c:v>
                </c:pt>
                <c:pt idx="10">
                  <c:v>0.24610000000000001</c:v>
                </c:pt>
              </c:numCache>
            </c:numRef>
          </c:val>
          <c:extLst>
            <c:ext xmlns:c16="http://schemas.microsoft.com/office/drawing/2014/chart" uri="{C3380CC4-5D6E-409C-BE32-E72D297353CC}">
              <c16:uniqueId val="{00000005-8803-4694-AAFD-913C1065DFF3}"/>
            </c:ext>
          </c:extLst>
        </c:ser>
        <c:ser>
          <c:idx val="0"/>
          <c:order val="6"/>
          <c:tx>
            <c:strRef>
              <c:f>Sheet1!$B$1</c:f>
              <c:strCache>
                <c:ptCount val="1"/>
                <c:pt idx="0">
                  <c:v>Agricultur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0.42120000000000002</c:v>
                </c:pt>
                <c:pt idx="1">
                  <c:v>0.438</c:v>
                </c:pt>
                <c:pt idx="2">
                  <c:v>0.4244</c:v>
                </c:pt>
                <c:pt idx="3">
                  <c:v>0.42159999999999997</c:v>
                </c:pt>
                <c:pt idx="4">
                  <c:v>0.41560000000000002</c:v>
                </c:pt>
                <c:pt idx="5">
                  <c:v>0.41399999999999998</c:v>
                </c:pt>
                <c:pt idx="6">
                  <c:v>0.41320000000000001</c:v>
                </c:pt>
                <c:pt idx="7">
                  <c:v>0.4128</c:v>
                </c:pt>
                <c:pt idx="8">
                  <c:v>0.41149999999999998</c:v>
                </c:pt>
                <c:pt idx="9">
                  <c:v>0.41039999999999999</c:v>
                </c:pt>
                <c:pt idx="10">
                  <c:v>0.40789999999999998</c:v>
                </c:pt>
              </c:numCache>
            </c:numRef>
          </c:val>
          <c:extLst>
            <c:ext xmlns:c16="http://schemas.microsoft.com/office/drawing/2014/chart" uri="{C3380CC4-5D6E-409C-BE32-E72D297353CC}">
              <c16:uniqueId val="{00000006-8803-4694-AAFD-913C1065DFF3}"/>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Production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6</c:f>
              <c:numCache>
                <c:formatCode>0.00</c:formatCode>
                <c:ptCount val="5"/>
                <c:pt idx="0">
                  <c:v>8.3170000000000002</c:v>
                </c:pt>
                <c:pt idx="1">
                  <c:v>10.974</c:v>
                </c:pt>
                <c:pt idx="2">
                  <c:v>8.68</c:v>
                </c:pt>
                <c:pt idx="3">
                  <c:v>6.0510000000000002</c:v>
                </c:pt>
                <c:pt idx="4">
                  <c:v>6.6109999999999998</c:v>
                </c:pt>
              </c:numCache>
            </c:numRef>
          </c:val>
          <c:extLst>
            <c:ext xmlns:c16="http://schemas.microsoft.com/office/drawing/2014/chart" uri="{C3380CC4-5D6E-409C-BE32-E72D297353CC}">
              <c16:uniqueId val="{00000000-0531-40ED-BBE9-623B9E604F7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2.9293306921224359E-2"/>
          <c:y val="0.1928390605323535"/>
          <c:w val="0.88004088317766971"/>
          <c:h val="0.66692823006448654"/>
        </c:manualLayout>
      </c:layout>
      <c:barChart>
        <c:barDir val="col"/>
        <c:grouping val="clustered"/>
        <c:varyColors val="0"/>
        <c:ser>
          <c:idx val="0"/>
          <c:order val="0"/>
          <c:tx>
            <c:strRef>
              <c:f>Sheet1!$B$1</c:f>
              <c:strCache>
                <c:ptCount val="1"/>
                <c:pt idx="0">
                  <c:v>Tonnes</c:v>
                </c:pt>
              </c:strCache>
            </c:strRef>
          </c:tx>
          <c:spPr>
            <a:solidFill>
              <a:srgbClr val="00B0F0"/>
            </a:solidFill>
            <a:ln w="38100">
              <a:solidFill>
                <a:schemeClr val="bg1"/>
              </a:solidFill>
            </a:ln>
            <a:effectLst/>
          </c:spPr>
          <c:invertIfNegative val="0"/>
          <c:dLbls>
            <c:dLbl>
              <c:idx val="1"/>
              <c:layout>
                <c:manualLayout>
                  <c:x val="2.6296597086898407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D83-4163-AD12-49DCED057243}"/>
                </c:ext>
              </c:extLst>
            </c:dLbl>
            <c:dLbl>
              <c:idx val="2"/>
              <c:layout>
                <c:manualLayout>
                  <c:x val="-2.9218441207664895E-3"/>
                  <c:y val="-5.6071045682223441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D83-4163-AD12-49DCED057243}"/>
                </c:ext>
              </c:extLst>
            </c:dLbl>
            <c:dLbl>
              <c:idx val="4"/>
              <c:layout>
                <c:manualLayout>
                  <c:x val="2.0452908845365426E-2"/>
                  <c:y val="3.670147205654911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D83-4163-AD12-49DCED05724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5</c:v>
                </c:pt>
                <c:pt idx="1">
                  <c:v>2016</c:v>
                </c:pt>
                <c:pt idx="2">
                  <c:v>2017</c:v>
                </c:pt>
                <c:pt idx="3">
                  <c:v>2018</c:v>
                </c:pt>
                <c:pt idx="4">
                  <c:v>2019</c:v>
                </c:pt>
              </c:numCache>
            </c:numRef>
          </c:cat>
          <c:val>
            <c:numRef>
              <c:f>Sheet1!$B$2:$B$6</c:f>
              <c:numCache>
                <c:formatCode>0.00</c:formatCode>
                <c:ptCount val="5"/>
                <c:pt idx="0">
                  <c:v>54.222000000000001</c:v>
                </c:pt>
                <c:pt idx="1">
                  <c:v>56.43</c:v>
                </c:pt>
                <c:pt idx="2">
                  <c:v>42.359000000000002</c:v>
                </c:pt>
                <c:pt idx="3">
                  <c:v>37.451999999999998</c:v>
                </c:pt>
                <c:pt idx="4">
                  <c:v>39.692</c:v>
                </c:pt>
              </c:numCache>
            </c:numRef>
          </c:val>
          <c:extLst>
            <c:ext xmlns:c16="http://schemas.microsoft.com/office/drawing/2014/chart" uri="{C3380CC4-5D6E-409C-BE32-E72D297353CC}">
              <c16:uniqueId val="{00000000-5D83-4163-AD12-49DCED057243}"/>
            </c:ext>
          </c:extLst>
        </c:ser>
        <c:dLbls>
          <c:dLblPos val="outEnd"/>
          <c:showLegendKey val="0"/>
          <c:showVal val="1"/>
          <c:showCatName val="0"/>
          <c:showSerName val="0"/>
          <c:showPercent val="0"/>
          <c:showBubbleSize val="0"/>
        </c:dLbls>
        <c:gapWidth val="51"/>
        <c:axId val="725314255"/>
        <c:axId val="432034799"/>
      </c:barChart>
      <c:catAx>
        <c:axId val="7253142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32034799"/>
        <c:crosses val="autoZero"/>
        <c:auto val="1"/>
        <c:lblAlgn val="ctr"/>
        <c:lblOffset val="100"/>
        <c:noMultiLvlLbl val="0"/>
      </c:catAx>
      <c:valAx>
        <c:axId val="432034799"/>
        <c:scaling>
          <c:orientation val="minMax"/>
          <c:max val="60"/>
        </c:scaling>
        <c:delete val="1"/>
        <c:axPos val="l"/>
        <c:numFmt formatCode="0.00" sourceLinked="1"/>
        <c:majorTickMark val="out"/>
        <c:minorTickMark val="none"/>
        <c:tickLblPos val="nextTo"/>
        <c:crossAx val="725314255"/>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rgbClr val="7030A0"/>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809711533052221E-2"/>
          <c:y val="1.8243556361528104E-2"/>
          <c:w val="0.99929735330727565"/>
          <c:h val="0.76327981459883765"/>
        </c:manualLayout>
      </c:layout>
      <c:barChart>
        <c:barDir val="bar"/>
        <c:grouping val="clustered"/>
        <c:varyColors val="0"/>
        <c:ser>
          <c:idx val="0"/>
          <c:order val="0"/>
          <c:tx>
            <c:strRef>
              <c:f>Sheet1!$B$1</c:f>
              <c:strCache>
                <c:ptCount val="1"/>
                <c:pt idx="0">
                  <c:v>Column1</c:v>
                </c:pt>
              </c:strCache>
            </c:strRef>
          </c:tx>
          <c:spPr>
            <a:solidFill>
              <a:srgbClr val="002060"/>
            </a:solidFill>
            <a:ln>
              <a:noFill/>
            </a:ln>
            <a:effectLst/>
          </c:spPr>
          <c:invertIfNegative val="0"/>
          <c:dLbls>
            <c:dLbl>
              <c:idx val="4"/>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4.1284025921913145E-2"/>
                      <c:h val="3.8231211097103805E-2"/>
                    </c:manualLayout>
                  </c15:layout>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6</c:f>
              <c:strCache>
                <c:ptCount val="5"/>
                <c:pt idx="0">
                  <c:v>Discount</c:v>
                </c:pt>
                <c:pt idx="1">
                  <c:v>Lead Time</c:v>
                </c:pt>
                <c:pt idx="2">
                  <c:v>Price </c:v>
                </c:pt>
                <c:pt idx="3">
                  <c:v>Brand</c:v>
                </c:pt>
                <c:pt idx="4">
                  <c:v>Availability</c:v>
                </c:pt>
              </c:strCache>
            </c:strRef>
          </c:cat>
          <c:val>
            <c:numRef>
              <c:f>Sheet1!$B$2:$B$6</c:f>
              <c:numCache>
                <c:formatCode>0%</c:formatCode>
                <c:ptCount val="5"/>
                <c:pt idx="0">
                  <c:v>0.8</c:v>
                </c:pt>
                <c:pt idx="1">
                  <c:v>0.85</c:v>
                </c:pt>
                <c:pt idx="2">
                  <c:v>0.88</c:v>
                </c:pt>
                <c:pt idx="3">
                  <c:v>0.9</c:v>
                </c:pt>
                <c:pt idx="4">
                  <c:v>0.95</c:v>
                </c:pt>
              </c:numCache>
            </c:numRef>
          </c:val>
          <c:extLst>
            <c:ext xmlns:c16="http://schemas.microsoft.com/office/drawing/2014/chart" uri="{C3380CC4-5D6E-409C-BE32-E72D297353CC}">
              <c16:uniqueId val="{00000001-D554-478E-9448-89B9B11C2CAE}"/>
            </c:ext>
          </c:extLst>
        </c:ser>
        <c:dLbls>
          <c:dLblPos val="outEnd"/>
          <c:showLegendKey val="0"/>
          <c:showVal val="1"/>
          <c:showCatName val="0"/>
          <c:showSerName val="0"/>
          <c:showPercent val="0"/>
          <c:showBubbleSize val="0"/>
        </c:dLbls>
        <c:gapWidth val="267"/>
        <c:axId val="1088162360"/>
        <c:axId val="1088160720"/>
      </c:barChart>
      <c:catAx>
        <c:axId val="1088162360"/>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88160720"/>
        <c:crosses val="autoZero"/>
        <c:auto val="1"/>
        <c:lblAlgn val="ctr"/>
        <c:lblOffset val="100"/>
        <c:noMultiLvlLbl val="0"/>
      </c:catAx>
      <c:valAx>
        <c:axId val="1088160720"/>
        <c:scaling>
          <c:orientation val="minMax"/>
          <c:min val="0.1"/>
        </c:scaling>
        <c:delete val="1"/>
        <c:axPos val="b"/>
        <c:majorGridlines>
          <c:spPr>
            <a:ln w="9525" cap="flat" cmpd="sng" algn="ctr">
              <a:solidFill>
                <a:schemeClr val="dk1">
                  <a:lumMod val="15000"/>
                  <a:lumOff val="85000"/>
                </a:schemeClr>
              </a:solidFill>
              <a:round/>
            </a:ln>
            <a:effectLst/>
          </c:spPr>
        </c:majorGridlines>
        <c:numFmt formatCode="0%" sourceLinked="1"/>
        <c:majorTickMark val="none"/>
        <c:minorTickMark val="none"/>
        <c:tickLblPos val="nextTo"/>
        <c:crossAx val="1088162360"/>
        <c:crosses val="autoZero"/>
        <c:crossBetween val="between"/>
      </c:valAx>
      <c:spPr>
        <a:pattFill prst="ltDnDiag">
          <a:fgClr>
            <a:schemeClr val="dk1">
              <a:lumMod val="15000"/>
              <a:lumOff val="85000"/>
            </a:schemeClr>
          </a:fgClr>
          <a:bgClr>
            <a:schemeClr val="lt1"/>
          </a:bgClr>
        </a:pattFill>
        <a:ln>
          <a:noFill/>
        </a:ln>
        <a:effectLst/>
      </c:spPr>
    </c:plotArea>
    <c:plotVisOnly val="1"/>
    <c:dispBlanksAs val="gap"/>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alue (USD Million)</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18.670000000000002</c:v>
                </c:pt>
                <c:pt idx="1">
                  <c:v>20.03</c:v>
                </c:pt>
                <c:pt idx="2">
                  <c:v>21.89</c:v>
                </c:pt>
                <c:pt idx="3">
                  <c:v>23.06</c:v>
                </c:pt>
                <c:pt idx="4">
                  <c:v>21.97</c:v>
                </c:pt>
                <c:pt idx="5">
                  <c:v>22.92</c:v>
                </c:pt>
                <c:pt idx="6">
                  <c:v>24.5</c:v>
                </c:pt>
                <c:pt idx="7">
                  <c:v>26.15</c:v>
                </c:pt>
                <c:pt idx="8">
                  <c:v>28</c:v>
                </c:pt>
                <c:pt idx="9">
                  <c:v>30.23</c:v>
                </c:pt>
                <c:pt idx="10">
                  <c:v>32.78</c:v>
                </c:pt>
              </c:numCache>
            </c:numRef>
          </c:val>
          <c:extLst>
            <c:ext xmlns:c16="http://schemas.microsoft.com/office/drawing/2014/chart" uri="{C3380CC4-5D6E-409C-BE32-E72D297353CC}">
              <c16:uniqueId val="{00000000-EA03-4B5A-974B-609E866BCAFE}"/>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3.5349173988684202E-2"/>
          <c:y val="0.17230006555227795"/>
          <c:w val="0.93085363443310021"/>
          <c:h val="0.66692823006448654"/>
        </c:manualLayout>
      </c:layout>
      <c:barChart>
        <c:barDir val="col"/>
        <c:grouping val="clustered"/>
        <c:varyColors val="0"/>
        <c:ser>
          <c:idx val="0"/>
          <c:order val="0"/>
          <c:tx>
            <c:strRef>
              <c:f>Sheet1!$B$1</c:f>
              <c:strCache>
                <c:ptCount val="1"/>
                <c:pt idx="0">
                  <c:v>USD Million</c:v>
                </c:pt>
              </c:strCache>
            </c:strRef>
          </c:tx>
          <c:spPr>
            <a:solidFill>
              <a:srgbClr val="92D050"/>
            </a:solidFill>
            <a:ln w="38100">
              <a:solidFill>
                <a:schemeClr val="bg1"/>
              </a:solidFill>
            </a:ln>
            <a:effectLst/>
          </c:spPr>
          <c:invertIfNegative val="0"/>
          <c:dLbls>
            <c:spPr>
              <a:solidFill>
                <a:schemeClr val="bg1"/>
              </a:solidFill>
              <a:ln>
                <a:noFill/>
              </a:ln>
              <a:effectLst/>
            </c:spPr>
            <c:txPr>
              <a:bodyPr rot="0" spcFirstLastPara="1" vertOverflow="ellipsis" vert="horz" wrap="square" anchor="ctr" anchorCtr="0"/>
              <a:lstStyle/>
              <a:p>
                <a:pPr algn="ctr">
                  <a:defRPr lang="en-US" sz="8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2016</c:v>
                </c:pt>
                <c:pt idx="1">
                  <c:v>2017</c:v>
                </c:pt>
                <c:pt idx="2">
                  <c:v>2018</c:v>
                </c:pt>
                <c:pt idx="3">
                  <c:v>2019</c:v>
                </c:pt>
                <c:pt idx="4">
                  <c:v>2020</c:v>
                </c:pt>
                <c:pt idx="5">
                  <c:v>2021E</c:v>
                </c:pt>
              </c:strCache>
            </c:strRef>
          </c:cat>
          <c:val>
            <c:numRef>
              <c:f>Sheet1!$B$2:$B$7</c:f>
              <c:numCache>
                <c:formatCode>0.0</c:formatCode>
                <c:ptCount val="6"/>
                <c:pt idx="0">
                  <c:v>8635.1098413949367</c:v>
                </c:pt>
                <c:pt idx="1">
                  <c:v>8197.7904453562533</c:v>
                </c:pt>
                <c:pt idx="2">
                  <c:v>8493.0202320985954</c:v>
                </c:pt>
                <c:pt idx="3">
                  <c:v>8739.3159564270609</c:v>
                </c:pt>
                <c:pt idx="4">
                  <c:v>9161.0244641086119</c:v>
                </c:pt>
                <c:pt idx="5">
                  <c:v>9608.3843229035829</c:v>
                </c:pt>
              </c:numCache>
            </c:numRef>
          </c:val>
          <c:extLst>
            <c:ext xmlns:c16="http://schemas.microsoft.com/office/drawing/2014/chart" uri="{C3380CC4-5D6E-409C-BE32-E72D297353CC}">
              <c16:uniqueId val="{00000000-90E5-4478-9C19-BCB7AF21D715}"/>
            </c:ext>
          </c:extLst>
        </c:ser>
        <c:dLbls>
          <c:showLegendKey val="0"/>
          <c:showVal val="0"/>
          <c:showCatName val="0"/>
          <c:showSerName val="0"/>
          <c:showPercent val="0"/>
          <c:showBubbleSize val="0"/>
        </c:dLbls>
        <c:gapWidth val="51"/>
        <c:axId val="725314255"/>
        <c:axId val="432034799"/>
      </c:barChart>
      <c:catAx>
        <c:axId val="7253142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0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32034799"/>
        <c:crosses val="autoZero"/>
        <c:auto val="1"/>
        <c:lblAlgn val="ctr"/>
        <c:lblOffset val="100"/>
        <c:noMultiLvlLbl val="0"/>
      </c:catAx>
      <c:valAx>
        <c:axId val="432034799"/>
        <c:scaling>
          <c:orientation val="minMax"/>
          <c:min val="10"/>
        </c:scaling>
        <c:delete val="1"/>
        <c:axPos val="l"/>
        <c:numFmt formatCode="0.0" sourceLinked="1"/>
        <c:majorTickMark val="out"/>
        <c:minorTickMark val="none"/>
        <c:tickLblPos val="nextTo"/>
        <c:crossAx val="725314255"/>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rgbClr val="7030A0"/>
          </a:solidFill>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olume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9.02</c:v>
                </c:pt>
                <c:pt idx="1">
                  <c:v>9.4499999999999993</c:v>
                </c:pt>
                <c:pt idx="2">
                  <c:v>9.86</c:v>
                </c:pt>
                <c:pt idx="3">
                  <c:v>10.34</c:v>
                </c:pt>
                <c:pt idx="4">
                  <c:v>10.17</c:v>
                </c:pt>
                <c:pt idx="5">
                  <c:v>10.42</c:v>
                </c:pt>
                <c:pt idx="6">
                  <c:v>10.89</c:v>
                </c:pt>
                <c:pt idx="7">
                  <c:v>11.37</c:v>
                </c:pt>
                <c:pt idx="8">
                  <c:v>11.91</c:v>
                </c:pt>
                <c:pt idx="9">
                  <c:v>12.49</c:v>
                </c:pt>
                <c:pt idx="10">
                  <c:v>13.11</c:v>
                </c:pt>
              </c:numCache>
            </c:numRef>
          </c:val>
          <c:extLst>
            <c:ext xmlns:c16="http://schemas.microsoft.com/office/drawing/2014/chart" uri="{C3380CC4-5D6E-409C-BE32-E72D297353CC}">
              <c16:uniqueId val="{00000000-FB3E-45AB-BDE0-5419C8D17AD4}"/>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219163305677543E-2"/>
          <c:y val="9.749779423578564E-2"/>
          <c:w val="0.96351274337679238"/>
          <c:h val="0.74679581560085351"/>
        </c:manualLayout>
      </c:layout>
      <c:barChart>
        <c:barDir val="col"/>
        <c:grouping val="clustered"/>
        <c:varyColors val="0"/>
        <c:ser>
          <c:idx val="0"/>
          <c:order val="0"/>
          <c:tx>
            <c:strRef>
              <c:f>Sheet1!$B$1</c:f>
              <c:strCache>
                <c:ptCount val="1"/>
                <c:pt idx="0">
                  <c:v>Chicken Broilers</c:v>
                </c:pt>
              </c:strCache>
            </c:strRef>
          </c:tx>
          <c:spPr>
            <a:solidFill>
              <a:srgbClr val="00B050"/>
            </a:solidFill>
            <a:ln>
              <a:noFill/>
            </a:ln>
            <a:effectLst/>
            <a:scene3d>
              <a:camera prst="orthographicFront"/>
              <a:lightRig rig="threePt" dir="t"/>
            </a:scene3d>
            <a:sp3d>
              <a:bevelT prst="angle"/>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c:formatCode>
                <c:ptCount val="6"/>
                <c:pt idx="0">
                  <c:v>9206</c:v>
                </c:pt>
                <c:pt idx="1">
                  <c:v>12642</c:v>
                </c:pt>
                <c:pt idx="2">
                  <c:v>15068</c:v>
                </c:pt>
                <c:pt idx="3">
                  <c:v>20869</c:v>
                </c:pt>
                <c:pt idx="4">
                  <c:v>21158</c:v>
                </c:pt>
                <c:pt idx="5">
                  <c:v>20450</c:v>
                </c:pt>
              </c:numCache>
            </c:numRef>
          </c:val>
          <c:extLst>
            <c:ext xmlns:c16="http://schemas.microsoft.com/office/drawing/2014/chart" uri="{C3380CC4-5D6E-409C-BE32-E72D297353CC}">
              <c16:uniqueId val="{00000000-628A-430B-8B56-1804D2EF65B8}"/>
            </c:ext>
          </c:extLst>
        </c:ser>
        <c:dLbls>
          <c:dLblPos val="outEnd"/>
          <c:showLegendKey val="0"/>
          <c:showVal val="1"/>
          <c:showCatName val="0"/>
          <c:showSerName val="0"/>
          <c:showPercent val="0"/>
          <c:showBubbleSize val="0"/>
        </c:dLbls>
        <c:gapWidth val="219"/>
        <c:overlap val="-27"/>
        <c:axId val="650306112"/>
        <c:axId val="650306768"/>
      </c:barChart>
      <c:catAx>
        <c:axId val="6503061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650306768"/>
        <c:crosses val="autoZero"/>
        <c:auto val="1"/>
        <c:lblAlgn val="ctr"/>
        <c:lblOffset val="100"/>
        <c:noMultiLvlLbl val="0"/>
      </c:catAx>
      <c:valAx>
        <c:axId val="650306768"/>
        <c:scaling>
          <c:orientation val="minMax"/>
          <c:min val="8000"/>
        </c:scaling>
        <c:delete val="1"/>
        <c:axPos val="l"/>
        <c:numFmt formatCode="0" sourceLinked="1"/>
        <c:majorTickMark val="out"/>
        <c:minorTickMark val="none"/>
        <c:tickLblPos val="nextTo"/>
        <c:crossAx val="6503061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eagent Grad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7.9483195000000006E-2</c:v>
                </c:pt>
                <c:pt idx="1">
                  <c:v>5.1860817999999864E-2</c:v>
                </c:pt>
                <c:pt idx="2">
                  <c:v>5.1899999999999946E-2</c:v>
                </c:pt>
                <c:pt idx="3">
                  <c:v>6.7500000000000004E-2</c:v>
                </c:pt>
                <c:pt idx="4">
                  <c:v>6.4089066087099966E-2</c:v>
                </c:pt>
                <c:pt idx="5">
                  <c:v>7.0184329346066887E-2</c:v>
                </c:pt>
                <c:pt idx="6">
                  <c:v>6.7522151799999874E-2</c:v>
                </c:pt>
                <c:pt idx="7">
                  <c:v>6.6581342696799939E-2</c:v>
                </c:pt>
                <c:pt idx="8">
                  <c:v>6.4383356979999862E-2</c:v>
                </c:pt>
                <c:pt idx="9">
                  <c:v>6.4943286867999994E-2</c:v>
                </c:pt>
                <c:pt idx="10">
                  <c:v>6.0724438169500017E-2</c:v>
                </c:pt>
              </c:numCache>
            </c:numRef>
          </c:val>
          <c:extLst>
            <c:ext xmlns:c16="http://schemas.microsoft.com/office/drawing/2014/chart" uri="{C3380CC4-5D6E-409C-BE32-E72D297353CC}">
              <c16:uniqueId val="{00000000-1224-4620-B2F0-526F97CB6999}"/>
            </c:ext>
          </c:extLst>
        </c:ser>
        <c:ser>
          <c:idx val="1"/>
          <c:order val="1"/>
          <c:tx>
            <c:strRef>
              <c:f>Sheet1!$C$1</c:f>
              <c:strCache>
                <c:ptCount val="1"/>
                <c:pt idx="0">
                  <c:v>Industrial Grade</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92051680499999999</c:v>
                </c:pt>
                <c:pt idx="1">
                  <c:v>0.94813918200000014</c:v>
                </c:pt>
                <c:pt idx="2">
                  <c:v>0.94810000000000005</c:v>
                </c:pt>
                <c:pt idx="3">
                  <c:v>0.9325</c:v>
                </c:pt>
                <c:pt idx="4">
                  <c:v>0.93591093391290003</c:v>
                </c:pt>
                <c:pt idx="5">
                  <c:v>0.92981567065393311</c:v>
                </c:pt>
                <c:pt idx="6">
                  <c:v>0.93247784820000013</c:v>
                </c:pt>
                <c:pt idx="7">
                  <c:v>0.93341865730320006</c:v>
                </c:pt>
                <c:pt idx="8">
                  <c:v>0.93561664302000014</c:v>
                </c:pt>
                <c:pt idx="9">
                  <c:v>0.93505671313200001</c:v>
                </c:pt>
                <c:pt idx="10">
                  <c:v>0.93927556183049998</c:v>
                </c:pt>
              </c:numCache>
            </c:numRef>
          </c:val>
          <c:extLst>
            <c:ext xmlns:c16="http://schemas.microsoft.com/office/drawing/2014/chart" uri="{C3380CC4-5D6E-409C-BE32-E72D297353CC}">
              <c16:uniqueId val="{00000001-1224-4620-B2F0-526F97CB6999}"/>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6"/>
          <c:order val="0"/>
          <c:tx>
            <c:strRef>
              <c:f>Sheet1!$H$1</c:f>
              <c:strCache>
                <c:ptCount val="1"/>
                <c:pt idx="0">
                  <c:v>Others</c:v>
                </c:pt>
              </c:strCache>
            </c:strRef>
          </c:tx>
          <c:spPr>
            <a:solidFill>
              <a:schemeClr val="accent1">
                <a:lumMod val="80000"/>
                <a:lumOff val="2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H$2:$H$12</c:f>
              <c:numCache>
                <c:formatCode>0.00%</c:formatCode>
                <c:ptCount val="11"/>
                <c:pt idx="0">
                  <c:v>6.5500000000000003E-2</c:v>
                </c:pt>
                <c:pt idx="1">
                  <c:v>6.2300000000000001E-2</c:v>
                </c:pt>
                <c:pt idx="2">
                  <c:v>5.5199999999999999E-2</c:v>
                </c:pt>
                <c:pt idx="3">
                  <c:v>5.5399999999999998E-2</c:v>
                </c:pt>
                <c:pt idx="4">
                  <c:v>6.7299999999999999E-2</c:v>
                </c:pt>
                <c:pt idx="5">
                  <c:v>4.7100000000000003E-2</c:v>
                </c:pt>
                <c:pt idx="6">
                  <c:v>4.4499999999999998E-2</c:v>
                </c:pt>
                <c:pt idx="7">
                  <c:v>4.4400000000000002E-2</c:v>
                </c:pt>
                <c:pt idx="8">
                  <c:v>4.5400000000000003E-2</c:v>
                </c:pt>
                <c:pt idx="9">
                  <c:v>4.7100000000000003E-2</c:v>
                </c:pt>
                <c:pt idx="10">
                  <c:v>4.7399999999999998E-2</c:v>
                </c:pt>
              </c:numCache>
            </c:numRef>
          </c:val>
          <c:extLst>
            <c:ext xmlns:c16="http://schemas.microsoft.com/office/drawing/2014/chart" uri="{C3380CC4-5D6E-409C-BE32-E72D297353CC}">
              <c16:uniqueId val="{00000000-ED97-4972-BDB3-E3F6C8D53994}"/>
            </c:ext>
          </c:extLst>
        </c:ser>
        <c:ser>
          <c:idx val="5"/>
          <c:order val="1"/>
          <c:tx>
            <c:strRef>
              <c:f>Sheet1!$G$1</c:f>
              <c:strCache>
                <c:ptCount val="1"/>
                <c:pt idx="0">
                  <c:v>Leather and Textiles</c:v>
                </c:pt>
              </c:strCache>
            </c:strRef>
          </c:tx>
          <c:spPr>
            <a:solidFill>
              <a:schemeClr val="accent5">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G$2:$G$12</c:f>
              <c:numCache>
                <c:formatCode>0.00%</c:formatCode>
                <c:ptCount val="11"/>
                <c:pt idx="0">
                  <c:v>4.53E-2</c:v>
                </c:pt>
                <c:pt idx="1">
                  <c:v>4.1300000000000003E-2</c:v>
                </c:pt>
                <c:pt idx="2">
                  <c:v>4.2099999999999999E-2</c:v>
                </c:pt>
                <c:pt idx="3">
                  <c:v>4.0899999999999999E-2</c:v>
                </c:pt>
                <c:pt idx="4">
                  <c:v>3.9800000000000002E-2</c:v>
                </c:pt>
                <c:pt idx="5">
                  <c:v>4.0099999999999997E-2</c:v>
                </c:pt>
                <c:pt idx="6">
                  <c:v>3.9699999999999999E-2</c:v>
                </c:pt>
                <c:pt idx="7">
                  <c:v>3.9300000000000002E-2</c:v>
                </c:pt>
                <c:pt idx="8">
                  <c:v>3.9199999999999999E-2</c:v>
                </c:pt>
                <c:pt idx="9">
                  <c:v>3.9E-2</c:v>
                </c:pt>
                <c:pt idx="10">
                  <c:v>3.8899999999999997E-2</c:v>
                </c:pt>
              </c:numCache>
            </c:numRef>
          </c:val>
          <c:extLst>
            <c:ext xmlns:c16="http://schemas.microsoft.com/office/drawing/2014/chart" uri="{C3380CC4-5D6E-409C-BE32-E72D297353CC}">
              <c16:uniqueId val="{00000001-ED97-4972-BDB3-E3F6C8D53994}"/>
            </c:ext>
          </c:extLst>
        </c:ser>
        <c:ser>
          <c:idx val="4"/>
          <c:order val="2"/>
          <c:tx>
            <c:strRef>
              <c:f>Sheet1!$F$1</c:f>
              <c:strCache>
                <c:ptCount val="1"/>
                <c:pt idx="0">
                  <c:v>Chemicals</c:v>
                </c:pt>
              </c:strCache>
            </c:strRef>
          </c:tx>
          <c:spPr>
            <a:solidFill>
              <a:schemeClr val="accent3">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F$2:$F$12</c:f>
              <c:numCache>
                <c:formatCode>0.00%</c:formatCode>
                <c:ptCount val="11"/>
                <c:pt idx="0">
                  <c:v>4.2099999999999999E-2</c:v>
                </c:pt>
                <c:pt idx="1">
                  <c:v>4.4499999999999998E-2</c:v>
                </c:pt>
                <c:pt idx="2">
                  <c:v>4.4600000000000001E-2</c:v>
                </c:pt>
                <c:pt idx="3">
                  <c:v>4.4999999999999998E-2</c:v>
                </c:pt>
                <c:pt idx="4">
                  <c:v>4.3099999999999999E-2</c:v>
                </c:pt>
                <c:pt idx="5">
                  <c:v>4.41E-2</c:v>
                </c:pt>
                <c:pt idx="6">
                  <c:v>4.41E-2</c:v>
                </c:pt>
                <c:pt idx="7">
                  <c:v>4.4200000000000003E-2</c:v>
                </c:pt>
                <c:pt idx="8">
                  <c:v>4.4400000000000002E-2</c:v>
                </c:pt>
                <c:pt idx="9">
                  <c:v>4.4499999999999998E-2</c:v>
                </c:pt>
                <c:pt idx="10">
                  <c:v>4.4600000000000001E-2</c:v>
                </c:pt>
              </c:numCache>
            </c:numRef>
          </c:val>
          <c:extLst>
            <c:ext xmlns:c16="http://schemas.microsoft.com/office/drawing/2014/chart" uri="{C3380CC4-5D6E-409C-BE32-E72D297353CC}">
              <c16:uniqueId val="{00000002-ED97-4972-BDB3-E3F6C8D53994}"/>
            </c:ext>
          </c:extLst>
        </c:ser>
        <c:ser>
          <c:idx val="3"/>
          <c:order val="3"/>
          <c:tx>
            <c:strRef>
              <c:f>Sheet1!$E$1</c:f>
              <c:strCache>
                <c:ptCount val="1"/>
                <c:pt idx="0">
                  <c:v>Industrial</c:v>
                </c:pt>
              </c:strCache>
            </c:strRef>
          </c:tx>
          <c:spPr>
            <a:solidFill>
              <a:schemeClr val="accent1">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E$2:$E$12</c:f>
              <c:numCache>
                <c:formatCode>0.00%</c:formatCode>
                <c:ptCount val="11"/>
                <c:pt idx="0">
                  <c:v>0.11210000000000001</c:v>
                </c:pt>
                <c:pt idx="1">
                  <c:v>0.1144</c:v>
                </c:pt>
                <c:pt idx="2">
                  <c:v>0.11650000000000001</c:v>
                </c:pt>
                <c:pt idx="3">
                  <c:v>0.1198</c:v>
                </c:pt>
                <c:pt idx="4">
                  <c:v>0.1051</c:v>
                </c:pt>
                <c:pt idx="5">
                  <c:v>0.1024</c:v>
                </c:pt>
                <c:pt idx="6">
                  <c:v>0.1026</c:v>
                </c:pt>
                <c:pt idx="7">
                  <c:v>0.10290000000000001</c:v>
                </c:pt>
                <c:pt idx="8">
                  <c:v>0.1031</c:v>
                </c:pt>
                <c:pt idx="9">
                  <c:v>0.10349999999999999</c:v>
                </c:pt>
                <c:pt idx="10">
                  <c:v>0.1037</c:v>
                </c:pt>
              </c:numCache>
            </c:numRef>
          </c:val>
          <c:extLst>
            <c:ext xmlns:c16="http://schemas.microsoft.com/office/drawing/2014/chart" uri="{C3380CC4-5D6E-409C-BE32-E72D297353CC}">
              <c16:uniqueId val="{00000003-ED97-4972-BDB3-E3F6C8D53994}"/>
            </c:ext>
          </c:extLst>
        </c:ser>
        <c:ser>
          <c:idx val="2"/>
          <c:order val="4"/>
          <c:tx>
            <c:strRef>
              <c:f>Sheet1!$D$1</c:f>
              <c:strCache>
                <c:ptCount val="1"/>
                <c:pt idx="0">
                  <c:v>Healthcare</c:v>
                </c:pt>
              </c:strCache>
            </c:strRef>
          </c:tx>
          <c:spPr>
            <a:solidFill>
              <a:schemeClr val="accent5"/>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D$2:$D$12</c:f>
              <c:numCache>
                <c:formatCode>0.00%</c:formatCode>
                <c:ptCount val="11"/>
                <c:pt idx="0">
                  <c:v>0.16980000000000001</c:v>
                </c:pt>
                <c:pt idx="1">
                  <c:v>0.17369999999999999</c:v>
                </c:pt>
                <c:pt idx="2">
                  <c:v>0.17530000000000001</c:v>
                </c:pt>
                <c:pt idx="3">
                  <c:v>0.17019999999999999</c:v>
                </c:pt>
                <c:pt idx="4">
                  <c:v>0.1724</c:v>
                </c:pt>
                <c:pt idx="5">
                  <c:v>0.18340000000000001</c:v>
                </c:pt>
                <c:pt idx="6">
                  <c:v>0.18360000000000001</c:v>
                </c:pt>
                <c:pt idx="7">
                  <c:v>0.18390000000000001</c:v>
                </c:pt>
                <c:pt idx="8">
                  <c:v>0.18429999999999999</c:v>
                </c:pt>
                <c:pt idx="9">
                  <c:v>0.18440000000000001</c:v>
                </c:pt>
                <c:pt idx="10">
                  <c:v>0.18459999999999999</c:v>
                </c:pt>
              </c:numCache>
            </c:numRef>
          </c:val>
          <c:extLst>
            <c:ext xmlns:c16="http://schemas.microsoft.com/office/drawing/2014/chart" uri="{C3380CC4-5D6E-409C-BE32-E72D297353CC}">
              <c16:uniqueId val="{00000004-ED97-4972-BDB3-E3F6C8D53994}"/>
            </c:ext>
          </c:extLst>
        </c:ser>
        <c:ser>
          <c:idx val="1"/>
          <c:order val="5"/>
          <c:tx>
            <c:strRef>
              <c:f>Sheet1!$C$1</c:f>
              <c:strCache>
                <c:ptCount val="1"/>
                <c:pt idx="0">
                  <c:v>Animal Husbandry</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2417</c:v>
                </c:pt>
                <c:pt idx="1">
                  <c:v>0.24829999999999999</c:v>
                </c:pt>
                <c:pt idx="2">
                  <c:v>0.24909999999999999</c:v>
                </c:pt>
                <c:pt idx="3">
                  <c:v>0.25040000000000001</c:v>
                </c:pt>
                <c:pt idx="4">
                  <c:v>0.25309999999999999</c:v>
                </c:pt>
                <c:pt idx="5">
                  <c:v>0.25240000000000001</c:v>
                </c:pt>
                <c:pt idx="6">
                  <c:v>0.2571</c:v>
                </c:pt>
                <c:pt idx="7">
                  <c:v>0.25819999999999999</c:v>
                </c:pt>
                <c:pt idx="8">
                  <c:v>0.2586</c:v>
                </c:pt>
                <c:pt idx="9">
                  <c:v>0.2591</c:v>
                </c:pt>
                <c:pt idx="10">
                  <c:v>0.2596</c:v>
                </c:pt>
              </c:numCache>
            </c:numRef>
          </c:val>
          <c:extLst>
            <c:ext xmlns:c16="http://schemas.microsoft.com/office/drawing/2014/chart" uri="{C3380CC4-5D6E-409C-BE32-E72D297353CC}">
              <c16:uniqueId val="{00000005-ED97-4972-BDB3-E3F6C8D53994}"/>
            </c:ext>
          </c:extLst>
        </c:ser>
        <c:ser>
          <c:idx val="0"/>
          <c:order val="6"/>
          <c:tx>
            <c:strRef>
              <c:f>Sheet1!$B$1</c:f>
              <c:strCache>
                <c:ptCount val="1"/>
                <c:pt idx="0">
                  <c:v>Agricultur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0.32350000000000001</c:v>
                </c:pt>
                <c:pt idx="1">
                  <c:v>0.3155</c:v>
                </c:pt>
                <c:pt idx="2">
                  <c:v>0.31719999999999998</c:v>
                </c:pt>
                <c:pt idx="3">
                  <c:v>0.31830000000000003</c:v>
                </c:pt>
                <c:pt idx="4">
                  <c:v>0.31919999999999998</c:v>
                </c:pt>
                <c:pt idx="5">
                  <c:v>0.33050000000000002</c:v>
                </c:pt>
                <c:pt idx="6">
                  <c:v>0.32840000000000003</c:v>
                </c:pt>
                <c:pt idx="7">
                  <c:v>0.3271</c:v>
                </c:pt>
                <c:pt idx="8">
                  <c:v>0.32500000000000001</c:v>
                </c:pt>
                <c:pt idx="9">
                  <c:v>0.32240000000000002</c:v>
                </c:pt>
                <c:pt idx="10">
                  <c:v>0.32119999999999999</c:v>
                </c:pt>
              </c:numCache>
            </c:numRef>
          </c:val>
          <c:extLst>
            <c:ext xmlns:c16="http://schemas.microsoft.com/office/drawing/2014/chart" uri="{C3380CC4-5D6E-409C-BE32-E72D297353CC}">
              <c16:uniqueId val="{00000006-ED97-4972-BDB3-E3F6C8D53994}"/>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Production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6</c:f>
              <c:numCache>
                <c:formatCode>0.00</c:formatCode>
                <c:ptCount val="5"/>
                <c:pt idx="0">
                  <c:v>8.3190000000000008</c:v>
                </c:pt>
                <c:pt idx="1">
                  <c:v>7.4240000000000004</c:v>
                </c:pt>
                <c:pt idx="2">
                  <c:v>7.6950000000000003</c:v>
                </c:pt>
                <c:pt idx="3">
                  <c:v>7.0190000000000001</c:v>
                </c:pt>
                <c:pt idx="4">
                  <c:v>7.54</c:v>
                </c:pt>
              </c:numCache>
            </c:numRef>
          </c:val>
          <c:extLst>
            <c:ext xmlns:c16="http://schemas.microsoft.com/office/drawing/2014/chart" uri="{C3380CC4-5D6E-409C-BE32-E72D297353CC}">
              <c16:uniqueId val="{00000000-0531-40ED-BBE9-623B9E604F7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Import</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00</c:formatCode>
                <c:ptCount val="6"/>
                <c:pt idx="0">
                  <c:v>2.4079999999999999</c:v>
                </c:pt>
                <c:pt idx="1">
                  <c:v>1.357</c:v>
                </c:pt>
                <c:pt idx="2">
                  <c:v>2.9020000000000001</c:v>
                </c:pt>
                <c:pt idx="3">
                  <c:v>3.762</c:v>
                </c:pt>
                <c:pt idx="4">
                  <c:v>2.0110000000000001</c:v>
                </c:pt>
                <c:pt idx="5">
                  <c:v>2.6819999999999999</c:v>
                </c:pt>
              </c:numCache>
            </c:numRef>
          </c:val>
          <c:extLst>
            <c:ext xmlns:c16="http://schemas.microsoft.com/office/drawing/2014/chart" uri="{C3380CC4-5D6E-409C-BE32-E72D297353CC}">
              <c16:uniqueId val="{00000000-BC20-43BC-A451-E9D6E16FB2AE}"/>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alue (USD Million)</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8.1269999999999989</c:v>
                </c:pt>
                <c:pt idx="1">
                  <c:v>8.5497999999999994</c:v>
                </c:pt>
                <c:pt idx="2">
                  <c:v>9.003400000000001</c:v>
                </c:pt>
                <c:pt idx="3">
                  <c:v>9.5260000000000016</c:v>
                </c:pt>
                <c:pt idx="4">
                  <c:v>8.787528</c:v>
                </c:pt>
                <c:pt idx="5">
                  <c:v>9.3280000000000012</c:v>
                </c:pt>
                <c:pt idx="6">
                  <c:v>9.8566000000000003</c:v>
                </c:pt>
                <c:pt idx="7">
                  <c:v>10.395</c:v>
                </c:pt>
                <c:pt idx="8">
                  <c:v>10.9641</c:v>
                </c:pt>
                <c:pt idx="9">
                  <c:v>11.541600000000001</c:v>
                </c:pt>
                <c:pt idx="10">
                  <c:v>12.173699999999998</c:v>
                </c:pt>
              </c:numCache>
            </c:numRef>
          </c:val>
          <c:extLst>
            <c:ext xmlns:c16="http://schemas.microsoft.com/office/drawing/2014/chart" uri="{C3380CC4-5D6E-409C-BE32-E72D297353CC}">
              <c16:uniqueId val="{00000000-EA03-4B5A-974B-609E866BCAFE}"/>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973277908199458E-2"/>
          <c:y val="5.3094681887597465E-2"/>
          <c:w val="0.98902666629196212"/>
          <c:h val="0.76860346857081263"/>
        </c:manualLayout>
      </c:layout>
      <c:barChart>
        <c:barDir val="col"/>
        <c:grouping val="clustered"/>
        <c:varyColors val="0"/>
        <c:ser>
          <c:idx val="0"/>
          <c:order val="0"/>
          <c:tx>
            <c:strRef>
              <c:f>Sheet1!$B$1</c:f>
              <c:strCache>
                <c:ptCount val="1"/>
                <c:pt idx="0">
                  <c:v>%</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0"/>
              <c:layout>
                <c:manualLayout>
                  <c:x val="-4.0093156043976134E-18"/>
                  <c:y val="2.94170064767570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DF4-4CCA-8459-065577CCAA02}"/>
                </c:ext>
              </c:extLst>
            </c:dLbl>
            <c:dLbl>
              <c:idx val="1"/>
              <c:layout>
                <c:manualLayout>
                  <c:x val="3.4990794941267491E-3"/>
                  <c:y val="-9.496896086945880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DF4-4CCA-8459-065577CCAA02}"/>
                </c:ext>
              </c:extLst>
            </c:dLbl>
            <c:dLbl>
              <c:idx val="2"/>
              <c:layout>
                <c:manualLayout>
                  <c:x val="3.4990794941267812E-3"/>
                  <c:y val="-2.20774286772325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DF4-4CCA-8459-065577CCAA02}"/>
                </c:ext>
              </c:extLst>
            </c:dLbl>
            <c:dLbl>
              <c:idx val="3"/>
              <c:layout>
                <c:manualLayout>
                  <c:x val="-1.0497238482380343E-2"/>
                  <c:y val="1.1045384256645639E-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DF4-4CCA-8459-065577CCAA02}"/>
                </c:ext>
              </c:extLst>
            </c:dLbl>
            <c:dLbl>
              <c:idx val="4"/>
              <c:layout>
                <c:manualLayout>
                  <c:x val="3.4990794941267812E-3"/>
                  <c:y val="8.5374950776004939E-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DF4-4CCA-8459-065577CCAA02}"/>
                </c:ext>
              </c:extLst>
            </c:dLbl>
            <c:dLbl>
              <c:idx val="5"/>
              <c:layout>
                <c:manualLayout>
                  <c:x val="-3.4990794941269095E-3"/>
                  <c:y val="0.2579716192319883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DF4-4CCA-8459-065577CCAA0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0</c:f>
              <c:numCache>
                <c:formatCode>General</c:formatCode>
                <c:ptCount val="9"/>
                <c:pt idx="0">
                  <c:v>2015</c:v>
                </c:pt>
                <c:pt idx="1">
                  <c:v>2016</c:v>
                </c:pt>
                <c:pt idx="2">
                  <c:v>2017</c:v>
                </c:pt>
                <c:pt idx="3">
                  <c:v>2018</c:v>
                </c:pt>
                <c:pt idx="4">
                  <c:v>2019</c:v>
                </c:pt>
                <c:pt idx="5">
                  <c:v>2020</c:v>
                </c:pt>
              </c:numCache>
            </c:numRef>
          </c:cat>
          <c:val>
            <c:numRef>
              <c:f>Sheet1!$B$2:$B$7</c:f>
              <c:numCache>
                <c:formatCode>0.00%</c:formatCode>
                <c:ptCount val="6"/>
                <c:pt idx="0">
                  <c:v>6.3500000000000001E-2</c:v>
                </c:pt>
                <c:pt idx="1">
                  <c:v>7.1499999999999994E-2</c:v>
                </c:pt>
                <c:pt idx="2">
                  <c:v>6.93E-2</c:v>
                </c:pt>
                <c:pt idx="3">
                  <c:v>6.3399999999999998E-2</c:v>
                </c:pt>
                <c:pt idx="4">
                  <c:v>6.1100000000000002E-2</c:v>
                </c:pt>
                <c:pt idx="5">
                  <c:v>-9.5699999999999993E-2</c:v>
                </c:pt>
              </c:numCache>
            </c:numRef>
          </c:val>
          <c:extLst>
            <c:ext xmlns:c16="http://schemas.microsoft.com/office/drawing/2014/chart" uri="{C3380CC4-5D6E-409C-BE32-E72D297353CC}">
              <c16:uniqueId val="{00000006-CDF4-4CCA-8459-065577CCAA02}"/>
            </c:ext>
          </c:extLst>
        </c:ser>
        <c:dLbls>
          <c:dLblPos val="ctr"/>
          <c:showLegendKey val="0"/>
          <c:showVal val="1"/>
          <c:showCatName val="0"/>
          <c:showSerName val="0"/>
          <c:showPercent val="0"/>
          <c:showBubbleSize val="0"/>
        </c:dLbls>
        <c:gapWidth val="100"/>
        <c:overlap val="-24"/>
        <c:axId val="427572040"/>
        <c:axId val="427574992"/>
      </c:barChart>
      <c:catAx>
        <c:axId val="427572040"/>
        <c:scaling>
          <c:orientation val="minMax"/>
        </c:scaling>
        <c:delete val="0"/>
        <c:axPos val="b"/>
        <c:numFmt formatCode="General" sourceLinked="1"/>
        <c:majorTickMark val="none"/>
        <c:minorTickMark val="none"/>
        <c:tickLblPos val="low"/>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27574992"/>
        <c:crosses val="autoZero"/>
        <c:auto val="1"/>
        <c:lblAlgn val="ctr"/>
        <c:lblOffset val="100"/>
        <c:noMultiLvlLbl val="0"/>
      </c:catAx>
      <c:valAx>
        <c:axId val="427574992"/>
        <c:scaling>
          <c:orientation val="minMax"/>
        </c:scaling>
        <c:delete val="1"/>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crossAx val="4275720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dLbls>
          <c:showLegendKey val="0"/>
          <c:showVal val="1"/>
          <c:showCatName val="0"/>
          <c:showSerName val="0"/>
          <c:showPercent val="0"/>
          <c:showBubbleSize val="0"/>
        </c:dLbls>
        <c:gapWidth val="24"/>
        <c:overlap val="-11"/>
        <c:axId val="2050486271"/>
        <c:axId val="2050499999"/>
      </c:barChart>
      <c:catAx>
        <c:axId val="20504862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000" b="1" i="0" u="none" strike="noStrike" kern="1200" baseline="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2050499999"/>
        <c:crosses val="autoZero"/>
        <c:auto val="1"/>
        <c:lblAlgn val="ctr"/>
        <c:lblOffset val="100"/>
        <c:noMultiLvlLbl val="0"/>
      </c:catAx>
      <c:valAx>
        <c:axId val="2050499999"/>
        <c:scaling>
          <c:orientation val="minMax"/>
        </c:scaling>
        <c:delete val="1"/>
        <c:axPos val="l"/>
        <c:numFmt formatCode="_(* #,##0.00_);_(* \(#,##0.00\);_(* &quot;-&quot;??_);_(@_)" sourceLinked="1"/>
        <c:majorTickMark val="none"/>
        <c:minorTickMark val="none"/>
        <c:tickLblPos val="nextTo"/>
        <c:crossAx val="2050486271"/>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olume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3.78</c:v>
                </c:pt>
                <c:pt idx="1">
                  <c:v>3.94</c:v>
                </c:pt>
                <c:pt idx="2">
                  <c:v>4.13</c:v>
                </c:pt>
                <c:pt idx="3">
                  <c:v>4.33</c:v>
                </c:pt>
                <c:pt idx="4">
                  <c:v>4.0682999999999998</c:v>
                </c:pt>
                <c:pt idx="5">
                  <c:v>4.24</c:v>
                </c:pt>
                <c:pt idx="6">
                  <c:v>4.42</c:v>
                </c:pt>
                <c:pt idx="7">
                  <c:v>4.62</c:v>
                </c:pt>
                <c:pt idx="8">
                  <c:v>4.83</c:v>
                </c:pt>
                <c:pt idx="9">
                  <c:v>5.04</c:v>
                </c:pt>
                <c:pt idx="10">
                  <c:v>5.27</c:v>
                </c:pt>
              </c:numCache>
            </c:numRef>
          </c:val>
          <c:extLst>
            <c:ext xmlns:c16="http://schemas.microsoft.com/office/drawing/2014/chart" uri="{C3380CC4-5D6E-409C-BE32-E72D297353CC}">
              <c16:uniqueId val="{00000000-FB3E-45AB-BDE0-5419C8D17AD4}"/>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Agricultural Production</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5"/>
                <c:pt idx="0">
                  <c:v>2015</c:v>
                </c:pt>
                <c:pt idx="1">
                  <c:v>2016</c:v>
                </c:pt>
                <c:pt idx="2">
                  <c:v>2017</c:v>
                </c:pt>
                <c:pt idx="3">
                  <c:v>2018</c:v>
                </c:pt>
                <c:pt idx="4">
                  <c:v>2019</c:v>
                </c:pt>
              </c:numCache>
              <c:extLst/>
            </c:numRef>
          </c:cat>
          <c:val>
            <c:numRef>
              <c:f>Sheet1!$B$2:$B$7</c:f>
              <c:numCache>
                <c:formatCode>0.00</c:formatCode>
                <c:ptCount val="5"/>
                <c:pt idx="0">
                  <c:v>480.02</c:v>
                </c:pt>
                <c:pt idx="1">
                  <c:v>482.36</c:v>
                </c:pt>
                <c:pt idx="2">
                  <c:v>500.57</c:v>
                </c:pt>
                <c:pt idx="3">
                  <c:v>507.44</c:v>
                </c:pt>
                <c:pt idx="4">
                  <c:v>508.21</c:v>
                </c:pt>
              </c:numCache>
              <c:extLst/>
            </c:numRef>
          </c:val>
          <c:extLst>
            <c:ext xmlns:c16="http://schemas.microsoft.com/office/drawing/2014/chart" uri="{C3380CC4-5D6E-409C-BE32-E72D297353CC}">
              <c16:uniqueId val="{00000000-E92C-4261-8308-5F84187DF215}"/>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1"/>
          <c:order val="1"/>
          <c:tx>
            <c:strRef>
              <c:f>Sheet1!$B$1</c:f>
              <c:strCache>
                <c:ptCount val="1"/>
                <c:pt idx="0">
                  <c:v>Forest Area</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5</c:v>
                </c:pt>
                <c:pt idx="1">
                  <c:v>2016</c:v>
                </c:pt>
                <c:pt idx="2">
                  <c:v>2017</c:v>
                </c:pt>
                <c:pt idx="3">
                  <c:v>2018</c:v>
                </c:pt>
                <c:pt idx="4">
                  <c:v>2019</c:v>
                </c:pt>
              </c:numCache>
            </c:numRef>
          </c:cat>
          <c:val>
            <c:numRef>
              <c:f>Sheet1!$B$2:$B$6</c:f>
              <c:numCache>
                <c:formatCode>0.00</c:formatCode>
                <c:ptCount val="5"/>
                <c:pt idx="0">
                  <c:v>23.524000000000001</c:v>
                </c:pt>
                <c:pt idx="1">
                  <c:v>23.640999999999998</c:v>
                </c:pt>
                <c:pt idx="2">
                  <c:v>23.757999999999999</c:v>
                </c:pt>
                <c:pt idx="3">
                  <c:v>23.875</c:v>
                </c:pt>
                <c:pt idx="4">
                  <c:v>23.925999999999998</c:v>
                </c:pt>
              </c:numCache>
            </c:numRef>
          </c:val>
          <c:extLst>
            <c:ext xmlns:c16="http://schemas.microsoft.com/office/drawing/2014/chart" uri="{C3380CC4-5D6E-409C-BE32-E72D297353CC}">
              <c16:uniqueId val="{00000000-B977-4DE5-A959-129678F7A66D}"/>
            </c:ext>
          </c:extLst>
        </c:ser>
        <c:dLbls>
          <c:dLblPos val="outEnd"/>
          <c:showLegendKey val="0"/>
          <c:showVal val="1"/>
          <c:showCatName val="0"/>
          <c:showSerName val="0"/>
          <c:showPercent val="0"/>
          <c:showBubbleSize val="0"/>
        </c:dLbls>
        <c:gapWidth val="219"/>
        <c:overlap val="-27"/>
        <c:axId val="491033592"/>
        <c:axId val="491040480"/>
        <c:extLst>
          <c:ext xmlns:c15="http://schemas.microsoft.com/office/drawing/2012/chart" uri="{02D57815-91ED-43cb-92C2-25804820EDAC}">
            <c15:filteredBarSeries>
              <c15:ser>
                <c:idx val="0"/>
                <c:order val="0"/>
                <c:tx>
                  <c:strRef>
                    <c:extLst>
                      <c:ext uri="{02D57815-91ED-43cb-92C2-25804820EDAC}">
                        <c15:formulaRef>
                          <c15:sqref>Sheet1!$A$1</c15:sqref>
                        </c15:formulaRef>
                      </c:ext>
                    </c:extLst>
                    <c:strCache>
                      <c:ptCount val="1"/>
                      <c:pt idx="0">
                        <c:v> </c:v>
                      </c:pt>
                    </c:strCache>
                  </c:strRef>
                </c:tx>
                <c:spPr>
                  <a:solidFill>
                    <a:schemeClr val="accent6">
                      <a:shade val="7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6</c15:sqref>
                        </c15:formulaRef>
                      </c:ext>
                    </c:extLst>
                    <c:numCache>
                      <c:formatCode>General</c:formatCode>
                      <c:ptCount val="5"/>
                      <c:pt idx="0">
                        <c:v>2015</c:v>
                      </c:pt>
                      <c:pt idx="1">
                        <c:v>2016</c:v>
                      </c:pt>
                      <c:pt idx="2">
                        <c:v>2017</c:v>
                      </c:pt>
                      <c:pt idx="3">
                        <c:v>2018</c:v>
                      </c:pt>
                      <c:pt idx="4">
                        <c:v>2019</c:v>
                      </c:pt>
                    </c:numCache>
                  </c:numRef>
                </c:cat>
                <c:val>
                  <c:numRef>
                    <c:extLst>
                      <c:ext uri="{02D57815-91ED-43cb-92C2-25804820EDAC}">
                        <c15:formulaRef>
                          <c15:sqref>Sheet1!$A$2:$A$6</c15:sqref>
                        </c15:formulaRef>
                      </c:ext>
                    </c:extLst>
                    <c:numCache>
                      <c:formatCode>General</c:formatCode>
                      <c:ptCount val="5"/>
                      <c:pt idx="0">
                        <c:v>2015</c:v>
                      </c:pt>
                      <c:pt idx="1">
                        <c:v>2016</c:v>
                      </c:pt>
                      <c:pt idx="2">
                        <c:v>2017</c:v>
                      </c:pt>
                      <c:pt idx="3">
                        <c:v>2018</c:v>
                      </c:pt>
                      <c:pt idx="4">
                        <c:v>2019</c:v>
                      </c:pt>
                    </c:numCache>
                  </c:numRef>
                </c:val>
                <c:extLst>
                  <c:ext xmlns:c16="http://schemas.microsoft.com/office/drawing/2014/chart" uri="{C3380CC4-5D6E-409C-BE32-E72D297353CC}">
                    <c16:uniqueId val="{00000000-FE94-4BA6-9EEB-C7678B365182}"/>
                  </c:ext>
                </c:extLst>
              </c15:ser>
            </c15:filteredBarSeries>
          </c:ext>
        </c:extLst>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eagent Grad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9.6029010000000081E-2</c:v>
                </c:pt>
                <c:pt idx="1">
                  <c:v>6.8614999999999982E-2</c:v>
                </c:pt>
                <c:pt idx="2">
                  <c:v>8.2617897999999967E-2</c:v>
                </c:pt>
                <c:pt idx="3">
                  <c:v>7.6119210999999964E-2</c:v>
                </c:pt>
                <c:pt idx="4">
                  <c:v>7.8648893999999969E-2</c:v>
                </c:pt>
                <c:pt idx="5">
                  <c:v>7.8095311100000009E-2</c:v>
                </c:pt>
                <c:pt idx="6">
                  <c:v>7.9661879999999963E-2</c:v>
                </c:pt>
                <c:pt idx="7">
                  <c:v>7.7200521099999975E-2</c:v>
                </c:pt>
                <c:pt idx="8">
                  <c:v>7.6751992240000066E-2</c:v>
                </c:pt>
                <c:pt idx="9">
                  <c:v>7.5835933199999928E-2</c:v>
                </c:pt>
                <c:pt idx="10">
                  <c:v>7.5440424579999998E-2</c:v>
                </c:pt>
              </c:numCache>
            </c:numRef>
          </c:val>
          <c:extLst>
            <c:ext xmlns:c16="http://schemas.microsoft.com/office/drawing/2014/chart" uri="{C3380CC4-5D6E-409C-BE32-E72D297353CC}">
              <c16:uniqueId val="{00000000-1224-4620-B2F0-526F97CB6999}"/>
            </c:ext>
          </c:extLst>
        </c:ser>
        <c:ser>
          <c:idx val="1"/>
          <c:order val="1"/>
          <c:tx>
            <c:strRef>
              <c:f>Sheet1!$C$1</c:f>
              <c:strCache>
                <c:ptCount val="1"/>
                <c:pt idx="0">
                  <c:v>Industrial Grade</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90397098999999992</c:v>
                </c:pt>
                <c:pt idx="1">
                  <c:v>0.93138500000000002</c:v>
                </c:pt>
                <c:pt idx="2">
                  <c:v>0.91738210200000003</c:v>
                </c:pt>
                <c:pt idx="3">
                  <c:v>0.92388078900000004</c:v>
                </c:pt>
                <c:pt idx="4">
                  <c:v>0.92135110600000003</c:v>
                </c:pt>
                <c:pt idx="5">
                  <c:v>0.92190468889999999</c:v>
                </c:pt>
                <c:pt idx="6">
                  <c:v>0.92033812000000004</c:v>
                </c:pt>
                <c:pt idx="7">
                  <c:v>0.92279947890000003</c:v>
                </c:pt>
                <c:pt idx="8">
                  <c:v>0.92324800775999993</c:v>
                </c:pt>
                <c:pt idx="9">
                  <c:v>0.92416406680000007</c:v>
                </c:pt>
                <c:pt idx="10">
                  <c:v>0.92455957542</c:v>
                </c:pt>
              </c:numCache>
            </c:numRef>
          </c:val>
          <c:extLst>
            <c:ext xmlns:c16="http://schemas.microsoft.com/office/drawing/2014/chart" uri="{C3380CC4-5D6E-409C-BE32-E72D297353CC}">
              <c16:uniqueId val="{00000001-1224-4620-B2F0-526F97CB6999}"/>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6"/>
          <c:order val="0"/>
          <c:tx>
            <c:strRef>
              <c:f>Sheet1!$H$1</c:f>
              <c:strCache>
                <c:ptCount val="1"/>
                <c:pt idx="0">
                  <c:v>Others</c:v>
                </c:pt>
              </c:strCache>
            </c:strRef>
          </c:tx>
          <c:spPr>
            <a:solidFill>
              <a:schemeClr val="accent1">
                <a:lumMod val="80000"/>
                <a:lumOff val="2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H$2:$H$12</c:f>
              <c:numCache>
                <c:formatCode>0.00%</c:formatCode>
                <c:ptCount val="11"/>
                <c:pt idx="0">
                  <c:v>3.3500000000000002E-2</c:v>
                </c:pt>
                <c:pt idx="1">
                  <c:v>2.0299999999999999E-2</c:v>
                </c:pt>
                <c:pt idx="2">
                  <c:v>2.9600000000000001E-2</c:v>
                </c:pt>
                <c:pt idx="3">
                  <c:v>2.8799999999999999E-2</c:v>
                </c:pt>
                <c:pt idx="4">
                  <c:v>3.2099999999999997E-2</c:v>
                </c:pt>
                <c:pt idx="5">
                  <c:v>4.9000000000000002E-2</c:v>
                </c:pt>
                <c:pt idx="6">
                  <c:v>4.9700000000000001E-2</c:v>
                </c:pt>
                <c:pt idx="7">
                  <c:v>0.05</c:v>
                </c:pt>
                <c:pt idx="8">
                  <c:v>5.0599999999999999E-2</c:v>
                </c:pt>
                <c:pt idx="9">
                  <c:v>5.1700000000000003E-2</c:v>
                </c:pt>
                <c:pt idx="10">
                  <c:v>5.5100000000000003E-2</c:v>
                </c:pt>
              </c:numCache>
            </c:numRef>
          </c:val>
          <c:extLst>
            <c:ext xmlns:c16="http://schemas.microsoft.com/office/drawing/2014/chart" uri="{C3380CC4-5D6E-409C-BE32-E72D297353CC}">
              <c16:uniqueId val="{00000000-C57E-4734-A585-D63800D57428}"/>
            </c:ext>
          </c:extLst>
        </c:ser>
        <c:ser>
          <c:idx val="5"/>
          <c:order val="1"/>
          <c:tx>
            <c:strRef>
              <c:f>Sheet1!$G$1</c:f>
              <c:strCache>
                <c:ptCount val="1"/>
                <c:pt idx="0">
                  <c:v>Leather and Textiles</c:v>
                </c:pt>
              </c:strCache>
            </c:strRef>
          </c:tx>
          <c:spPr>
            <a:solidFill>
              <a:schemeClr val="accent5">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G$2:$G$12</c:f>
              <c:numCache>
                <c:formatCode>0.00%</c:formatCode>
                <c:ptCount val="11"/>
                <c:pt idx="0">
                  <c:v>4.53E-2</c:v>
                </c:pt>
                <c:pt idx="1">
                  <c:v>4.7199999999999999E-2</c:v>
                </c:pt>
                <c:pt idx="2">
                  <c:v>4.6300000000000001E-2</c:v>
                </c:pt>
                <c:pt idx="3">
                  <c:v>4.6199999999999998E-2</c:v>
                </c:pt>
                <c:pt idx="4">
                  <c:v>4.41E-2</c:v>
                </c:pt>
                <c:pt idx="5">
                  <c:v>3.7900000000000003E-2</c:v>
                </c:pt>
                <c:pt idx="6">
                  <c:v>3.7900000000000003E-2</c:v>
                </c:pt>
                <c:pt idx="7">
                  <c:v>3.8100000000000002E-2</c:v>
                </c:pt>
                <c:pt idx="8">
                  <c:v>3.8199999999999998E-2</c:v>
                </c:pt>
                <c:pt idx="9">
                  <c:v>3.8300000000000001E-2</c:v>
                </c:pt>
                <c:pt idx="10">
                  <c:v>3.8399999999999997E-2</c:v>
                </c:pt>
              </c:numCache>
            </c:numRef>
          </c:val>
          <c:extLst>
            <c:ext xmlns:c16="http://schemas.microsoft.com/office/drawing/2014/chart" uri="{C3380CC4-5D6E-409C-BE32-E72D297353CC}">
              <c16:uniqueId val="{00000001-C57E-4734-A585-D63800D57428}"/>
            </c:ext>
          </c:extLst>
        </c:ser>
        <c:ser>
          <c:idx val="4"/>
          <c:order val="2"/>
          <c:tx>
            <c:strRef>
              <c:f>Sheet1!$F$1</c:f>
              <c:strCache>
                <c:ptCount val="1"/>
                <c:pt idx="0">
                  <c:v>Chemicals</c:v>
                </c:pt>
              </c:strCache>
            </c:strRef>
          </c:tx>
          <c:spPr>
            <a:solidFill>
              <a:schemeClr val="accent3">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F$2:$F$12</c:f>
              <c:numCache>
                <c:formatCode>0.00%</c:formatCode>
                <c:ptCount val="11"/>
                <c:pt idx="0">
                  <c:v>6.6400000000000001E-2</c:v>
                </c:pt>
                <c:pt idx="1">
                  <c:v>6.6699999999999995E-2</c:v>
                </c:pt>
                <c:pt idx="2">
                  <c:v>6.7100000000000007E-2</c:v>
                </c:pt>
                <c:pt idx="3">
                  <c:v>6.7400000000000002E-2</c:v>
                </c:pt>
                <c:pt idx="4">
                  <c:v>6.6299999999999998E-2</c:v>
                </c:pt>
                <c:pt idx="5">
                  <c:v>6.5199999999999994E-2</c:v>
                </c:pt>
                <c:pt idx="6">
                  <c:v>6.6100000000000006E-2</c:v>
                </c:pt>
                <c:pt idx="7">
                  <c:v>6.6799999999999998E-2</c:v>
                </c:pt>
                <c:pt idx="8">
                  <c:v>6.7299999999999999E-2</c:v>
                </c:pt>
                <c:pt idx="9">
                  <c:v>6.7699999999999996E-2</c:v>
                </c:pt>
                <c:pt idx="10">
                  <c:v>6.8199999999999997E-2</c:v>
                </c:pt>
              </c:numCache>
            </c:numRef>
          </c:val>
          <c:extLst>
            <c:ext xmlns:c16="http://schemas.microsoft.com/office/drawing/2014/chart" uri="{C3380CC4-5D6E-409C-BE32-E72D297353CC}">
              <c16:uniqueId val="{00000002-C57E-4734-A585-D63800D57428}"/>
            </c:ext>
          </c:extLst>
        </c:ser>
        <c:ser>
          <c:idx val="3"/>
          <c:order val="3"/>
          <c:tx>
            <c:strRef>
              <c:f>Sheet1!$E$1</c:f>
              <c:strCache>
                <c:ptCount val="1"/>
                <c:pt idx="0">
                  <c:v>Industrial</c:v>
                </c:pt>
              </c:strCache>
            </c:strRef>
          </c:tx>
          <c:spPr>
            <a:solidFill>
              <a:schemeClr val="accent1">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E$2:$E$12</c:f>
              <c:numCache>
                <c:formatCode>0.00%</c:formatCode>
                <c:ptCount val="11"/>
                <c:pt idx="0">
                  <c:v>0.1171</c:v>
                </c:pt>
                <c:pt idx="1">
                  <c:v>0.1149</c:v>
                </c:pt>
                <c:pt idx="2">
                  <c:v>0.1152</c:v>
                </c:pt>
                <c:pt idx="3">
                  <c:v>0.11020000000000001</c:v>
                </c:pt>
                <c:pt idx="4">
                  <c:v>0.1094</c:v>
                </c:pt>
                <c:pt idx="5">
                  <c:v>9.64E-2</c:v>
                </c:pt>
                <c:pt idx="6">
                  <c:v>9.6100000000000005E-2</c:v>
                </c:pt>
                <c:pt idx="7">
                  <c:v>9.5799999999999996E-2</c:v>
                </c:pt>
                <c:pt idx="8">
                  <c:v>9.5200000000000007E-2</c:v>
                </c:pt>
                <c:pt idx="9">
                  <c:v>9.4100000000000003E-2</c:v>
                </c:pt>
                <c:pt idx="10">
                  <c:v>9.3700000000000006E-2</c:v>
                </c:pt>
              </c:numCache>
            </c:numRef>
          </c:val>
          <c:extLst>
            <c:ext xmlns:c16="http://schemas.microsoft.com/office/drawing/2014/chart" uri="{C3380CC4-5D6E-409C-BE32-E72D297353CC}">
              <c16:uniqueId val="{00000003-C57E-4734-A585-D63800D57428}"/>
            </c:ext>
          </c:extLst>
        </c:ser>
        <c:ser>
          <c:idx val="2"/>
          <c:order val="4"/>
          <c:tx>
            <c:strRef>
              <c:f>Sheet1!$D$1</c:f>
              <c:strCache>
                <c:ptCount val="1"/>
                <c:pt idx="0">
                  <c:v>Healthcare</c:v>
                </c:pt>
              </c:strCache>
            </c:strRef>
          </c:tx>
          <c:spPr>
            <a:solidFill>
              <a:schemeClr val="accent5"/>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D$2:$D$12</c:f>
              <c:numCache>
                <c:formatCode>0.00%</c:formatCode>
                <c:ptCount val="11"/>
                <c:pt idx="0">
                  <c:v>0.1696</c:v>
                </c:pt>
                <c:pt idx="1">
                  <c:v>0.1711</c:v>
                </c:pt>
                <c:pt idx="2">
                  <c:v>0.16889999999999999</c:v>
                </c:pt>
                <c:pt idx="3">
                  <c:v>0.16980000000000001</c:v>
                </c:pt>
                <c:pt idx="4">
                  <c:v>0.1762</c:v>
                </c:pt>
                <c:pt idx="5">
                  <c:v>0.18160000000000001</c:v>
                </c:pt>
                <c:pt idx="6">
                  <c:v>0.1817</c:v>
                </c:pt>
                <c:pt idx="7">
                  <c:v>0.18210000000000001</c:v>
                </c:pt>
                <c:pt idx="8">
                  <c:v>0.18240000000000001</c:v>
                </c:pt>
                <c:pt idx="9">
                  <c:v>0.1825</c:v>
                </c:pt>
                <c:pt idx="10">
                  <c:v>0.1827</c:v>
                </c:pt>
              </c:numCache>
            </c:numRef>
          </c:val>
          <c:extLst>
            <c:ext xmlns:c16="http://schemas.microsoft.com/office/drawing/2014/chart" uri="{C3380CC4-5D6E-409C-BE32-E72D297353CC}">
              <c16:uniqueId val="{00000004-C57E-4734-A585-D63800D57428}"/>
            </c:ext>
          </c:extLst>
        </c:ser>
        <c:ser>
          <c:idx val="1"/>
          <c:order val="5"/>
          <c:tx>
            <c:strRef>
              <c:f>Sheet1!$C$1</c:f>
              <c:strCache>
                <c:ptCount val="1"/>
                <c:pt idx="0">
                  <c:v>Animal Husbandry</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22020000000000001</c:v>
                </c:pt>
                <c:pt idx="1">
                  <c:v>0.22040000000000001</c:v>
                </c:pt>
                <c:pt idx="2">
                  <c:v>0.22070000000000001</c:v>
                </c:pt>
                <c:pt idx="3">
                  <c:v>0.22090000000000001</c:v>
                </c:pt>
                <c:pt idx="4">
                  <c:v>0.2198</c:v>
                </c:pt>
                <c:pt idx="5">
                  <c:v>0.21940000000000001</c:v>
                </c:pt>
                <c:pt idx="6">
                  <c:v>0.21970000000000001</c:v>
                </c:pt>
                <c:pt idx="7">
                  <c:v>0.22009999999999999</c:v>
                </c:pt>
                <c:pt idx="8">
                  <c:v>0.2203</c:v>
                </c:pt>
                <c:pt idx="9">
                  <c:v>0.2205</c:v>
                </c:pt>
                <c:pt idx="10">
                  <c:v>0.22070000000000001</c:v>
                </c:pt>
              </c:numCache>
            </c:numRef>
          </c:val>
          <c:extLst>
            <c:ext xmlns:c16="http://schemas.microsoft.com/office/drawing/2014/chart" uri="{C3380CC4-5D6E-409C-BE32-E72D297353CC}">
              <c16:uniqueId val="{00000005-C57E-4734-A585-D63800D57428}"/>
            </c:ext>
          </c:extLst>
        </c:ser>
        <c:ser>
          <c:idx val="0"/>
          <c:order val="6"/>
          <c:tx>
            <c:strRef>
              <c:f>Sheet1!$B$1</c:f>
              <c:strCache>
                <c:ptCount val="1"/>
                <c:pt idx="0">
                  <c:v>Agricultur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0.34789999999999999</c:v>
                </c:pt>
                <c:pt idx="1">
                  <c:v>0.3594</c:v>
                </c:pt>
                <c:pt idx="2">
                  <c:v>0.35220000000000001</c:v>
                </c:pt>
                <c:pt idx="3">
                  <c:v>0.35670000000000002</c:v>
                </c:pt>
                <c:pt idx="4">
                  <c:v>0.35210000000000002</c:v>
                </c:pt>
                <c:pt idx="5">
                  <c:v>0.35049999999999998</c:v>
                </c:pt>
                <c:pt idx="6">
                  <c:v>0.3488</c:v>
                </c:pt>
                <c:pt idx="7">
                  <c:v>0.34710000000000002</c:v>
                </c:pt>
                <c:pt idx="8">
                  <c:v>0.34599999999999997</c:v>
                </c:pt>
                <c:pt idx="9">
                  <c:v>0.34520000000000001</c:v>
                </c:pt>
                <c:pt idx="10">
                  <c:v>0.3412</c:v>
                </c:pt>
              </c:numCache>
            </c:numRef>
          </c:val>
          <c:extLst>
            <c:ext xmlns:c16="http://schemas.microsoft.com/office/drawing/2014/chart" uri="{C3380CC4-5D6E-409C-BE32-E72D297353CC}">
              <c16:uniqueId val="{00000006-C57E-4734-A585-D63800D57428}"/>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1"/>
          <c:order val="0"/>
          <c:tx>
            <c:strRef>
              <c:f>Sheet1!$C$1</c:f>
              <c:strCache>
                <c:ptCount val="1"/>
                <c:pt idx="0">
                  <c:v>Column1</c:v>
                </c:pt>
              </c:strCache>
            </c:strRef>
          </c:tx>
          <c:spPr>
            <a:solidFill>
              <a:schemeClr val="accent6">
                <a:tint val="77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6</c:f>
              <c:numCache>
                <c:formatCode>0.00</c:formatCode>
                <c:ptCount val="5"/>
                <c:pt idx="0">
                  <c:v>2.9369999999999998</c:v>
                </c:pt>
                <c:pt idx="1">
                  <c:v>2.258</c:v>
                </c:pt>
                <c:pt idx="2">
                  <c:v>2.843</c:v>
                </c:pt>
                <c:pt idx="3">
                  <c:v>2.931</c:v>
                </c:pt>
                <c:pt idx="4">
                  <c:v>2.7610000000000001</c:v>
                </c:pt>
              </c:numCache>
            </c:numRef>
          </c:val>
          <c:extLst>
            <c:ext xmlns:c16="http://schemas.microsoft.com/office/drawing/2014/chart" uri="{C3380CC4-5D6E-409C-BE32-E72D297353CC}">
              <c16:uniqueId val="{00000001-F217-4371-BB91-1BF65206F149}"/>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Import</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00</c:formatCode>
                <c:ptCount val="6"/>
                <c:pt idx="0">
                  <c:v>19.928000000000001</c:v>
                </c:pt>
                <c:pt idx="1">
                  <c:v>19.59</c:v>
                </c:pt>
                <c:pt idx="2">
                  <c:v>19.5</c:v>
                </c:pt>
                <c:pt idx="3">
                  <c:v>19.097999999999999</c:v>
                </c:pt>
                <c:pt idx="4">
                  <c:v>18.515999999999998</c:v>
                </c:pt>
                <c:pt idx="5">
                  <c:v>17.672000000000001</c:v>
                </c:pt>
              </c:numCache>
            </c:numRef>
          </c:val>
          <c:extLst>
            <c:ext xmlns:c16="http://schemas.microsoft.com/office/drawing/2014/chart" uri="{C3380CC4-5D6E-409C-BE32-E72D297353CC}">
              <c16:uniqueId val="{00000000-2719-400A-BD40-F90C4EBE6D92}"/>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alue (USD Million)</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4.82</c:v>
                </c:pt>
                <c:pt idx="1">
                  <c:v>5.23</c:v>
                </c:pt>
                <c:pt idx="2">
                  <c:v>5.63</c:v>
                </c:pt>
                <c:pt idx="3">
                  <c:v>6.07</c:v>
                </c:pt>
                <c:pt idx="4">
                  <c:v>5.6</c:v>
                </c:pt>
                <c:pt idx="5">
                  <c:v>5.89</c:v>
                </c:pt>
                <c:pt idx="6">
                  <c:v>6.24</c:v>
                </c:pt>
                <c:pt idx="7">
                  <c:v>6.55</c:v>
                </c:pt>
                <c:pt idx="8">
                  <c:v>6.9</c:v>
                </c:pt>
                <c:pt idx="9">
                  <c:v>7.28</c:v>
                </c:pt>
                <c:pt idx="10">
                  <c:v>7.69</c:v>
                </c:pt>
              </c:numCache>
            </c:numRef>
          </c:val>
          <c:extLst>
            <c:ext xmlns:c16="http://schemas.microsoft.com/office/drawing/2014/chart" uri="{C3380CC4-5D6E-409C-BE32-E72D297353CC}">
              <c16:uniqueId val="{00000000-EA03-4B5A-974B-609E866BCAFE}"/>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olume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1.92</c:v>
                </c:pt>
                <c:pt idx="1">
                  <c:v>2.0099999999999998</c:v>
                </c:pt>
                <c:pt idx="2">
                  <c:v>2.1</c:v>
                </c:pt>
                <c:pt idx="3">
                  <c:v>2.2000000000000002</c:v>
                </c:pt>
                <c:pt idx="4">
                  <c:v>2.17</c:v>
                </c:pt>
                <c:pt idx="5">
                  <c:v>2.263744</c:v>
                </c:pt>
                <c:pt idx="6">
                  <c:v>2.3640278592000001</c:v>
                </c:pt>
                <c:pt idx="7">
                  <c:v>2.4706455156499203</c:v>
                </c:pt>
                <c:pt idx="8">
                  <c:v>2.5857775966792067</c:v>
                </c:pt>
                <c:pt idx="9">
                  <c:v>2.7080848770021331</c:v>
                </c:pt>
                <c:pt idx="10">
                  <c:v>2.8378021426105353</c:v>
                </c:pt>
              </c:numCache>
            </c:numRef>
          </c:val>
          <c:extLst>
            <c:ext xmlns:c16="http://schemas.microsoft.com/office/drawing/2014/chart" uri="{C3380CC4-5D6E-409C-BE32-E72D297353CC}">
              <c16:uniqueId val="{00000000-511A-4F62-B32F-8331D6628D20}"/>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Production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6</c:f>
              <c:numCache>
                <c:formatCode>0.00</c:formatCode>
                <c:ptCount val="5"/>
                <c:pt idx="0">
                  <c:v>0.88400000000000001</c:v>
                </c:pt>
                <c:pt idx="1">
                  <c:v>0.77700000000000002</c:v>
                </c:pt>
                <c:pt idx="2">
                  <c:v>1.129</c:v>
                </c:pt>
                <c:pt idx="3">
                  <c:v>0.93600000000000005</c:v>
                </c:pt>
                <c:pt idx="4">
                  <c:v>1.024</c:v>
                </c:pt>
              </c:numCache>
            </c:numRef>
          </c:val>
          <c:extLst>
            <c:ext xmlns:c16="http://schemas.microsoft.com/office/drawing/2014/chart" uri="{C3380CC4-5D6E-409C-BE32-E72D297353CC}">
              <c16:uniqueId val="{00000000-0531-40ED-BBE9-623B9E604F7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421192032691065"/>
          <c:y val="1.3568986400843431E-2"/>
          <c:w val="0.44296597739319959"/>
          <c:h val="0.98643107429007348"/>
        </c:manualLayout>
      </c:layout>
      <c:barChart>
        <c:barDir val="bar"/>
        <c:grouping val="clustered"/>
        <c:varyColors val="0"/>
        <c:dLbls>
          <c:dLblPos val="outEnd"/>
          <c:showLegendKey val="0"/>
          <c:showVal val="1"/>
          <c:showCatName val="0"/>
          <c:showSerName val="0"/>
          <c:showPercent val="0"/>
          <c:showBubbleSize val="0"/>
        </c:dLbls>
        <c:gapWidth val="182"/>
        <c:axId val="-1783730448"/>
        <c:axId val="-1783715760"/>
      </c:barChart>
      <c:catAx>
        <c:axId val="-1783730448"/>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1783715760"/>
        <c:crosses val="autoZero"/>
        <c:auto val="1"/>
        <c:lblAlgn val="ctr"/>
        <c:lblOffset val="100"/>
        <c:noMultiLvlLbl val="0"/>
      </c:catAx>
      <c:valAx>
        <c:axId val="-1783715760"/>
        <c:scaling>
          <c:orientation val="minMax"/>
        </c:scaling>
        <c:delete val="1"/>
        <c:axPos val="b"/>
        <c:numFmt formatCode="0.00%" sourceLinked="1"/>
        <c:majorTickMark val="out"/>
        <c:minorTickMark val="none"/>
        <c:tickLblPos val="nextTo"/>
        <c:crossAx val="-1783730448"/>
        <c:crosses val="autoZero"/>
        <c:crossBetween val="between"/>
      </c:valAx>
      <c:spPr>
        <a:noFill/>
        <a:ln>
          <a:noFill/>
        </a:ln>
        <a:effectLst/>
      </c:spPr>
    </c:plotArea>
    <c:plotVisOnly val="1"/>
    <c:dispBlanksAs val="gap"/>
    <c:showDLblsOverMax val="0"/>
  </c:chart>
  <c:spPr>
    <a:noFill/>
    <a:ln>
      <a:noFill/>
    </a:ln>
    <a:effectLst/>
  </c:spPr>
  <c:txPr>
    <a:bodyPr/>
    <a:lstStyle/>
    <a:p>
      <a:pPr>
        <a:defRPr sz="1000">
          <a:solidFill>
            <a:srgbClr val="002060"/>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
          <c:w val="1"/>
          <c:h val="0.91651169732773696"/>
        </c:manualLayout>
      </c:layout>
      <c:lineChart>
        <c:grouping val="stacked"/>
        <c:varyColors val="0"/>
        <c:ser>
          <c:idx val="0"/>
          <c:order val="0"/>
          <c:tx>
            <c:strRef>
              <c:f>Sheet1!$B$1</c:f>
              <c:strCache>
                <c:ptCount val="1"/>
                <c:pt idx="0">
                  <c:v>singapore</c:v>
                </c:pt>
              </c:strCache>
            </c:strRef>
          </c:tx>
          <c:spPr>
            <a:ln w="28575" cap="rnd">
              <a:solidFill>
                <a:schemeClr val="accent6">
                  <a:shade val="58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0</c:formatCode>
                <c:ptCount val="6"/>
                <c:pt idx="0">
                  <c:v>2.9889999999999999</c:v>
                </c:pt>
                <c:pt idx="1">
                  <c:v>3.3290000000000002</c:v>
                </c:pt>
                <c:pt idx="2">
                  <c:v>4.5199999999999996</c:v>
                </c:pt>
                <c:pt idx="3">
                  <c:v>3.4790000000000001</c:v>
                </c:pt>
                <c:pt idx="4">
                  <c:v>1.345</c:v>
                </c:pt>
                <c:pt idx="5">
                  <c:v>-5.391</c:v>
                </c:pt>
              </c:numCache>
            </c:numRef>
          </c:val>
          <c:smooth val="0"/>
          <c:extLst>
            <c:ext xmlns:c16="http://schemas.microsoft.com/office/drawing/2014/chart" uri="{C3380CC4-5D6E-409C-BE32-E72D297353CC}">
              <c16:uniqueId val="{00000000-F90F-4FCD-AC20-DD3CA3D246C4}"/>
            </c:ext>
          </c:extLst>
        </c:ser>
        <c:ser>
          <c:idx val="1"/>
          <c:order val="1"/>
          <c:tx>
            <c:strRef>
              <c:f>Sheet1!$C$1</c:f>
              <c:strCache>
                <c:ptCount val="1"/>
                <c:pt idx="0">
                  <c:v>Cambodia</c:v>
                </c:pt>
              </c:strCache>
            </c:strRef>
          </c:tx>
          <c:spPr>
            <a:ln w="28575" cap="rnd">
              <a:solidFill>
                <a:schemeClr val="accent6">
                  <a:shade val="86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C$2:$C$7</c:f>
              <c:numCache>
                <c:formatCode>0.0</c:formatCode>
                <c:ptCount val="6"/>
                <c:pt idx="0">
                  <c:v>7.1159999999999997</c:v>
                </c:pt>
                <c:pt idx="1">
                  <c:v>7.0229999999999997</c:v>
                </c:pt>
                <c:pt idx="2">
                  <c:v>6.8410000000000002</c:v>
                </c:pt>
                <c:pt idx="3">
                  <c:v>7.4690000000000003</c:v>
                </c:pt>
                <c:pt idx="4">
                  <c:v>7.0540000000000003</c:v>
                </c:pt>
                <c:pt idx="5">
                  <c:v>-3.141</c:v>
                </c:pt>
              </c:numCache>
            </c:numRef>
          </c:val>
          <c:smooth val="0"/>
          <c:extLst>
            <c:ext xmlns:c16="http://schemas.microsoft.com/office/drawing/2014/chart" uri="{C3380CC4-5D6E-409C-BE32-E72D297353CC}">
              <c16:uniqueId val="{00000002-F90F-4FCD-AC20-DD3CA3D246C4}"/>
            </c:ext>
          </c:extLst>
        </c:ser>
        <c:ser>
          <c:idx val="2"/>
          <c:order val="2"/>
          <c:tx>
            <c:strRef>
              <c:f>Sheet1!$D$1</c:f>
              <c:strCache>
                <c:ptCount val="1"/>
                <c:pt idx="0">
                  <c:v>Laos</c:v>
                </c:pt>
              </c:strCache>
            </c:strRef>
          </c:tx>
          <c:spPr>
            <a:ln w="28575" cap="rnd">
              <a:solidFill>
                <a:schemeClr val="accent6">
                  <a:tint val="86000"/>
                </a:schemeClr>
              </a:solidFill>
              <a:round/>
            </a:ln>
            <a:effectLst/>
          </c:spPr>
          <c:marker>
            <c:symbol val="none"/>
          </c:marker>
          <c:dLbls>
            <c:dLbl>
              <c:idx val="0"/>
              <c:layout>
                <c:manualLayout>
                  <c:x val="0"/>
                  <c:y val="-0.1024612896003808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90F-4FCD-AC20-DD3CA3D246C4}"/>
                </c:ext>
              </c:extLst>
            </c:dLbl>
            <c:dLbl>
              <c:idx val="5"/>
              <c:layout>
                <c:manualLayout>
                  <c:x val="-0.12934023518258084"/>
                  <c:y val="1.842013276999624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90F-4FCD-AC20-DD3CA3D246C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D$2:$D$7</c:f>
              <c:numCache>
                <c:formatCode>0.0</c:formatCode>
                <c:ptCount val="6"/>
                <c:pt idx="0">
                  <c:v>7.27</c:v>
                </c:pt>
                <c:pt idx="1">
                  <c:v>7.0229999999999997</c:v>
                </c:pt>
                <c:pt idx="2">
                  <c:v>6.8929999999999998</c:v>
                </c:pt>
                <c:pt idx="3">
                  <c:v>6.2480000000000002</c:v>
                </c:pt>
                <c:pt idx="4">
                  <c:v>5.4580000000000002</c:v>
                </c:pt>
                <c:pt idx="5">
                  <c:v>0.44</c:v>
                </c:pt>
              </c:numCache>
            </c:numRef>
          </c:val>
          <c:smooth val="0"/>
          <c:extLst>
            <c:ext xmlns:c16="http://schemas.microsoft.com/office/drawing/2014/chart" uri="{C3380CC4-5D6E-409C-BE32-E72D297353CC}">
              <c16:uniqueId val="{00000003-F90F-4FCD-AC20-DD3CA3D246C4}"/>
            </c:ext>
          </c:extLst>
        </c:ser>
        <c:ser>
          <c:idx val="3"/>
          <c:order val="3"/>
          <c:tx>
            <c:strRef>
              <c:f>Sheet1!$E$1</c:f>
              <c:strCache>
                <c:ptCount val="1"/>
                <c:pt idx="0">
                  <c:v>Brunie</c:v>
                </c:pt>
              </c:strCache>
            </c:strRef>
          </c:tx>
          <c:spPr>
            <a:ln w="28575" cap="rnd">
              <a:solidFill>
                <a:schemeClr val="accent6">
                  <a:tint val="58000"/>
                </a:schemeClr>
              </a:solidFill>
              <a:round/>
            </a:ln>
            <a:effectLst/>
          </c:spPr>
          <c:marker>
            <c:symbol val="none"/>
          </c:marker>
          <c:dLbls>
            <c:dLbl>
              <c:idx val="2"/>
              <c:layout>
                <c:manualLayout>
                  <c:x val="1.6240184918162256E-2"/>
                  <c:y val="-7.04421366002618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90F-4FCD-AC20-DD3CA3D246C4}"/>
                </c:ext>
              </c:extLst>
            </c:dLbl>
            <c:dLbl>
              <c:idx val="3"/>
              <c:layout>
                <c:manualLayout>
                  <c:x val="3.248036983632332E-3"/>
                  <c:y val="-8.965362840033319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90F-4FCD-AC20-DD3CA3D246C4}"/>
                </c:ext>
              </c:extLst>
            </c:dLbl>
            <c:dLbl>
              <c:idx val="5"/>
              <c:layout>
                <c:manualLayout>
                  <c:x val="-0.22634541156951643"/>
                  <c:y val="6.140044256665340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90F-4FCD-AC20-DD3CA3D246C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E$2:$E$7</c:f>
              <c:numCache>
                <c:formatCode>0.0</c:formatCode>
                <c:ptCount val="6"/>
                <c:pt idx="0">
                  <c:v>-0.39200000000000002</c:v>
                </c:pt>
                <c:pt idx="1">
                  <c:v>-2.4780000000000002</c:v>
                </c:pt>
                <c:pt idx="2">
                  <c:v>1.329</c:v>
                </c:pt>
                <c:pt idx="3">
                  <c:v>5.1999999999999998E-2</c:v>
                </c:pt>
                <c:pt idx="4">
                  <c:v>3.8690000000000002</c:v>
                </c:pt>
                <c:pt idx="5">
                  <c:v>1.2030000000000001</c:v>
                </c:pt>
              </c:numCache>
            </c:numRef>
          </c:val>
          <c:smooth val="0"/>
          <c:extLst>
            <c:ext xmlns:c16="http://schemas.microsoft.com/office/drawing/2014/chart" uri="{C3380CC4-5D6E-409C-BE32-E72D297353CC}">
              <c16:uniqueId val="{00000004-F90F-4FCD-AC20-DD3CA3D246C4}"/>
            </c:ext>
          </c:extLst>
        </c:ser>
        <c:dLbls>
          <c:showLegendKey val="0"/>
          <c:showVal val="1"/>
          <c:showCatName val="0"/>
          <c:showSerName val="0"/>
          <c:showPercent val="0"/>
          <c:showBubbleSize val="0"/>
        </c:dLbls>
        <c:smooth val="0"/>
        <c:axId val="491033592"/>
        <c:axId val="491040480"/>
      </c:line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 sourceLinked="1"/>
        <c:majorTickMark val="out"/>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264900848420111E-2"/>
          <c:y val="0.13553754939856505"/>
          <c:w val="0.95436780434666446"/>
          <c:h val="0.61803309893123881"/>
        </c:manualLayout>
      </c:layout>
      <c:barChart>
        <c:barDir val="col"/>
        <c:grouping val="clustered"/>
        <c:varyColors val="0"/>
        <c:ser>
          <c:idx val="0"/>
          <c:order val="0"/>
          <c:tx>
            <c:strRef>
              <c:f>Sheet1!$B$1</c:f>
              <c:strCache>
                <c:ptCount val="1"/>
                <c:pt idx="0">
                  <c:v>Malaysia</c:v>
                </c:pt>
              </c:strCache>
            </c:strRef>
          </c:tx>
          <c:spPr>
            <a:solidFill>
              <a:schemeClr val="accent6"/>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Sheet1!$B$2:$B$5</c:f>
              <c:numCache>
                <c:formatCode>General</c:formatCode>
                <c:ptCount val="4"/>
                <c:pt idx="0">
                  <c:v>2143</c:v>
                </c:pt>
                <c:pt idx="1">
                  <c:v>2169.4</c:v>
                </c:pt>
                <c:pt idx="2">
                  <c:v>2106.5</c:v>
                </c:pt>
                <c:pt idx="3">
                  <c:v>2167</c:v>
                </c:pt>
              </c:numCache>
            </c:numRef>
          </c:val>
          <c:extLst>
            <c:ext xmlns:c16="http://schemas.microsoft.com/office/drawing/2014/chart" uri="{C3380CC4-5D6E-409C-BE32-E72D297353CC}">
              <c16:uniqueId val="{00000000-B610-4F7D-B9F4-095E1D86F22E}"/>
            </c:ext>
          </c:extLst>
        </c:ser>
        <c:ser>
          <c:idx val="1"/>
          <c:order val="1"/>
          <c:tx>
            <c:strRef>
              <c:f>Sheet1!$C$1</c:f>
              <c:strCache>
                <c:ptCount val="1"/>
                <c:pt idx="0">
                  <c:v>Vietnam</c:v>
                </c:pt>
              </c:strCache>
            </c:strRef>
          </c:tx>
          <c:spPr>
            <a:solidFill>
              <a:schemeClr val="accent5"/>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Sheet1!$C$2:$C$5</c:f>
              <c:numCache>
                <c:formatCode>0.00</c:formatCode>
                <c:ptCount val="4"/>
                <c:pt idx="0">
                  <c:v>424.7</c:v>
                </c:pt>
                <c:pt idx="1">
                  <c:v>458</c:v>
                </c:pt>
                <c:pt idx="2">
                  <c:v>415.3</c:v>
                </c:pt>
                <c:pt idx="3">
                  <c:v>461</c:v>
                </c:pt>
              </c:numCache>
            </c:numRef>
          </c:val>
          <c:extLst>
            <c:ext xmlns:c16="http://schemas.microsoft.com/office/drawing/2014/chart" uri="{C3380CC4-5D6E-409C-BE32-E72D297353CC}">
              <c16:uniqueId val="{00000001-B610-4F7D-B9F4-095E1D86F22E}"/>
            </c:ext>
          </c:extLst>
        </c:ser>
        <c:ser>
          <c:idx val="2"/>
          <c:order val="2"/>
          <c:tx>
            <c:strRef>
              <c:f>Sheet1!$D$1</c:f>
              <c:strCache>
                <c:ptCount val="1"/>
                <c:pt idx="0">
                  <c:v>Indonesia</c:v>
                </c:pt>
              </c:strCache>
            </c:strRef>
          </c:tx>
          <c:spPr>
            <a:solidFill>
              <a:schemeClr val="accent4"/>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Sheet1!$D$2:$D$5</c:f>
              <c:numCache>
                <c:formatCode>0.00</c:formatCode>
                <c:ptCount val="4"/>
                <c:pt idx="0">
                  <c:v>216</c:v>
                </c:pt>
                <c:pt idx="1">
                  <c:v>221.5</c:v>
                </c:pt>
                <c:pt idx="2">
                  <c:v>236.4</c:v>
                </c:pt>
                <c:pt idx="3">
                  <c:v>253</c:v>
                </c:pt>
              </c:numCache>
            </c:numRef>
          </c:val>
          <c:extLst>
            <c:ext xmlns:c16="http://schemas.microsoft.com/office/drawing/2014/chart" uri="{C3380CC4-5D6E-409C-BE32-E72D297353CC}">
              <c16:uniqueId val="{00000002-B610-4F7D-B9F4-095E1D86F22E}"/>
            </c:ext>
          </c:extLst>
        </c:ser>
        <c:dLbls>
          <c:dLblPos val="outEnd"/>
          <c:showLegendKey val="0"/>
          <c:showVal val="1"/>
          <c:showCatName val="0"/>
          <c:showSerName val="0"/>
          <c:showPercent val="0"/>
          <c:showBubbleSize val="0"/>
        </c:dLbls>
        <c:gapWidth val="444"/>
        <c:overlap val="-90"/>
        <c:axId val="816580464"/>
        <c:axId val="725122576"/>
      </c:barChart>
      <c:catAx>
        <c:axId val="816580464"/>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725122576"/>
        <c:crosses val="autoZero"/>
        <c:auto val="1"/>
        <c:lblAlgn val="ctr"/>
        <c:lblOffset val="100"/>
        <c:noMultiLvlLbl val="0"/>
      </c:catAx>
      <c:valAx>
        <c:axId val="725122576"/>
        <c:scaling>
          <c:orientation val="minMax"/>
        </c:scaling>
        <c:delete val="1"/>
        <c:axPos val="l"/>
        <c:numFmt formatCode="General" sourceLinked="1"/>
        <c:majorTickMark val="none"/>
        <c:minorTickMark val="none"/>
        <c:tickLblPos val="nextTo"/>
        <c:crossAx val="816580464"/>
        <c:crosses val="autoZero"/>
        <c:crossBetween val="between"/>
      </c:valAx>
      <c:spPr>
        <a:noFill/>
        <a:ln w="25400">
          <a:noFill/>
        </a:ln>
        <a:effectLst/>
      </c:spPr>
    </c:plotArea>
    <c:legend>
      <c:legendPos val="t"/>
      <c:layout>
        <c:manualLayout>
          <c:xMode val="edge"/>
          <c:yMode val="edge"/>
          <c:x val="3.6608723584489224E-2"/>
          <c:y val="0.83785590219570805"/>
          <c:w val="0.93516036665552293"/>
          <c:h val="0.1611426074655372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99E-4D57-BB84-A7E3B1D11BF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99E-4D57-BB84-A7E3B1D11BF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99E-4D57-BB84-A7E3B1D11BF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99E-4D57-BB84-A7E3B1D11BF9}"/>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99E-4D57-BB84-A7E3B1D11BF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Indonesia</c:v>
                </c:pt>
                <c:pt idx="1">
                  <c:v>Phillippines</c:v>
                </c:pt>
                <c:pt idx="2">
                  <c:v>Sri Lanka</c:v>
                </c:pt>
                <c:pt idx="3">
                  <c:v>Thailand</c:v>
                </c:pt>
                <c:pt idx="4">
                  <c:v>Vietnam</c:v>
                </c:pt>
              </c:strCache>
            </c:strRef>
          </c:cat>
          <c:val>
            <c:numRef>
              <c:f>Sheet1!$B$2:$B$6</c:f>
              <c:numCache>
                <c:formatCode>General</c:formatCode>
                <c:ptCount val="5"/>
                <c:pt idx="0">
                  <c:v>209142</c:v>
                </c:pt>
                <c:pt idx="1">
                  <c:v>203265</c:v>
                </c:pt>
                <c:pt idx="2">
                  <c:v>157253</c:v>
                </c:pt>
                <c:pt idx="3">
                  <c:v>91596</c:v>
                </c:pt>
                <c:pt idx="4">
                  <c:v>58998</c:v>
                </c:pt>
              </c:numCache>
            </c:numRef>
          </c:val>
          <c:extLst>
            <c:ext xmlns:c16="http://schemas.microsoft.com/office/drawing/2014/chart" uri="{C3380CC4-5D6E-409C-BE32-E72D297353CC}">
              <c16:uniqueId val="{0000000A-499E-4D57-BB84-A7E3B1D11BF9}"/>
            </c:ext>
          </c:extLst>
        </c:ser>
        <c:dLbls>
          <c:dLblPos val="outEnd"/>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0.10263041416376857"/>
          <c:y val="0.73787225148968749"/>
          <c:w val="0.83970913689535265"/>
          <c:h val="0.2275065709813649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576544031856405E-2"/>
          <c:y val="0.18711524323051645"/>
          <c:w val="0.9343804120221415"/>
          <c:h val="0.61764143626492463"/>
        </c:manualLayout>
      </c:layout>
      <c:lineChart>
        <c:grouping val="standard"/>
        <c:varyColors val="0"/>
        <c:ser>
          <c:idx val="0"/>
          <c:order val="0"/>
          <c:tx>
            <c:strRef>
              <c:f>Sheet1!$B$1</c:f>
              <c:strCache>
                <c:ptCount val="1"/>
                <c:pt idx="0">
                  <c:v>Sulphuric Acid</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c:formatCode>
                <c:ptCount val="6"/>
                <c:pt idx="0">
                  <c:v>71</c:v>
                </c:pt>
                <c:pt idx="1">
                  <c:v>62</c:v>
                </c:pt>
                <c:pt idx="2">
                  <c:v>58</c:v>
                </c:pt>
                <c:pt idx="3">
                  <c:v>67</c:v>
                </c:pt>
                <c:pt idx="4">
                  <c:v>142</c:v>
                </c:pt>
                <c:pt idx="5">
                  <c:v>145</c:v>
                </c:pt>
              </c:numCache>
            </c:numRef>
          </c:val>
          <c:smooth val="0"/>
          <c:extLst>
            <c:ext xmlns:c16="http://schemas.microsoft.com/office/drawing/2014/chart" uri="{C3380CC4-5D6E-409C-BE32-E72D297353CC}">
              <c16:uniqueId val="{00000000-4B39-4E4D-B7A6-00EAE7BBF16F}"/>
            </c:ext>
          </c:extLst>
        </c:ser>
        <c:dLbls>
          <c:dLblPos val="t"/>
          <c:showLegendKey val="0"/>
          <c:showVal val="1"/>
          <c:showCatName val="0"/>
          <c:showSerName val="0"/>
          <c:showPercent val="0"/>
          <c:showBubbleSize val="0"/>
        </c:dLbls>
        <c:marker val="1"/>
        <c:smooth val="0"/>
        <c:axId val="540857216"/>
        <c:axId val="540860168"/>
      </c:lineChart>
      <c:catAx>
        <c:axId val="54085721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40860168"/>
        <c:crosses val="autoZero"/>
        <c:auto val="1"/>
        <c:lblAlgn val="ctr"/>
        <c:lblOffset val="100"/>
        <c:noMultiLvlLbl val="0"/>
      </c:catAx>
      <c:valAx>
        <c:axId val="540860168"/>
        <c:scaling>
          <c:orientation val="minMax"/>
          <c:max val="150"/>
        </c:scaling>
        <c:delete val="1"/>
        <c:axPos val="l"/>
        <c:numFmt formatCode="0" sourceLinked="1"/>
        <c:majorTickMark val="out"/>
        <c:minorTickMark val="none"/>
        <c:tickLblPos val="nextTo"/>
        <c:crossAx val="5408572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1223431028178421E-2"/>
          <c:w val="0.94255221549210899"/>
          <c:h val="0.82236169830432404"/>
        </c:manualLayout>
      </c:layout>
      <c:barChart>
        <c:barDir val="col"/>
        <c:grouping val="percentStacked"/>
        <c:varyColors val="0"/>
        <c:ser>
          <c:idx val="0"/>
          <c:order val="0"/>
          <c:tx>
            <c:strRef>
              <c:f>Sheet1!$B$1</c:f>
              <c:strCache>
                <c:ptCount val="1"/>
                <c:pt idx="0">
                  <c:v>Raw material</c:v>
                </c:pt>
              </c:strCache>
            </c:strRef>
          </c:tx>
          <c:spPr>
            <a:solidFill>
              <a:schemeClr val="accent5">
                <a:lumMod val="75000"/>
              </a:schemeClr>
            </a:solidFill>
            <a:ln>
              <a:noFill/>
            </a:ln>
            <a:effectLst/>
          </c:spPr>
          <c:invertIfNegative val="0"/>
          <c:cat>
            <c:strRef>
              <c:f>Sheet1!$A$2</c:f>
              <c:strCache>
                <c:ptCount val="1"/>
                <c:pt idx="0">
                  <c:v>Costing and Margins Per Piece</c:v>
                </c:pt>
              </c:strCache>
            </c:strRef>
          </c:cat>
          <c:val>
            <c:numRef>
              <c:f>Sheet1!$B$2</c:f>
              <c:numCache>
                <c:formatCode>General</c:formatCode>
                <c:ptCount val="1"/>
                <c:pt idx="0">
                  <c:v>50</c:v>
                </c:pt>
              </c:numCache>
            </c:numRef>
          </c:val>
          <c:extLst>
            <c:ext xmlns:c16="http://schemas.microsoft.com/office/drawing/2014/chart" uri="{C3380CC4-5D6E-409C-BE32-E72D297353CC}">
              <c16:uniqueId val="{00000000-BC06-4203-99FB-9F49F6C02515}"/>
            </c:ext>
          </c:extLst>
        </c:ser>
        <c:ser>
          <c:idx val="1"/>
          <c:order val="1"/>
          <c:tx>
            <c:strRef>
              <c:f>Sheet1!$C$1</c:f>
              <c:strCache>
                <c:ptCount val="1"/>
                <c:pt idx="0">
                  <c:v>Variable Cost</c:v>
                </c:pt>
              </c:strCache>
            </c:strRef>
          </c:tx>
          <c:spPr>
            <a:solidFill>
              <a:schemeClr val="accent4">
                <a:lumMod val="60000"/>
                <a:lumOff val="40000"/>
              </a:schemeClr>
            </a:solidFill>
            <a:ln>
              <a:noFill/>
            </a:ln>
            <a:effectLst/>
          </c:spPr>
          <c:invertIfNegative val="0"/>
          <c:cat>
            <c:strRef>
              <c:f>Sheet1!$A$2</c:f>
              <c:strCache>
                <c:ptCount val="1"/>
                <c:pt idx="0">
                  <c:v>Costing and Margins Per Piece</c:v>
                </c:pt>
              </c:strCache>
            </c:strRef>
          </c:cat>
          <c:val>
            <c:numRef>
              <c:f>Sheet1!$C$2</c:f>
              <c:numCache>
                <c:formatCode>General</c:formatCode>
                <c:ptCount val="1"/>
                <c:pt idx="0">
                  <c:v>21</c:v>
                </c:pt>
              </c:numCache>
            </c:numRef>
          </c:val>
          <c:extLst>
            <c:ext xmlns:c16="http://schemas.microsoft.com/office/drawing/2014/chart" uri="{C3380CC4-5D6E-409C-BE32-E72D297353CC}">
              <c16:uniqueId val="{00000001-BC06-4203-99FB-9F49F6C02515}"/>
            </c:ext>
          </c:extLst>
        </c:ser>
        <c:ser>
          <c:idx val="3"/>
          <c:order val="2"/>
          <c:tx>
            <c:strRef>
              <c:f>Sheet1!$E$1</c:f>
              <c:strCache>
                <c:ptCount val="1"/>
                <c:pt idx="0">
                  <c:v>Profit Margins</c:v>
                </c:pt>
              </c:strCache>
            </c:strRef>
          </c:tx>
          <c:spPr>
            <a:solidFill>
              <a:schemeClr val="accent2">
                <a:lumMod val="60000"/>
                <a:lumOff val="40000"/>
              </a:schemeClr>
            </a:solidFill>
            <a:ln>
              <a:noFill/>
            </a:ln>
            <a:effectLst/>
          </c:spPr>
          <c:invertIfNegative val="0"/>
          <c:cat>
            <c:strRef>
              <c:f>Sheet1!$A$2</c:f>
              <c:strCache>
                <c:ptCount val="1"/>
                <c:pt idx="0">
                  <c:v>Costing and Margins Per Piece</c:v>
                </c:pt>
              </c:strCache>
            </c:strRef>
          </c:cat>
          <c:val>
            <c:numRef>
              <c:f>Sheet1!$E$2</c:f>
              <c:numCache>
                <c:formatCode>General</c:formatCode>
                <c:ptCount val="1"/>
                <c:pt idx="0">
                  <c:v>17</c:v>
                </c:pt>
              </c:numCache>
            </c:numRef>
          </c:val>
          <c:extLst>
            <c:ext xmlns:c16="http://schemas.microsoft.com/office/drawing/2014/chart" uri="{C3380CC4-5D6E-409C-BE32-E72D297353CC}">
              <c16:uniqueId val="{00000003-BC06-4203-99FB-9F49F6C02515}"/>
            </c:ext>
          </c:extLst>
        </c:ser>
        <c:dLbls>
          <c:showLegendKey val="0"/>
          <c:showVal val="0"/>
          <c:showCatName val="0"/>
          <c:showSerName val="0"/>
          <c:showPercent val="0"/>
          <c:showBubbleSize val="0"/>
        </c:dLbls>
        <c:gapWidth val="150"/>
        <c:overlap val="100"/>
        <c:axId val="591790304"/>
        <c:axId val="591792928"/>
      </c:barChart>
      <c:catAx>
        <c:axId val="59179030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91792928"/>
        <c:crosses val="autoZero"/>
        <c:auto val="1"/>
        <c:lblAlgn val="ctr"/>
        <c:lblOffset val="100"/>
        <c:noMultiLvlLbl val="0"/>
      </c:catAx>
      <c:valAx>
        <c:axId val="591792928"/>
        <c:scaling>
          <c:orientation val="minMax"/>
        </c:scaling>
        <c:delete val="1"/>
        <c:axPos val="l"/>
        <c:numFmt formatCode="0%" sourceLinked="1"/>
        <c:majorTickMark val="out"/>
        <c:minorTickMark val="none"/>
        <c:tickLblPos val="nextTo"/>
        <c:crossAx val="591790304"/>
        <c:crosses val="autoZero"/>
        <c:crossBetween val="between"/>
      </c:valAx>
      <c:spPr>
        <a:noFill/>
        <a:ln>
          <a:noFill/>
        </a:ln>
        <a:effectLst/>
      </c:spPr>
    </c:plotArea>
    <c:legend>
      <c:legendPos val="b"/>
      <c:layout>
        <c:manualLayout>
          <c:xMode val="edge"/>
          <c:yMode val="edge"/>
          <c:x val="8.8423738294238344E-2"/>
          <c:y val="0.90699785220905149"/>
          <c:w val="0.89999983982689913"/>
          <c:h val="6.9297788348600731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22533582986131576"/>
          <c:y val="0.14581762118305583"/>
          <c:w val="0.45723535635361678"/>
          <c:h val="0.75851023638933646"/>
        </c:manualLayout>
      </c:layout>
      <c:pieChart>
        <c:varyColors val="1"/>
        <c:ser>
          <c:idx val="0"/>
          <c:order val="0"/>
          <c:tx>
            <c:strRef>
              <c:f>Sheet1!$B$1</c:f>
              <c:strCache>
                <c:ptCount val="1"/>
                <c:pt idx="0">
                  <c:v>Region</c:v>
                </c:pt>
              </c:strCache>
            </c:strRef>
          </c:tx>
          <c:spPr>
            <a:ln w="3175">
              <a:noFill/>
            </a:ln>
          </c:spPr>
          <c:dPt>
            <c:idx val="0"/>
            <c:bubble3D val="0"/>
            <c:explosion val="2"/>
            <c:spPr>
              <a:solidFill>
                <a:schemeClr val="accent4">
                  <a:lumMod val="60000"/>
                  <a:lumOff val="40000"/>
                </a:schemeClr>
              </a:solidFill>
              <a:ln w="3175">
                <a:noFill/>
              </a:ln>
              <a:effectLst/>
            </c:spPr>
            <c:extLst>
              <c:ext xmlns:c16="http://schemas.microsoft.com/office/drawing/2014/chart" uri="{C3380CC4-5D6E-409C-BE32-E72D297353CC}">
                <c16:uniqueId val="{00000001-0320-4D2C-AC3B-38BA47A1E556}"/>
              </c:ext>
            </c:extLst>
          </c:dPt>
          <c:dPt>
            <c:idx val="1"/>
            <c:bubble3D val="0"/>
            <c:spPr>
              <a:solidFill>
                <a:schemeClr val="tx2">
                  <a:lumMod val="75000"/>
                </a:schemeClr>
              </a:solidFill>
              <a:ln w="3175">
                <a:noFill/>
              </a:ln>
              <a:effectLst/>
            </c:spPr>
            <c:extLst>
              <c:ext xmlns:c16="http://schemas.microsoft.com/office/drawing/2014/chart" uri="{C3380CC4-5D6E-409C-BE32-E72D297353CC}">
                <c16:uniqueId val="{00000003-0320-4D2C-AC3B-38BA47A1E556}"/>
              </c:ext>
            </c:extLst>
          </c:dPt>
          <c:dPt>
            <c:idx val="2"/>
            <c:bubble3D val="0"/>
            <c:spPr>
              <a:solidFill>
                <a:schemeClr val="accent6">
                  <a:tint val="30000"/>
                </a:schemeClr>
              </a:solidFill>
              <a:ln w="3175">
                <a:noFill/>
              </a:ln>
              <a:effectLst/>
            </c:spPr>
            <c:extLst>
              <c:ext xmlns:c16="http://schemas.microsoft.com/office/drawing/2014/chart" uri="{C3380CC4-5D6E-409C-BE32-E72D297353CC}">
                <c16:uniqueId val="{00000005-0320-4D2C-AC3B-38BA47A1E556}"/>
              </c:ext>
            </c:extLst>
          </c:dPt>
          <c:dPt>
            <c:idx val="3"/>
            <c:bubble3D val="0"/>
            <c:spPr>
              <a:solidFill>
                <a:schemeClr val="accent6">
                  <a:tint val="77000"/>
                </a:schemeClr>
              </a:solidFill>
              <a:ln w="3175">
                <a:noFill/>
              </a:ln>
              <a:effectLst/>
            </c:spPr>
            <c:extLst>
              <c:ext xmlns:c16="http://schemas.microsoft.com/office/drawing/2014/chart" uri="{C3380CC4-5D6E-409C-BE32-E72D297353CC}">
                <c16:uniqueId val="{00000008-8BE9-4415-95E2-B525628CAA88}"/>
              </c:ext>
            </c:extLst>
          </c:dPt>
          <c:dPt>
            <c:idx val="4"/>
            <c:bubble3D val="0"/>
            <c:spPr>
              <a:solidFill>
                <a:schemeClr val="accent6">
                  <a:tint val="54000"/>
                </a:schemeClr>
              </a:solidFill>
              <a:ln w="3175">
                <a:noFill/>
              </a:ln>
              <a:effectLst/>
            </c:spPr>
            <c:extLst>
              <c:ext xmlns:c16="http://schemas.microsoft.com/office/drawing/2014/chart" uri="{C3380CC4-5D6E-409C-BE32-E72D297353CC}">
                <c16:uniqueId val="{00000007-8BE9-4415-95E2-B525628CAA88}"/>
              </c:ext>
            </c:extLst>
          </c:dPt>
          <c:dLbls>
            <c:dLbl>
              <c:idx val="0"/>
              <c:layout>
                <c:manualLayout>
                  <c:x val="4.7409452245481327E-2"/>
                  <c:y val="-2.3124344791264097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2877136669794883"/>
                      <c:h val="0.24253353403160477"/>
                    </c:manualLayout>
                  </c15:layout>
                </c:ext>
                <c:ext xmlns:c16="http://schemas.microsoft.com/office/drawing/2014/chart" uri="{C3380CC4-5D6E-409C-BE32-E72D297353CC}">
                  <c16:uniqueId val="{00000001-0320-4D2C-AC3B-38BA47A1E556}"/>
                </c:ext>
              </c:extLst>
            </c:dLbl>
            <c:dLbl>
              <c:idx val="1"/>
              <c:layout>
                <c:manualLayout>
                  <c:x val="0.26982919649389525"/>
                  <c:y val="-3.4686517186896144E-2"/>
                </c:manualLayout>
              </c:layout>
              <c:tx>
                <c:rich>
                  <a:bodyPr/>
                  <a:lstStyle/>
                  <a:p>
                    <a:fld id="{D36699DD-E8D0-4E86-ADC5-29444B4AC2C3}" type="CATEGORYNAME">
                      <a:rPr lang="en-US"/>
                      <a:pPr/>
                      <a:t>[CATEGORY NAME]</a:t>
                    </a:fld>
                    <a:r>
                      <a:rPr lang="en-US" dirty="0"/>
                      <a:t>, </a:t>
                    </a:r>
                    <a:fld id="{69B684B7-BF83-41D2-B01A-6A157980D80B}" type="VALUE">
                      <a:rPr lang="en-US"/>
                      <a:pPr/>
                      <a:t>[VALUE]</a:t>
                    </a:fld>
                    <a:endParaRPr lang="en-US" dirty="0"/>
                  </a:p>
                </c:rich>
              </c:tx>
              <c:dLblPos val="bestFit"/>
              <c:showLegendKey val="0"/>
              <c:showVal val="1"/>
              <c:showCatName val="1"/>
              <c:showSerName val="0"/>
              <c:showPercent val="0"/>
              <c:showBubbleSize val="0"/>
              <c:extLst>
                <c:ext xmlns:c15="http://schemas.microsoft.com/office/drawing/2012/chart" uri="{CE6537A1-D6FC-4f65-9D91-7224C49458BB}">
                  <c15:layout>
                    <c:manualLayout>
                      <c:w val="0.27390900394658008"/>
                      <c:h val="0.29404789379552893"/>
                    </c:manualLayout>
                  </c15:layout>
                  <c15:dlblFieldTable/>
                  <c15:showDataLabelsRange val="0"/>
                </c:ext>
                <c:ext xmlns:c16="http://schemas.microsoft.com/office/drawing/2014/chart" uri="{C3380CC4-5D6E-409C-BE32-E72D297353CC}">
                  <c16:uniqueId val="{00000003-0320-4D2C-AC3B-38BA47A1E556}"/>
                </c:ext>
              </c:extLst>
            </c:dLbl>
            <c:dLbl>
              <c:idx val="2"/>
              <c:layout>
                <c:manualLayout>
                  <c:x val="1.2497878485127151E-7"/>
                  <c:y val="6.9373034373792178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32457065413146113"/>
                      <c:h val="0.23872608530789291"/>
                    </c:manualLayout>
                  </c15:layout>
                </c:ext>
                <c:ext xmlns:c16="http://schemas.microsoft.com/office/drawing/2014/chart" uri="{C3380CC4-5D6E-409C-BE32-E72D297353CC}">
                  <c16:uniqueId val="{00000005-0320-4D2C-AC3B-38BA47A1E556}"/>
                </c:ext>
              </c:extLst>
            </c:dLbl>
            <c:dLbl>
              <c:idx val="3"/>
              <c:layout>
                <c:manualLayout>
                  <c:x val="-0.13478637001369018"/>
                  <c:y val="8.6916582567794609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8-8BE9-4415-95E2-B525628CAA88}"/>
                </c:ext>
              </c:extLst>
            </c:dLbl>
            <c:dLbl>
              <c:idx val="4"/>
              <c:layout>
                <c:manualLayout>
                  <c:x val="-0.11315029273780776"/>
                  <c:y val="1.4452715494540061E-3"/>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BE9-4415-95E2-B525628CAA88}"/>
                </c:ext>
              </c:extLst>
            </c:dLbl>
            <c:numFmt formatCode="0.00%" sourceLinked="0"/>
            <c:spPr>
              <a:noFill/>
              <a:ln>
                <a:noFill/>
              </a:ln>
              <a:effectLst/>
            </c:spPr>
            <c:txPr>
              <a:bodyPr rot="0" spcFirstLastPara="1" vertOverflow="ellipsis" vert="horz" wrap="square" anchor="ctr" anchorCtr="1"/>
              <a:lstStyle/>
              <a:p>
                <a:pPr>
                  <a:defRPr sz="900" b="0" i="0" u="none" strike="noStrike" kern="1200" baseline="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Asia Pacific</c:v>
                </c:pt>
                <c:pt idx="1">
                  <c:v>Europe</c:v>
                </c:pt>
                <c:pt idx="2">
                  <c:v>North America</c:v>
                </c:pt>
                <c:pt idx="3">
                  <c:v>MEA</c:v>
                </c:pt>
                <c:pt idx="4">
                  <c:v>South Africa</c:v>
                </c:pt>
              </c:strCache>
            </c:strRef>
          </c:cat>
          <c:val>
            <c:numRef>
              <c:f>Sheet1!$B$2:$B$6</c:f>
              <c:numCache>
                <c:formatCode>0.00%</c:formatCode>
                <c:ptCount val="5"/>
                <c:pt idx="0">
                  <c:v>0.37040000000000001</c:v>
                </c:pt>
                <c:pt idx="1">
                  <c:v>0.23949999999999999</c:v>
                </c:pt>
                <c:pt idx="2">
                  <c:v>0.21199999999999999</c:v>
                </c:pt>
                <c:pt idx="3">
                  <c:v>9.2799999999999994E-2</c:v>
                </c:pt>
                <c:pt idx="4">
                  <c:v>8.5300000000000042E-2</c:v>
                </c:pt>
              </c:numCache>
            </c:numRef>
          </c:val>
          <c:extLst>
            <c:ext xmlns:c16="http://schemas.microsoft.com/office/drawing/2014/chart" uri="{C3380CC4-5D6E-409C-BE32-E72D297353CC}">
              <c16:uniqueId val="{00000006-0320-4D2C-AC3B-38BA47A1E556}"/>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8084880948663447"/>
          <c:y val="4.4139369189330091E-2"/>
          <c:w val="0.61915119051336553"/>
          <c:h val="0.92117969787619625"/>
        </c:manualLayout>
      </c:layout>
      <c:barChart>
        <c:barDir val="bar"/>
        <c:grouping val="clustered"/>
        <c:varyColors val="0"/>
        <c:dLbls>
          <c:dLblPos val="outEnd"/>
          <c:showLegendKey val="0"/>
          <c:showVal val="1"/>
          <c:showCatName val="0"/>
          <c:showSerName val="0"/>
          <c:showPercent val="0"/>
          <c:showBubbleSize val="0"/>
        </c:dLbls>
        <c:gapWidth val="182"/>
        <c:axId val="-1783726096"/>
        <c:axId val="-1783717936"/>
      </c:barChart>
      <c:catAx>
        <c:axId val="-1783726096"/>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1783717936"/>
        <c:crosses val="autoZero"/>
        <c:auto val="1"/>
        <c:lblAlgn val="ctr"/>
        <c:lblOffset val="100"/>
        <c:noMultiLvlLbl val="0"/>
      </c:catAx>
      <c:valAx>
        <c:axId val="-1783717936"/>
        <c:scaling>
          <c:orientation val="minMax"/>
          <c:max val="1.2"/>
        </c:scaling>
        <c:delete val="1"/>
        <c:axPos val="b"/>
        <c:numFmt formatCode="0.00%" sourceLinked="1"/>
        <c:majorTickMark val="out"/>
        <c:minorTickMark val="none"/>
        <c:tickLblPos val="nextTo"/>
        <c:crossAx val="-1783726096"/>
        <c:crosses val="autoZero"/>
        <c:crossBetween val="between"/>
      </c:valAx>
      <c:spPr>
        <a:noFill/>
        <a:ln>
          <a:noFill/>
        </a:ln>
        <a:effectLst/>
      </c:spPr>
    </c:plotArea>
    <c:plotVisOnly val="1"/>
    <c:dispBlanksAs val="gap"/>
    <c:showDLblsOverMax val="0"/>
  </c:chart>
  <c:spPr>
    <a:noFill/>
    <a:ln>
      <a:noFill/>
    </a:ln>
    <a:effectLst/>
  </c:spPr>
  <c:txPr>
    <a:bodyPr/>
    <a:lstStyle/>
    <a:p>
      <a:pPr>
        <a:defRPr sz="10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297965242587158E-4"/>
          <c:y val="0"/>
          <c:w val="0.99929735330727565"/>
          <c:h val="0.76327981459883765"/>
        </c:manualLayout>
      </c:layout>
      <c:barChart>
        <c:barDir val="bar"/>
        <c:grouping val="clustered"/>
        <c:varyColors val="0"/>
        <c:ser>
          <c:idx val="0"/>
          <c:order val="0"/>
          <c:tx>
            <c:strRef>
              <c:f>Sheet1!$B$1</c:f>
              <c:strCache>
                <c:ptCount val="1"/>
                <c:pt idx="0">
                  <c:v>Column1</c:v>
                </c:pt>
              </c:strCache>
            </c:strRef>
          </c:tx>
          <c:spPr>
            <a:solidFill>
              <a:srgbClr val="002060"/>
            </a:solidFill>
            <a:ln>
              <a:noFill/>
            </a:ln>
            <a:effectLst/>
          </c:spPr>
          <c:invertIfNegative val="0"/>
          <c:dLbls>
            <c:dLbl>
              <c:idx val="0"/>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4.1284025921913145E-2"/>
                      <c:h val="3.8231211097103805E-2"/>
                    </c:manualLayout>
                  </c15:layout>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6</c:f>
              <c:strCache>
                <c:ptCount val="5"/>
                <c:pt idx="0">
                  <c:v>Limited acces to rural geography</c:v>
                </c:pt>
                <c:pt idx="1">
                  <c:v>Credit Period</c:v>
                </c:pt>
                <c:pt idx="2">
                  <c:v>Supply Chain Management</c:v>
                </c:pt>
                <c:pt idx="3">
                  <c:v>After Sales Support</c:v>
                </c:pt>
                <c:pt idx="4">
                  <c:v>Product Quality</c:v>
                </c:pt>
              </c:strCache>
            </c:strRef>
          </c:cat>
          <c:val>
            <c:numRef>
              <c:f>Sheet1!$B$2:$B$6</c:f>
              <c:numCache>
                <c:formatCode>0%</c:formatCode>
                <c:ptCount val="5"/>
                <c:pt idx="0">
                  <c:v>0.79</c:v>
                </c:pt>
                <c:pt idx="1">
                  <c:v>0.82</c:v>
                </c:pt>
                <c:pt idx="2">
                  <c:v>0.84</c:v>
                </c:pt>
                <c:pt idx="3">
                  <c:v>0.85</c:v>
                </c:pt>
                <c:pt idx="4">
                  <c:v>0.88</c:v>
                </c:pt>
              </c:numCache>
            </c:numRef>
          </c:val>
          <c:extLst>
            <c:ext xmlns:c16="http://schemas.microsoft.com/office/drawing/2014/chart" uri="{C3380CC4-5D6E-409C-BE32-E72D297353CC}">
              <c16:uniqueId val="{00000001-2E16-4589-B3BA-9919A322FD6D}"/>
            </c:ext>
          </c:extLst>
        </c:ser>
        <c:dLbls>
          <c:dLblPos val="outEnd"/>
          <c:showLegendKey val="0"/>
          <c:showVal val="1"/>
          <c:showCatName val="0"/>
          <c:showSerName val="0"/>
          <c:showPercent val="0"/>
          <c:showBubbleSize val="0"/>
        </c:dLbls>
        <c:gapWidth val="267"/>
        <c:axId val="1088162360"/>
        <c:axId val="1088160720"/>
      </c:barChart>
      <c:catAx>
        <c:axId val="1088162360"/>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88160720"/>
        <c:crosses val="autoZero"/>
        <c:auto val="1"/>
        <c:lblAlgn val="ctr"/>
        <c:lblOffset val="100"/>
        <c:noMultiLvlLbl val="0"/>
      </c:catAx>
      <c:valAx>
        <c:axId val="1088160720"/>
        <c:scaling>
          <c:orientation val="minMax"/>
          <c:min val="0.1"/>
        </c:scaling>
        <c:delete val="1"/>
        <c:axPos val="b"/>
        <c:majorGridlines>
          <c:spPr>
            <a:ln w="9525" cap="flat" cmpd="sng" algn="ctr">
              <a:solidFill>
                <a:schemeClr val="dk1">
                  <a:lumMod val="15000"/>
                  <a:lumOff val="85000"/>
                </a:schemeClr>
              </a:solidFill>
              <a:round/>
            </a:ln>
            <a:effectLst/>
          </c:spPr>
        </c:majorGridlines>
        <c:numFmt formatCode="0%" sourceLinked="1"/>
        <c:majorTickMark val="none"/>
        <c:minorTickMark val="none"/>
        <c:tickLblPos val="nextTo"/>
        <c:crossAx val="1088162360"/>
        <c:crosses val="autoZero"/>
        <c:crossBetween val="between"/>
      </c:valAx>
      <c:spPr>
        <a:pattFill prst="ltDnDiag">
          <a:fgClr>
            <a:schemeClr val="dk1">
              <a:lumMod val="15000"/>
              <a:lumOff val="85000"/>
            </a:schemeClr>
          </a:fgClr>
          <a:bgClr>
            <a:schemeClr val="lt1"/>
          </a:bgClr>
        </a:pattFill>
        <a:ln>
          <a:noFill/>
        </a:ln>
        <a:effectLst/>
      </c:spPr>
    </c:plotArea>
    <c:plotVisOnly val="1"/>
    <c:dispBlanksAs val="gap"/>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9">
  <a:schemeClr val="accent6"/>
</cs:colorStyle>
</file>

<file path=ppt/charts/colors10.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withinLinear" id="19">
  <a:schemeClr val="accent6"/>
</cs:colorStyle>
</file>

<file path=ppt/charts/colors12.xml><?xml version="1.0" encoding="utf-8"?>
<cs:colorStyle xmlns:cs="http://schemas.microsoft.com/office/drawing/2012/chartStyle" xmlns:a="http://schemas.openxmlformats.org/drawingml/2006/main" meth="withinLinear" id="19">
  <a:schemeClr val="accent6"/>
</cs:colorStyle>
</file>

<file path=ppt/charts/colors13.xml><?xml version="1.0" encoding="utf-8"?>
<cs:colorStyle xmlns:cs="http://schemas.microsoft.com/office/drawing/2012/chartStyle" xmlns:a="http://schemas.openxmlformats.org/drawingml/2006/main" meth="withinLinear" id="19">
  <a:schemeClr val="accent6"/>
</cs:colorStyle>
</file>

<file path=ppt/charts/colors14.xml><?xml version="1.0" encoding="utf-8"?>
<cs:colorStyle xmlns:cs="http://schemas.microsoft.com/office/drawing/2012/chartStyle" xmlns:a="http://schemas.openxmlformats.org/drawingml/2006/main" meth="withinLinear" id="19">
  <a:schemeClr val="accent6"/>
</cs:colorStyle>
</file>

<file path=ppt/charts/colors1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9">
  <a:schemeClr val="accent6"/>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withinLinear" id="19">
  <a:schemeClr val="accent6"/>
</cs:colorStyle>
</file>

<file path=ppt/charts/colors24.xml><?xml version="1.0" encoding="utf-8"?>
<cs:colorStyle xmlns:cs="http://schemas.microsoft.com/office/drawing/2012/chartStyle" xmlns:a="http://schemas.openxmlformats.org/drawingml/2006/main" meth="withinLinear" id="19">
  <a:schemeClr val="accent6"/>
</cs:colorStyle>
</file>

<file path=ppt/charts/colors25.xml><?xml version="1.0" encoding="utf-8"?>
<cs:colorStyle xmlns:cs="http://schemas.microsoft.com/office/drawing/2012/chartStyle" xmlns:a="http://schemas.openxmlformats.org/drawingml/2006/main" meth="withinLinear" id="19">
  <a:schemeClr val="accent6"/>
</cs:colorStyle>
</file>

<file path=ppt/charts/colors26.xml><?xml version="1.0" encoding="utf-8"?>
<cs:colorStyle xmlns:cs="http://schemas.microsoft.com/office/drawing/2012/chartStyle" xmlns:a="http://schemas.openxmlformats.org/drawingml/2006/main" meth="withinLinear" id="19">
  <a:schemeClr val="accent6"/>
</cs:colorStyle>
</file>

<file path=ppt/charts/colors27.xml><?xml version="1.0" encoding="utf-8"?>
<cs:colorStyle xmlns:cs="http://schemas.microsoft.com/office/drawing/2012/chartStyle" xmlns:a="http://schemas.openxmlformats.org/drawingml/2006/main" meth="withinLinear" id="19">
  <a:schemeClr val="accent6"/>
</cs:colorStyle>
</file>

<file path=ppt/charts/colors28.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 id="19">
  <a:schemeClr val="accent6"/>
</cs:colorStyle>
</file>

<file path=ppt/charts/colors30.xml><?xml version="1.0" encoding="utf-8"?>
<cs:colorStyle xmlns:cs="http://schemas.microsoft.com/office/drawing/2012/chartStyle" xmlns:a="http://schemas.openxmlformats.org/drawingml/2006/main" meth="withinLinear" id="19">
  <a:schemeClr val="accent6"/>
</cs:colorStyle>
</file>

<file path=ppt/charts/colors31.xml><?xml version="1.0" encoding="utf-8"?>
<cs:colorStyle xmlns:cs="http://schemas.microsoft.com/office/drawing/2012/chartStyle" xmlns:a="http://schemas.openxmlformats.org/drawingml/2006/main" meth="withinLinear" id="19">
  <a:schemeClr val="accent6"/>
</cs:colorStyle>
</file>

<file path=ppt/charts/colors32.xml><?xml version="1.0" encoding="utf-8"?>
<cs:colorStyle xmlns:cs="http://schemas.microsoft.com/office/drawing/2012/chartStyle" xmlns:a="http://schemas.openxmlformats.org/drawingml/2006/main" meth="withinLinear" id="19">
  <a:schemeClr val="accent6"/>
</cs:colorStyle>
</file>

<file path=ppt/charts/colors33.xml><?xml version="1.0" encoding="utf-8"?>
<cs:colorStyle xmlns:cs="http://schemas.microsoft.com/office/drawing/2012/chartStyle" xmlns:a="http://schemas.openxmlformats.org/drawingml/2006/main" meth="withinLinear" id="19">
  <a:schemeClr val="accent6"/>
</cs:colorStyle>
</file>

<file path=ppt/charts/colors34.xml><?xml version="1.0" encoding="utf-8"?>
<cs:colorStyle xmlns:cs="http://schemas.microsoft.com/office/drawing/2012/chartStyle" xmlns:a="http://schemas.openxmlformats.org/drawingml/2006/main" meth="withinLinear" id="19">
  <a:schemeClr val="accent6"/>
</cs:colorStyle>
</file>

<file path=ppt/charts/colors35.xml><?xml version="1.0" encoding="utf-8"?>
<cs:colorStyle xmlns:cs="http://schemas.microsoft.com/office/drawing/2012/chartStyle" xmlns:a="http://schemas.openxmlformats.org/drawingml/2006/main" meth="withinLinear" id="19">
  <a:schemeClr val="accent6"/>
</cs:colorStyle>
</file>

<file path=ppt/charts/colors36.xml><?xml version="1.0" encoding="utf-8"?>
<cs:colorStyle xmlns:cs="http://schemas.microsoft.com/office/drawing/2012/chartStyle" xmlns:a="http://schemas.openxmlformats.org/drawingml/2006/main" meth="withinLinear" id="19">
  <a:schemeClr val="accent6"/>
</cs:colorStyle>
</file>

<file path=ppt/charts/colors37.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withinLinear" id="19">
  <a:schemeClr val="accent6"/>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withinLinear" id="19">
  <a:schemeClr val="accent6"/>
</cs:colorStyle>
</file>

<file path=ppt/charts/colors41.xml><?xml version="1.0" encoding="utf-8"?>
<cs:colorStyle xmlns:cs="http://schemas.microsoft.com/office/drawing/2012/chartStyle" xmlns:a="http://schemas.openxmlformats.org/drawingml/2006/main" meth="withinLinear" id="19">
  <a:schemeClr val="accent6"/>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withinLinear" id="19">
  <a:schemeClr val="accent6"/>
</cs:colorStyle>
</file>

<file path=ppt/charts/colors44.xml><?xml version="1.0" encoding="utf-8"?>
<cs:colorStyle xmlns:cs="http://schemas.microsoft.com/office/drawing/2012/chartStyle" xmlns:a="http://schemas.openxmlformats.org/drawingml/2006/main" meth="withinLinear" id="19">
  <a:schemeClr val="accent6"/>
</cs:colorStyle>
</file>

<file path=ppt/charts/colors45.xml><?xml version="1.0" encoding="utf-8"?>
<cs:colorStyle xmlns:cs="http://schemas.microsoft.com/office/drawing/2012/chartStyle" xmlns:a="http://schemas.openxmlformats.org/drawingml/2006/main" meth="withinLinear" id="19">
  <a:schemeClr val="accent6"/>
</cs:colorStyle>
</file>

<file path=ppt/charts/colors46.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withinLinear" id="19">
  <a:schemeClr val="accent6"/>
</cs:colorStyle>
</file>

<file path=ppt/charts/colors49.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5.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withinLinear" id="19">
  <a:schemeClr val="accent6"/>
</cs:colorStyle>
</file>

<file path=ppt/charts/colors51.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52.xml><?xml version="1.0" encoding="utf-8"?>
<cs:colorStyle xmlns:cs="http://schemas.microsoft.com/office/drawing/2012/chartStyle" xmlns:a="http://schemas.openxmlformats.org/drawingml/2006/main" meth="withinLinear" id="19">
  <a:schemeClr val="accent6"/>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withinLinear" id="19">
  <a:schemeClr val="accent6"/>
</cs:colorStyle>
</file>

<file path=ppt/charts/colors57.xml><?xml version="1.0" encoding="utf-8"?>
<cs:colorStyle xmlns:cs="http://schemas.microsoft.com/office/drawing/2012/chartStyle" xmlns:a="http://schemas.openxmlformats.org/drawingml/2006/main" meth="withinLinear" id="19">
  <a:schemeClr val="accent6"/>
</cs:colorStyle>
</file>

<file path=ppt/charts/colors58.xml><?xml version="1.0" encoding="utf-8"?>
<cs:colorStyle xmlns:cs="http://schemas.microsoft.com/office/drawing/2012/chartStyle" xmlns:a="http://schemas.openxmlformats.org/drawingml/2006/main" meth="withinLinear" id="19">
  <a:schemeClr val="accent6"/>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withinLinear" id="19">
  <a:schemeClr val="accent6"/>
</cs:colorStyle>
</file>

<file path=ppt/charts/colors61.xml><?xml version="1.0" encoding="utf-8"?>
<cs:colorStyle xmlns:cs="http://schemas.microsoft.com/office/drawing/2012/chartStyle" xmlns:a="http://schemas.openxmlformats.org/drawingml/2006/main" meth="withinLinear" id="19">
  <a:schemeClr val="accent6"/>
</cs:colorStyle>
</file>

<file path=ppt/charts/colors62.xml><?xml version="1.0" encoding="utf-8"?>
<cs:colorStyle xmlns:cs="http://schemas.microsoft.com/office/drawing/2012/chartStyle" xmlns:a="http://schemas.openxmlformats.org/drawingml/2006/main" meth="withinLinear" id="19">
  <a:schemeClr val="accent6"/>
</cs:colorStyle>
</file>

<file path=ppt/charts/colors6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withinLinear" id="19">
  <a:schemeClr val="accent6"/>
</cs:colorStyle>
</file>

<file path=ppt/charts/colors66.xml><?xml version="1.0" encoding="utf-8"?>
<cs:colorStyle xmlns:cs="http://schemas.microsoft.com/office/drawing/2012/chartStyle" xmlns:a="http://schemas.openxmlformats.org/drawingml/2006/main" meth="withinLinear" id="19">
  <a:schemeClr val="accent6"/>
</cs:colorStyle>
</file>

<file path=ppt/charts/colors67.xml><?xml version="1.0" encoding="utf-8"?>
<cs:colorStyle xmlns:cs="http://schemas.microsoft.com/office/drawing/2012/chartStyle" xmlns:a="http://schemas.openxmlformats.org/drawingml/2006/main" meth="withinLinear" id="19">
  <a:schemeClr val="accent6"/>
</cs:colorStyle>
</file>

<file path=ppt/charts/colors68.xml><?xml version="1.0" encoding="utf-8"?>
<cs:colorStyle xmlns:cs="http://schemas.microsoft.com/office/drawing/2012/chartStyle" xmlns:a="http://schemas.openxmlformats.org/drawingml/2006/main" meth="withinLinear" id="19">
  <a:schemeClr val="accent6"/>
</cs:colorStyle>
</file>

<file path=ppt/charts/colors69.xml><?xml version="1.0" encoding="utf-8"?>
<cs:colorStyle xmlns:cs="http://schemas.microsoft.com/office/drawing/2012/chartStyle" xmlns:a="http://schemas.openxmlformats.org/drawingml/2006/main" meth="withinLinear" id="19">
  <a:schemeClr val="accent6"/>
</cs:colorStyle>
</file>

<file path=ppt/charts/colors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withinLinear" id="19">
  <a:schemeClr val="accent6"/>
</cs:colorStyle>
</file>

<file path=ppt/charts/colors7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withinLinear" id="19">
  <a:schemeClr val="accent6"/>
</cs:colorStyle>
</file>

<file path=ppt/charts/colors8.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44">
  <cs:axisTitle>
    <cs:lnRef idx="0"/>
    <cs:fillRef idx="0"/>
    <cs:effectRef idx="0"/>
    <cs:fontRef idx="minor">
      <a:schemeClr val="dk1">
        <a:lumMod val="50000"/>
        <a:lumOff val="50000"/>
      </a:schemeClr>
    </cs:fontRef>
    <cs:defRPr sz="1197" b="1" kern="1200"/>
  </cs:axisTitle>
  <cs:categoryAxis>
    <cs:lnRef idx="0"/>
    <cs:fillRef idx="0"/>
    <cs:effectRef idx="0"/>
    <cs:fontRef idx="minor">
      <a:schemeClr val="dk1">
        <a:lumMod val="50000"/>
        <a:lumOff val="50000"/>
      </a:schemeClr>
    </cs:fontRef>
    <cs:spPr>
      <a:ln w="9525" cap="flat" cmpd="sng" algn="ctr">
        <a:solidFill>
          <a:schemeClr val="dk1">
            <a:lumMod val="15000"/>
            <a:lumOff val="85000"/>
          </a:schemeClr>
        </a:solidFill>
        <a:round/>
      </a:ln>
    </cs:spPr>
    <cs:defRPr sz="1197" kern="1200"/>
  </cs:categoryAxis>
  <cs:chartArea>
    <cs:lnRef idx="0"/>
    <cs:fillRef idx="0"/>
    <cs:effectRef idx="0"/>
    <cs:fontRef idx="minor">
      <a:schemeClr val="dk1"/>
    </cs:fontRef>
    <cs:spPr>
      <a:gradFill flip="none" rotWithShape="1">
        <a:gsLst>
          <a:gs pos="100000">
            <a:schemeClr val="lt1">
              <a:lumMod val="95000"/>
            </a:schemeClr>
          </a:gs>
          <a:gs pos="43000">
            <a:schemeClr val="lt1"/>
          </a:gs>
        </a:gsLst>
        <a:path path="circle">
          <a:fillToRect l="50000" t="50000" r="50000" b="50000"/>
        </a:path>
        <a:tileRect/>
      </a:gra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dk1">
          <a:lumMod val="15000"/>
          <a:lumOff val="85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a:solidFill>
          <a:schemeClr val="phClr">
            <a:alpha val="20000"/>
          </a:schemeClr>
        </a:solidFill>
      </a:ln>
    </cs:spPr>
  </cs:dataPointLine>
  <cs:dataPointMarker>
    <cs:lnRef idx="0">
      <cs:styleClr val="auto"/>
    </cs:lnRef>
    <cs:fillRef idx="0">
      <cs:styleClr val="auto"/>
    </cs:fillRef>
    <cs:effectRef idx="0"/>
    <cs:fontRef idx="minor">
      <a:schemeClr val="tx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dk1">
        <a:lumMod val="50000"/>
        <a:lumOff val="50000"/>
      </a:schemeClr>
    </cs:fontRef>
    <cs:spPr>
      <a:ln w="9525" cap="rnd">
        <a:solidFill>
          <a:schemeClr val="dk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a:solidFill>
          <a:schemeClr val="dk1">
            <a:lumMod val="50000"/>
            <a:lumOff val="50000"/>
          </a:schemeClr>
        </a:solidFill>
      </a:ln>
    </cs:spPr>
  </cs:downBar>
  <cs:dropLine>
    <cs:lnRef idx="0"/>
    <cs:fillRef idx="0"/>
    <cs:effectRef idx="0"/>
    <cs:fontRef idx="minor">
      <a:schemeClr val="tx1"/>
    </cs:fontRef>
    <cs:spPr>
      <a:ln w="9525">
        <a:solidFill>
          <a:schemeClr val="dk1">
            <a:lumMod val="35000"/>
            <a:lumOff val="65000"/>
          </a:schemeClr>
        </a:solidFill>
      </a:ln>
    </cs:spPr>
  </cs:dropLine>
  <cs:errorBar>
    <cs:lnRef idx="0"/>
    <cs:fillRef idx="0"/>
    <cs:effectRef idx="0"/>
    <cs:fontRef idx="minor">
      <a:schemeClr val="tx1"/>
    </cs:fontRef>
    <cs:spPr>
      <a:ln w="9525">
        <a:solidFill>
          <a:schemeClr val="dk1">
            <a:lumMod val="50000"/>
            <a:lumOff val="50000"/>
          </a:schemeClr>
        </a:solidFill>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dk1">
            <a:lumMod val="15000"/>
            <a:lumOff val="85000"/>
          </a:schemeClr>
        </a:solidFill>
        <a:round/>
      </a:ln>
    </cs:spPr>
  </cs:gridlineMajor>
  <cs:gridlineMinor>
    <cs:lnRef idx="0"/>
    <cs:fillRef idx="0"/>
    <cs:effectRef idx="0"/>
    <cs:fontRef idx="minor">
      <a:schemeClr val="tx1"/>
    </cs:fontRef>
    <cs:spPr>
      <a:ln w="9525" cap="flat" cmpd="sng" algn="ctr">
        <a:solidFill>
          <a:schemeClr val="dk1">
            <a:lumMod val="5000"/>
            <a:lumOff val="95000"/>
          </a:schemeClr>
        </a:solidFill>
        <a:round/>
      </a:ln>
    </cs:spPr>
  </cs:gridlineMinor>
  <cs:hiLoLine>
    <cs:lnRef idx="0"/>
    <cs:fillRef idx="0"/>
    <cs:effectRef idx="0"/>
    <cs:fontRef idx="minor">
      <a:schemeClr val="tx1"/>
    </cs:fontRef>
    <cs:spPr>
      <a:ln w="9525">
        <a:solidFill>
          <a:schemeClr val="dk1">
            <a:lumMod val="35000"/>
            <a:lumOff val="65000"/>
          </a:schemeClr>
        </a:solidFill>
      </a:ln>
    </cs:spPr>
  </cs:hiLoLine>
  <cs:leaderLine>
    <cs:lnRef idx="0"/>
    <cs:fillRef idx="0"/>
    <cs:effectRef idx="0"/>
    <cs:fontRef idx="minor">
      <a:schemeClr val="tx1"/>
    </cs:fontRef>
    <cs:spPr>
      <a:ln w="9525">
        <a:solidFill>
          <a:schemeClr val="dk1">
            <a:lumMod val="35000"/>
            <a:lumOff val="65000"/>
          </a:schemeClr>
        </a:solidFill>
      </a:ln>
    </cs:spPr>
  </cs:leaderLine>
  <cs:legend>
    <cs:lnRef idx="0"/>
    <cs:fillRef idx="0"/>
    <cs:effectRef idx="0"/>
    <cs:fontRef idx="minor">
      <a:schemeClr val="dk1">
        <a:lumMod val="50000"/>
        <a:lumOff val="50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tx1">
        <a:lumMod val="50000"/>
        <a:lumOff val="50000"/>
      </a:schemeClr>
    </cs:fontRef>
    <cs:spPr>
      <a:ln w="9525">
        <a:solidFill>
          <a:schemeClr val="dk1">
            <a:lumMod val="15000"/>
            <a:lumOff val="85000"/>
          </a:schemeClr>
        </a:solidFill>
      </a:ln>
    </cs:spPr>
    <cs:defRPr sz="1197" kern="1200"/>
  </cs:seriesAxis>
  <cs:seriesLine>
    <cs:lnRef idx="0"/>
    <cs:fillRef idx="0"/>
    <cs:effectRef idx="0"/>
    <cs:fontRef idx="minor">
      <a:schemeClr val="tx1"/>
    </cs:fontRef>
    <cs:spPr>
      <a:ln w="9525">
        <a:solidFill>
          <a:schemeClr val="dk1">
            <a:lumMod val="35000"/>
            <a:lumOff val="65000"/>
          </a:schemeClr>
        </a:solidFill>
      </a:ln>
    </cs:spPr>
  </cs:seriesLine>
  <cs:title>
    <cs:lnRef idx="0"/>
    <cs:fillRef idx="0"/>
    <cs:effectRef idx="0"/>
    <cs:fontRef idx="minor">
      <a:schemeClr val="dk1">
        <a:lumMod val="50000"/>
        <a:lumOff val="50000"/>
      </a:schemeClr>
    </cs:fontRef>
    <cs:defRPr sz="2128" b="0" kern="1200" spc="70" baseline="0"/>
  </cs:title>
  <cs:trendline>
    <cs:lnRef idx="0">
      <cs:styleClr val="0"/>
    </cs:lnRef>
    <cs:fillRef idx="0"/>
    <cs:effectRef idx="0"/>
    <cs:fontRef idx="minor">
      <a:schemeClr val="tx1"/>
    </cs:fontRef>
    <cs:spPr>
      <a:ln w="63500" cap="rnd" cmpd="sng" algn="ctr">
        <a:solidFill>
          <a:schemeClr val="phClr">
            <a:alpha val="25000"/>
          </a:schemeClr>
        </a:solidFill>
        <a:round/>
      </a:ln>
    </cs:spPr>
  </cs:trendline>
  <cs:trendlineLabel>
    <cs:lnRef idx="0"/>
    <cs:fillRef idx="0"/>
    <cs:effectRef idx="0"/>
    <cs:fontRef idx="minor">
      <a:schemeClr val="dk1">
        <a:lumMod val="50000"/>
        <a:lumOff val="50000"/>
      </a:schemeClr>
    </cs:fontRef>
    <cs:defRPr sz="1197" kern="1200"/>
  </cs:trendlineLabel>
  <cs:upBar>
    <cs:lnRef idx="0"/>
    <cs:fillRef idx="0"/>
    <cs:effectRef idx="0"/>
    <cs:fontRef idx="minor">
      <a:schemeClr val="tx1"/>
    </cs:fontRef>
    <cs:spPr>
      <a:solidFill>
        <a:schemeClr val="lt1"/>
      </a:solidFill>
      <a:ln w="9525">
        <a:solidFill>
          <a:schemeClr val="dk1">
            <a:lumMod val="50000"/>
            <a:lumOff val="50000"/>
          </a:schemeClr>
        </a:solidFill>
      </a:ln>
    </cs:spPr>
  </cs:upBar>
  <cs:valueAxis>
    <cs:lnRef idx="0"/>
    <cs:fillRef idx="0"/>
    <cs:effectRef idx="0"/>
    <cs:fontRef idx="minor">
      <a:schemeClr val="dk1">
        <a:lumMod val="50000"/>
        <a:lumOff val="50000"/>
      </a:schemeClr>
    </cs:fontRef>
    <cs:defRPr sz="1197" kern="1200"/>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244">
  <cs:axisTitle>
    <cs:lnRef idx="0"/>
    <cs:fillRef idx="0"/>
    <cs:effectRef idx="0"/>
    <cs:fontRef idx="minor">
      <a:schemeClr val="dk1">
        <a:lumMod val="50000"/>
        <a:lumOff val="50000"/>
      </a:schemeClr>
    </cs:fontRef>
    <cs:defRPr sz="1197" b="1" kern="1200"/>
  </cs:axisTitle>
  <cs:categoryAxis>
    <cs:lnRef idx="0"/>
    <cs:fillRef idx="0"/>
    <cs:effectRef idx="0"/>
    <cs:fontRef idx="minor">
      <a:schemeClr val="dk1">
        <a:lumMod val="50000"/>
        <a:lumOff val="50000"/>
      </a:schemeClr>
    </cs:fontRef>
    <cs:spPr>
      <a:ln w="9525" cap="flat" cmpd="sng" algn="ctr">
        <a:solidFill>
          <a:schemeClr val="dk1">
            <a:lumMod val="15000"/>
            <a:lumOff val="85000"/>
          </a:schemeClr>
        </a:solidFill>
        <a:round/>
      </a:ln>
    </cs:spPr>
    <cs:defRPr sz="1197" kern="1200"/>
  </cs:categoryAxis>
  <cs:chartArea>
    <cs:lnRef idx="0"/>
    <cs:fillRef idx="0"/>
    <cs:effectRef idx="0"/>
    <cs:fontRef idx="minor">
      <a:schemeClr val="dk1"/>
    </cs:fontRef>
    <cs:spPr>
      <a:gradFill flip="none" rotWithShape="1">
        <a:gsLst>
          <a:gs pos="100000">
            <a:schemeClr val="lt1">
              <a:lumMod val="95000"/>
            </a:schemeClr>
          </a:gs>
          <a:gs pos="43000">
            <a:schemeClr val="lt1"/>
          </a:gs>
        </a:gsLst>
        <a:path path="circle">
          <a:fillToRect l="50000" t="50000" r="50000" b="50000"/>
        </a:path>
        <a:tileRect/>
      </a:gra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dk1">
          <a:lumMod val="15000"/>
          <a:lumOff val="85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a:solidFill>
          <a:schemeClr val="phClr">
            <a:alpha val="20000"/>
          </a:schemeClr>
        </a:solidFill>
      </a:ln>
    </cs:spPr>
  </cs:dataPointLine>
  <cs:dataPointMarker>
    <cs:lnRef idx="0">
      <cs:styleClr val="auto"/>
    </cs:lnRef>
    <cs:fillRef idx="0">
      <cs:styleClr val="auto"/>
    </cs:fillRef>
    <cs:effectRef idx="0"/>
    <cs:fontRef idx="minor">
      <a:schemeClr val="tx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dk1">
        <a:lumMod val="50000"/>
        <a:lumOff val="50000"/>
      </a:schemeClr>
    </cs:fontRef>
    <cs:spPr>
      <a:ln w="9525" cap="rnd">
        <a:solidFill>
          <a:schemeClr val="dk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a:solidFill>
          <a:schemeClr val="dk1">
            <a:lumMod val="50000"/>
            <a:lumOff val="50000"/>
          </a:schemeClr>
        </a:solidFill>
      </a:ln>
    </cs:spPr>
  </cs:downBar>
  <cs:dropLine>
    <cs:lnRef idx="0"/>
    <cs:fillRef idx="0"/>
    <cs:effectRef idx="0"/>
    <cs:fontRef idx="minor">
      <a:schemeClr val="tx1"/>
    </cs:fontRef>
    <cs:spPr>
      <a:ln w="9525">
        <a:solidFill>
          <a:schemeClr val="dk1">
            <a:lumMod val="35000"/>
            <a:lumOff val="65000"/>
          </a:schemeClr>
        </a:solidFill>
      </a:ln>
    </cs:spPr>
  </cs:dropLine>
  <cs:errorBar>
    <cs:lnRef idx="0"/>
    <cs:fillRef idx="0"/>
    <cs:effectRef idx="0"/>
    <cs:fontRef idx="minor">
      <a:schemeClr val="tx1"/>
    </cs:fontRef>
    <cs:spPr>
      <a:ln w="9525">
        <a:solidFill>
          <a:schemeClr val="dk1">
            <a:lumMod val="50000"/>
            <a:lumOff val="50000"/>
          </a:schemeClr>
        </a:solidFill>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dk1">
            <a:lumMod val="15000"/>
            <a:lumOff val="85000"/>
          </a:schemeClr>
        </a:solidFill>
        <a:round/>
      </a:ln>
    </cs:spPr>
  </cs:gridlineMajor>
  <cs:gridlineMinor>
    <cs:lnRef idx="0"/>
    <cs:fillRef idx="0"/>
    <cs:effectRef idx="0"/>
    <cs:fontRef idx="minor">
      <a:schemeClr val="tx1"/>
    </cs:fontRef>
    <cs:spPr>
      <a:ln w="9525" cap="flat" cmpd="sng" algn="ctr">
        <a:solidFill>
          <a:schemeClr val="dk1">
            <a:lumMod val="5000"/>
            <a:lumOff val="95000"/>
          </a:schemeClr>
        </a:solidFill>
        <a:round/>
      </a:ln>
    </cs:spPr>
  </cs:gridlineMinor>
  <cs:hiLoLine>
    <cs:lnRef idx="0"/>
    <cs:fillRef idx="0"/>
    <cs:effectRef idx="0"/>
    <cs:fontRef idx="minor">
      <a:schemeClr val="tx1"/>
    </cs:fontRef>
    <cs:spPr>
      <a:ln w="9525">
        <a:solidFill>
          <a:schemeClr val="dk1">
            <a:lumMod val="35000"/>
            <a:lumOff val="65000"/>
          </a:schemeClr>
        </a:solidFill>
      </a:ln>
    </cs:spPr>
  </cs:hiLoLine>
  <cs:leaderLine>
    <cs:lnRef idx="0"/>
    <cs:fillRef idx="0"/>
    <cs:effectRef idx="0"/>
    <cs:fontRef idx="minor">
      <a:schemeClr val="tx1"/>
    </cs:fontRef>
    <cs:spPr>
      <a:ln w="9525">
        <a:solidFill>
          <a:schemeClr val="dk1">
            <a:lumMod val="35000"/>
            <a:lumOff val="65000"/>
          </a:schemeClr>
        </a:solidFill>
      </a:ln>
    </cs:spPr>
  </cs:leaderLine>
  <cs:legend>
    <cs:lnRef idx="0"/>
    <cs:fillRef idx="0"/>
    <cs:effectRef idx="0"/>
    <cs:fontRef idx="minor">
      <a:schemeClr val="dk1">
        <a:lumMod val="50000"/>
        <a:lumOff val="50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tx1">
        <a:lumMod val="50000"/>
        <a:lumOff val="50000"/>
      </a:schemeClr>
    </cs:fontRef>
    <cs:spPr>
      <a:ln w="9525">
        <a:solidFill>
          <a:schemeClr val="dk1">
            <a:lumMod val="15000"/>
            <a:lumOff val="85000"/>
          </a:schemeClr>
        </a:solidFill>
      </a:ln>
    </cs:spPr>
    <cs:defRPr sz="1197" kern="1200"/>
  </cs:seriesAxis>
  <cs:seriesLine>
    <cs:lnRef idx="0"/>
    <cs:fillRef idx="0"/>
    <cs:effectRef idx="0"/>
    <cs:fontRef idx="minor">
      <a:schemeClr val="tx1"/>
    </cs:fontRef>
    <cs:spPr>
      <a:ln w="9525">
        <a:solidFill>
          <a:schemeClr val="dk1">
            <a:lumMod val="35000"/>
            <a:lumOff val="65000"/>
          </a:schemeClr>
        </a:solidFill>
      </a:ln>
    </cs:spPr>
  </cs:seriesLine>
  <cs:title>
    <cs:lnRef idx="0"/>
    <cs:fillRef idx="0"/>
    <cs:effectRef idx="0"/>
    <cs:fontRef idx="minor">
      <a:schemeClr val="dk1">
        <a:lumMod val="50000"/>
        <a:lumOff val="50000"/>
      </a:schemeClr>
    </cs:fontRef>
    <cs:defRPr sz="2128" b="0" kern="1200" spc="70" baseline="0"/>
  </cs:title>
  <cs:trendline>
    <cs:lnRef idx="0">
      <cs:styleClr val="0"/>
    </cs:lnRef>
    <cs:fillRef idx="0"/>
    <cs:effectRef idx="0"/>
    <cs:fontRef idx="minor">
      <a:schemeClr val="tx1"/>
    </cs:fontRef>
    <cs:spPr>
      <a:ln w="63500" cap="rnd" cmpd="sng" algn="ctr">
        <a:solidFill>
          <a:schemeClr val="phClr">
            <a:alpha val="25000"/>
          </a:schemeClr>
        </a:solidFill>
        <a:round/>
      </a:ln>
    </cs:spPr>
  </cs:trendline>
  <cs:trendlineLabel>
    <cs:lnRef idx="0"/>
    <cs:fillRef idx="0"/>
    <cs:effectRef idx="0"/>
    <cs:fontRef idx="minor">
      <a:schemeClr val="dk1">
        <a:lumMod val="50000"/>
        <a:lumOff val="50000"/>
      </a:schemeClr>
    </cs:fontRef>
    <cs:defRPr sz="1197" kern="1200"/>
  </cs:trendlineLabel>
  <cs:upBar>
    <cs:lnRef idx="0"/>
    <cs:fillRef idx="0"/>
    <cs:effectRef idx="0"/>
    <cs:fontRef idx="minor">
      <a:schemeClr val="tx1"/>
    </cs:fontRef>
    <cs:spPr>
      <a:solidFill>
        <a:schemeClr val="lt1"/>
      </a:solidFill>
      <a:ln w="9525">
        <a:solidFill>
          <a:schemeClr val="dk1">
            <a:lumMod val="50000"/>
            <a:lumOff val="50000"/>
          </a:schemeClr>
        </a:solidFill>
      </a:ln>
    </cs:spPr>
  </cs:upBar>
  <cs:valueAxis>
    <cs:lnRef idx="0"/>
    <cs:fillRef idx="0"/>
    <cs:effectRef idx="0"/>
    <cs:fontRef idx="minor">
      <a:schemeClr val="dk1">
        <a:lumMod val="50000"/>
        <a:lumOff val="50000"/>
      </a:schemeClr>
    </cs:fontRef>
    <cs:defRPr sz="1197" kern="1200"/>
  </cs:valueAxis>
  <cs:wall>
    <cs:lnRef idx="0"/>
    <cs:fillRef idx="0"/>
    <cs:effectRef idx="0"/>
    <cs:fontRef idx="minor">
      <a:schemeClr val="tx1"/>
    </cs:fontRef>
  </cs:wall>
</cs:chartStyle>
</file>

<file path=ppt/charts/style22.xml><?xml version="1.0" encoding="utf-8"?>
<cs:chartStyle xmlns:cs="http://schemas.microsoft.com/office/drawing/2012/chartStyle" xmlns:a="http://schemas.openxmlformats.org/drawingml/2006/main" id="244">
  <cs:axisTitle>
    <cs:lnRef idx="0"/>
    <cs:fillRef idx="0"/>
    <cs:effectRef idx="0"/>
    <cs:fontRef idx="minor">
      <a:schemeClr val="dk1">
        <a:lumMod val="50000"/>
        <a:lumOff val="50000"/>
      </a:schemeClr>
    </cs:fontRef>
    <cs:defRPr sz="1197" b="1" kern="1200"/>
  </cs:axisTitle>
  <cs:categoryAxis>
    <cs:lnRef idx="0"/>
    <cs:fillRef idx="0"/>
    <cs:effectRef idx="0"/>
    <cs:fontRef idx="minor">
      <a:schemeClr val="dk1">
        <a:lumMod val="50000"/>
        <a:lumOff val="50000"/>
      </a:schemeClr>
    </cs:fontRef>
    <cs:spPr>
      <a:ln w="9525" cap="flat" cmpd="sng" algn="ctr">
        <a:solidFill>
          <a:schemeClr val="dk1">
            <a:lumMod val="15000"/>
            <a:lumOff val="85000"/>
          </a:schemeClr>
        </a:solidFill>
        <a:round/>
      </a:ln>
    </cs:spPr>
    <cs:defRPr sz="1197" kern="1200"/>
  </cs:categoryAxis>
  <cs:chartArea>
    <cs:lnRef idx="0"/>
    <cs:fillRef idx="0"/>
    <cs:effectRef idx="0"/>
    <cs:fontRef idx="minor">
      <a:schemeClr val="dk1"/>
    </cs:fontRef>
    <cs:spPr>
      <a:gradFill flip="none" rotWithShape="1">
        <a:gsLst>
          <a:gs pos="100000">
            <a:schemeClr val="lt1">
              <a:lumMod val="95000"/>
            </a:schemeClr>
          </a:gs>
          <a:gs pos="43000">
            <a:schemeClr val="lt1"/>
          </a:gs>
        </a:gsLst>
        <a:path path="circle">
          <a:fillToRect l="50000" t="50000" r="50000" b="50000"/>
        </a:path>
        <a:tileRect/>
      </a:gra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dk1">
          <a:lumMod val="15000"/>
          <a:lumOff val="85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a:solidFill>
          <a:schemeClr val="phClr">
            <a:alpha val="20000"/>
          </a:schemeClr>
        </a:solidFill>
      </a:ln>
    </cs:spPr>
  </cs:dataPointLine>
  <cs:dataPointMarker>
    <cs:lnRef idx="0">
      <cs:styleClr val="auto"/>
    </cs:lnRef>
    <cs:fillRef idx="0">
      <cs:styleClr val="auto"/>
    </cs:fillRef>
    <cs:effectRef idx="0"/>
    <cs:fontRef idx="minor">
      <a:schemeClr val="tx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dk1">
        <a:lumMod val="50000"/>
        <a:lumOff val="50000"/>
      </a:schemeClr>
    </cs:fontRef>
    <cs:spPr>
      <a:ln w="9525" cap="rnd">
        <a:solidFill>
          <a:schemeClr val="dk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a:solidFill>
          <a:schemeClr val="dk1">
            <a:lumMod val="50000"/>
            <a:lumOff val="50000"/>
          </a:schemeClr>
        </a:solidFill>
      </a:ln>
    </cs:spPr>
  </cs:downBar>
  <cs:dropLine>
    <cs:lnRef idx="0"/>
    <cs:fillRef idx="0"/>
    <cs:effectRef idx="0"/>
    <cs:fontRef idx="minor">
      <a:schemeClr val="tx1"/>
    </cs:fontRef>
    <cs:spPr>
      <a:ln w="9525">
        <a:solidFill>
          <a:schemeClr val="dk1">
            <a:lumMod val="35000"/>
            <a:lumOff val="65000"/>
          </a:schemeClr>
        </a:solidFill>
      </a:ln>
    </cs:spPr>
  </cs:dropLine>
  <cs:errorBar>
    <cs:lnRef idx="0"/>
    <cs:fillRef idx="0"/>
    <cs:effectRef idx="0"/>
    <cs:fontRef idx="minor">
      <a:schemeClr val="tx1"/>
    </cs:fontRef>
    <cs:spPr>
      <a:ln w="9525">
        <a:solidFill>
          <a:schemeClr val="dk1">
            <a:lumMod val="50000"/>
            <a:lumOff val="50000"/>
          </a:schemeClr>
        </a:solidFill>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dk1">
            <a:lumMod val="15000"/>
            <a:lumOff val="85000"/>
          </a:schemeClr>
        </a:solidFill>
        <a:round/>
      </a:ln>
    </cs:spPr>
  </cs:gridlineMajor>
  <cs:gridlineMinor>
    <cs:lnRef idx="0"/>
    <cs:fillRef idx="0"/>
    <cs:effectRef idx="0"/>
    <cs:fontRef idx="minor">
      <a:schemeClr val="tx1"/>
    </cs:fontRef>
    <cs:spPr>
      <a:ln w="9525" cap="flat" cmpd="sng" algn="ctr">
        <a:solidFill>
          <a:schemeClr val="dk1">
            <a:lumMod val="5000"/>
            <a:lumOff val="95000"/>
          </a:schemeClr>
        </a:solidFill>
        <a:round/>
      </a:ln>
    </cs:spPr>
  </cs:gridlineMinor>
  <cs:hiLoLine>
    <cs:lnRef idx="0"/>
    <cs:fillRef idx="0"/>
    <cs:effectRef idx="0"/>
    <cs:fontRef idx="minor">
      <a:schemeClr val="tx1"/>
    </cs:fontRef>
    <cs:spPr>
      <a:ln w="9525">
        <a:solidFill>
          <a:schemeClr val="dk1">
            <a:lumMod val="35000"/>
            <a:lumOff val="65000"/>
          </a:schemeClr>
        </a:solidFill>
      </a:ln>
    </cs:spPr>
  </cs:hiLoLine>
  <cs:leaderLine>
    <cs:lnRef idx="0"/>
    <cs:fillRef idx="0"/>
    <cs:effectRef idx="0"/>
    <cs:fontRef idx="minor">
      <a:schemeClr val="tx1"/>
    </cs:fontRef>
    <cs:spPr>
      <a:ln w="9525">
        <a:solidFill>
          <a:schemeClr val="dk1">
            <a:lumMod val="35000"/>
            <a:lumOff val="65000"/>
          </a:schemeClr>
        </a:solidFill>
      </a:ln>
    </cs:spPr>
  </cs:leaderLine>
  <cs:legend>
    <cs:lnRef idx="0"/>
    <cs:fillRef idx="0"/>
    <cs:effectRef idx="0"/>
    <cs:fontRef idx="minor">
      <a:schemeClr val="dk1">
        <a:lumMod val="50000"/>
        <a:lumOff val="50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tx1">
        <a:lumMod val="50000"/>
        <a:lumOff val="50000"/>
      </a:schemeClr>
    </cs:fontRef>
    <cs:spPr>
      <a:ln w="9525">
        <a:solidFill>
          <a:schemeClr val="dk1">
            <a:lumMod val="15000"/>
            <a:lumOff val="85000"/>
          </a:schemeClr>
        </a:solidFill>
      </a:ln>
    </cs:spPr>
    <cs:defRPr sz="1197" kern="1200"/>
  </cs:seriesAxis>
  <cs:seriesLine>
    <cs:lnRef idx="0"/>
    <cs:fillRef idx="0"/>
    <cs:effectRef idx="0"/>
    <cs:fontRef idx="minor">
      <a:schemeClr val="tx1"/>
    </cs:fontRef>
    <cs:spPr>
      <a:ln w="9525">
        <a:solidFill>
          <a:schemeClr val="dk1">
            <a:lumMod val="35000"/>
            <a:lumOff val="65000"/>
          </a:schemeClr>
        </a:solidFill>
      </a:ln>
    </cs:spPr>
  </cs:seriesLine>
  <cs:title>
    <cs:lnRef idx="0"/>
    <cs:fillRef idx="0"/>
    <cs:effectRef idx="0"/>
    <cs:fontRef idx="minor">
      <a:schemeClr val="dk1">
        <a:lumMod val="50000"/>
        <a:lumOff val="50000"/>
      </a:schemeClr>
    </cs:fontRef>
    <cs:defRPr sz="2128" b="0" kern="1200" spc="70" baseline="0"/>
  </cs:title>
  <cs:trendline>
    <cs:lnRef idx="0">
      <cs:styleClr val="0"/>
    </cs:lnRef>
    <cs:fillRef idx="0"/>
    <cs:effectRef idx="0"/>
    <cs:fontRef idx="minor">
      <a:schemeClr val="tx1"/>
    </cs:fontRef>
    <cs:spPr>
      <a:ln w="63500" cap="rnd" cmpd="sng" algn="ctr">
        <a:solidFill>
          <a:schemeClr val="phClr">
            <a:alpha val="25000"/>
          </a:schemeClr>
        </a:solidFill>
        <a:round/>
      </a:ln>
    </cs:spPr>
  </cs:trendline>
  <cs:trendlineLabel>
    <cs:lnRef idx="0"/>
    <cs:fillRef idx="0"/>
    <cs:effectRef idx="0"/>
    <cs:fontRef idx="minor">
      <a:schemeClr val="dk1">
        <a:lumMod val="50000"/>
        <a:lumOff val="50000"/>
      </a:schemeClr>
    </cs:fontRef>
    <cs:defRPr sz="1197" kern="1200"/>
  </cs:trendlineLabel>
  <cs:upBar>
    <cs:lnRef idx="0"/>
    <cs:fillRef idx="0"/>
    <cs:effectRef idx="0"/>
    <cs:fontRef idx="minor">
      <a:schemeClr val="tx1"/>
    </cs:fontRef>
    <cs:spPr>
      <a:solidFill>
        <a:schemeClr val="lt1"/>
      </a:solidFill>
      <a:ln w="9525">
        <a:solidFill>
          <a:schemeClr val="dk1">
            <a:lumMod val="50000"/>
            <a:lumOff val="50000"/>
          </a:schemeClr>
        </a:solidFill>
      </a:ln>
    </cs:spPr>
  </cs:upBar>
  <cs:valueAxis>
    <cs:lnRef idx="0"/>
    <cs:fillRef idx="0"/>
    <cs:effectRef idx="0"/>
    <cs:fontRef idx="minor">
      <a:schemeClr val="dk1">
        <a:lumMod val="50000"/>
        <a:lumOff val="50000"/>
      </a:schemeClr>
    </cs:fontRef>
    <cs:defRPr sz="1197" kern="1200"/>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7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drawings/drawing1.xml><?xml version="1.0" encoding="utf-8"?>
<c:userShapes xmlns:c="http://schemas.openxmlformats.org/drawingml/2006/chart">
  <cdr:relSizeAnchor xmlns:cdr="http://schemas.openxmlformats.org/drawingml/2006/chartDrawing">
    <cdr:from>
      <cdr:x>0.09537</cdr:x>
      <cdr:y>0.06912</cdr:y>
    </cdr:from>
    <cdr:to>
      <cdr:x>0.28338</cdr:x>
      <cdr:y>0.06912</cdr:y>
    </cdr:to>
    <cdr:cxnSp macro="">
      <cdr:nvCxnSpPr>
        <cdr:cNvPr id="3" name="Straight Connector 2">
          <a:extLst xmlns:a="http://schemas.openxmlformats.org/drawingml/2006/main">
            <a:ext uri="{FF2B5EF4-FFF2-40B4-BE49-F238E27FC236}">
              <a16:creationId xmlns:a16="http://schemas.microsoft.com/office/drawing/2014/main" id="{25242EF4-E3F3-406C-8603-7A4208326261}"/>
            </a:ext>
          </a:extLst>
        </cdr:cNvPr>
        <cdr:cNvCxnSpPr/>
      </cdr:nvCxnSpPr>
      <cdr:spPr>
        <a:xfrm xmlns:a="http://schemas.openxmlformats.org/drawingml/2006/main">
          <a:off x="463824" y="309245"/>
          <a:ext cx="914400" cy="0"/>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9809</cdr:x>
      <cdr:y>0.82015</cdr:y>
    </cdr:from>
    <cdr:to>
      <cdr:x>0.28883</cdr:x>
      <cdr:y>0.82015</cdr:y>
    </cdr:to>
    <cdr:cxnSp macro="">
      <cdr:nvCxnSpPr>
        <cdr:cNvPr id="5" name="Straight Connector 4">
          <a:extLst xmlns:a="http://schemas.openxmlformats.org/drawingml/2006/main">
            <a:ext uri="{FF2B5EF4-FFF2-40B4-BE49-F238E27FC236}">
              <a16:creationId xmlns:a16="http://schemas.microsoft.com/office/drawing/2014/main" id="{2AC72CCE-8207-4EF3-A0E5-0E31EE535260}"/>
            </a:ext>
          </a:extLst>
        </cdr:cNvPr>
        <cdr:cNvCxnSpPr/>
      </cdr:nvCxnSpPr>
      <cdr:spPr>
        <a:xfrm xmlns:a="http://schemas.openxmlformats.org/drawingml/2006/main">
          <a:off x="477075" y="3669502"/>
          <a:ext cx="927651" cy="0"/>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218</cdr:x>
      <cdr:y>0.35982</cdr:y>
    </cdr:from>
    <cdr:to>
      <cdr:x>0.25885</cdr:x>
      <cdr:y>0.487</cdr:y>
    </cdr:to>
    <cdr:sp macro="" textlink="">
      <cdr:nvSpPr>
        <cdr:cNvPr id="6" name="TextBox 5">
          <a:extLst xmlns:a="http://schemas.openxmlformats.org/drawingml/2006/main">
            <a:ext uri="{FF2B5EF4-FFF2-40B4-BE49-F238E27FC236}">
              <a16:creationId xmlns:a16="http://schemas.microsoft.com/office/drawing/2014/main" id="{AEF268DA-32FC-4746-B8A7-92B8AD0FA0E8}"/>
            </a:ext>
          </a:extLst>
        </cdr:cNvPr>
        <cdr:cNvSpPr txBox="1"/>
      </cdr:nvSpPr>
      <cdr:spPr>
        <a:xfrm xmlns:a="http://schemas.openxmlformats.org/drawingml/2006/main">
          <a:off x="106017" y="1609907"/>
          <a:ext cx="1152936" cy="569041"/>
        </a:xfrm>
        <a:prstGeom xmlns:a="http://schemas.openxmlformats.org/drawingml/2006/main" prst="rect">
          <a:avLst/>
        </a:prstGeom>
        <a:ln xmlns:a="http://schemas.openxmlformats.org/drawingml/2006/main">
          <a:solidFill>
            <a:schemeClr val="tx1"/>
          </a:solidFill>
          <a:prstDash val="sysDot"/>
        </a:ln>
      </cdr:spPr>
      <cdr:txBody>
        <a:bodyPr xmlns:a="http://schemas.openxmlformats.org/drawingml/2006/main" vertOverflow="clip" wrap="square" rtlCol="0" anchor="ctr"/>
        <a:lstStyle xmlns:a="http://schemas.openxmlformats.org/drawingml/2006/main"/>
        <a:p xmlns:a="http://schemas.openxmlformats.org/drawingml/2006/main">
          <a:pPr algn="ctr"/>
          <a:r>
            <a:rPr lang="en-US" sz="1100" dirty="0"/>
            <a:t>Selling Price –USD 2170/</a:t>
          </a:r>
          <a:r>
            <a:rPr lang="en-US" sz="1100" dirty="0" err="1"/>
            <a:t>Tonne</a:t>
          </a:r>
          <a:endParaRPr lang="en-US" sz="11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8506626-37CE-49CA-9FF0-9559646629C2}" type="datetimeFigureOut">
              <a:rPr lang="en-IN" smtClean="0"/>
              <a:t>30-07-2021</a:t>
            </a:fld>
            <a:endParaRPr lang="en-IN"/>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F32B71-C785-4B43-9EB1-E4746A5B61FD}" type="slidenum">
              <a:rPr lang="en-IN" smtClean="0"/>
              <a:t>‹#›</a:t>
            </a:fld>
            <a:endParaRPr lang="en-IN"/>
          </a:p>
        </p:txBody>
      </p:sp>
    </p:spTree>
    <p:extLst>
      <p:ext uri="{BB962C8B-B14F-4D97-AF65-F5344CB8AC3E}">
        <p14:creationId xmlns:p14="http://schemas.microsoft.com/office/powerpoint/2010/main" val="1093350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845FA-87F2-4D63-AFD0-CC86BC96614C}" type="slidenum">
              <a:rPr lang="en-US" smtClean="0"/>
              <a:t>84</a:t>
            </a:fld>
            <a:endParaRPr lang="en-US" dirty="0"/>
          </a:p>
        </p:txBody>
      </p:sp>
    </p:spTree>
    <p:extLst>
      <p:ext uri="{BB962C8B-B14F-4D97-AF65-F5344CB8AC3E}">
        <p14:creationId xmlns:p14="http://schemas.microsoft.com/office/powerpoint/2010/main" val="20804895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845FA-87F2-4D63-AFD0-CC86BC96614C}" type="slidenum">
              <a:rPr lang="en-US" smtClean="0"/>
              <a:t>85</a:t>
            </a:fld>
            <a:endParaRPr lang="en-US" dirty="0"/>
          </a:p>
        </p:txBody>
      </p:sp>
    </p:spTree>
    <p:extLst>
      <p:ext uri="{BB962C8B-B14F-4D97-AF65-F5344CB8AC3E}">
        <p14:creationId xmlns:p14="http://schemas.microsoft.com/office/powerpoint/2010/main" val="20804895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845FA-87F2-4D63-AFD0-CC86BC96614C}" type="slidenum">
              <a:rPr lang="en-US" smtClean="0"/>
              <a:t>86</a:t>
            </a:fld>
            <a:endParaRPr lang="en-US" dirty="0"/>
          </a:p>
        </p:txBody>
      </p:sp>
    </p:spTree>
    <p:extLst>
      <p:ext uri="{BB962C8B-B14F-4D97-AF65-F5344CB8AC3E}">
        <p14:creationId xmlns:p14="http://schemas.microsoft.com/office/powerpoint/2010/main" val="20804895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845FA-87F2-4D63-AFD0-CC86BC96614C}" type="slidenum">
              <a:rPr lang="en-US" smtClean="0"/>
              <a:t>87</a:t>
            </a:fld>
            <a:endParaRPr lang="en-US" dirty="0"/>
          </a:p>
        </p:txBody>
      </p:sp>
    </p:spTree>
    <p:extLst>
      <p:ext uri="{BB962C8B-B14F-4D97-AF65-F5344CB8AC3E}">
        <p14:creationId xmlns:p14="http://schemas.microsoft.com/office/powerpoint/2010/main" val="20804895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845FA-87F2-4D63-AFD0-CC86BC96614C}" type="slidenum">
              <a:rPr lang="en-US" smtClean="0"/>
              <a:t>88</a:t>
            </a:fld>
            <a:endParaRPr lang="en-US" dirty="0"/>
          </a:p>
        </p:txBody>
      </p:sp>
    </p:spTree>
    <p:extLst>
      <p:ext uri="{BB962C8B-B14F-4D97-AF65-F5344CB8AC3E}">
        <p14:creationId xmlns:p14="http://schemas.microsoft.com/office/powerpoint/2010/main" val="20804895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845FA-87F2-4D63-AFD0-CC86BC96614C}" type="slidenum">
              <a:rPr lang="en-US" smtClean="0"/>
              <a:t>106</a:t>
            </a:fld>
            <a:endParaRPr lang="en-US" dirty="0"/>
          </a:p>
        </p:txBody>
      </p:sp>
    </p:spTree>
    <p:extLst>
      <p:ext uri="{BB962C8B-B14F-4D97-AF65-F5344CB8AC3E}">
        <p14:creationId xmlns:p14="http://schemas.microsoft.com/office/powerpoint/2010/main" val="14068548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845FA-87F2-4D63-AFD0-CC86BC96614C}" type="slidenum">
              <a:rPr lang="en-US" smtClean="0"/>
              <a:t>109</a:t>
            </a:fld>
            <a:endParaRPr lang="en-US" dirty="0"/>
          </a:p>
        </p:txBody>
      </p:sp>
    </p:spTree>
    <p:extLst>
      <p:ext uri="{BB962C8B-B14F-4D97-AF65-F5344CB8AC3E}">
        <p14:creationId xmlns:p14="http://schemas.microsoft.com/office/powerpoint/2010/main" val="11636250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4300" y="1163638"/>
            <a:ext cx="4186238" cy="3141662"/>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5455057-9F61-4817-9C2B-4FB60D8F456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21261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522B7517-82CA-40CD-BD41-4C19A3BD03FE}" type="datetimeFigureOut">
              <a:rPr lang="en-US" smtClean="0"/>
              <a:t>7/3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7754451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22B7517-82CA-40CD-BD41-4C19A3BD03FE}" type="datetimeFigureOut">
              <a:rPr lang="en-US" smtClean="0"/>
              <a:t>7/3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8290401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22B7517-82CA-40CD-BD41-4C19A3BD03FE}" type="datetimeFigureOut">
              <a:rPr lang="en-US" smtClean="0"/>
              <a:t>7/3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24151690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FBA3F1B-5FC1-4195-B283-FA7A5C5B3D90}"/>
              </a:ext>
            </a:extLst>
          </p:cNvPr>
          <p:cNvSpPr/>
          <p:nvPr userDrawn="1"/>
        </p:nvSpPr>
        <p:spPr>
          <a:xfrm flipV="1">
            <a:off x="-1" y="6723356"/>
            <a:ext cx="9143999" cy="13464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F72326B4-B3B2-4D15-A2AB-DB1022046586}"/>
              </a:ext>
            </a:extLst>
          </p:cNvPr>
          <p:cNvSpPr/>
          <p:nvPr userDrawn="1"/>
        </p:nvSpPr>
        <p:spPr>
          <a:xfrm>
            <a:off x="0" y="0"/>
            <a:ext cx="9144000" cy="588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0205A775-17FE-4C1F-A161-1A719545F3E1}"/>
              </a:ext>
            </a:extLst>
          </p:cNvPr>
          <p:cNvSpPr/>
          <p:nvPr userDrawn="1"/>
        </p:nvSpPr>
        <p:spPr>
          <a:xfrm>
            <a:off x="8544757" y="6598950"/>
            <a:ext cx="481905" cy="200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 name="Straight Connector 15">
            <a:extLst>
              <a:ext uri="{FF2B5EF4-FFF2-40B4-BE49-F238E27FC236}">
                <a16:creationId xmlns:a16="http://schemas.microsoft.com/office/drawing/2014/main" id="{969AECF4-BD35-4AC8-8BF0-753D0647F7B3}"/>
              </a:ext>
            </a:extLst>
          </p:cNvPr>
          <p:cNvCxnSpPr>
            <a:cxnSpLocks/>
          </p:cNvCxnSpPr>
          <p:nvPr userDrawn="1"/>
        </p:nvCxnSpPr>
        <p:spPr>
          <a:xfrm>
            <a:off x="0" y="660816"/>
            <a:ext cx="51625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Slide Number Placeholder 7">
            <a:extLst>
              <a:ext uri="{FF2B5EF4-FFF2-40B4-BE49-F238E27FC236}">
                <a16:creationId xmlns:a16="http://schemas.microsoft.com/office/drawing/2014/main" id="{E202E38A-5812-43DD-83EB-0D7EA5D9F823}"/>
              </a:ext>
            </a:extLst>
          </p:cNvPr>
          <p:cNvSpPr txBox="1">
            <a:spLocks/>
          </p:cNvSpPr>
          <p:nvPr userDrawn="1"/>
        </p:nvSpPr>
        <p:spPr>
          <a:xfrm>
            <a:off x="8605062" y="6508363"/>
            <a:ext cx="445403" cy="365125"/>
          </a:xfrm>
          <a:prstGeom prst="rect">
            <a:avLst/>
          </a:prstGeom>
        </p:spPr>
        <p:txBody>
          <a:bodyPr vert="horz" lIns="91440" tIns="45720" rIns="91440" bIns="45720" rtlCol="0" anchor="ctr"/>
          <a:lstStyle>
            <a:defPPr>
              <a:defRPr lang="en-US"/>
            </a:defPPr>
            <a:lvl1pPr marL="0" algn="ctr" defTabSz="457200" rtl="0" eaLnBrk="1" latinLnBrk="0" hangingPunct="1">
              <a:defRPr sz="1200" b="1" kern="1200">
                <a:solidFill>
                  <a:srgbClr val="6A5D38"/>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A070E7C-0B96-4788-862A-C035E43D0D9C}" type="slidenum">
              <a:rPr lang="en-US" smtClean="0">
                <a:solidFill>
                  <a:schemeClr val="bg2">
                    <a:lumMod val="25000"/>
                  </a:schemeClr>
                </a:solidFill>
              </a:rPr>
              <a:pPr/>
              <a:t>‹#›</a:t>
            </a:fld>
            <a:endParaRPr lang="en-US" dirty="0">
              <a:solidFill>
                <a:schemeClr val="bg2">
                  <a:lumMod val="25000"/>
                </a:schemeClr>
              </a:solidFill>
            </a:endParaRPr>
          </a:p>
        </p:txBody>
      </p:sp>
      <p:sp>
        <p:nvSpPr>
          <p:cNvPr id="18" name="Footer Placeholder 6">
            <a:extLst>
              <a:ext uri="{FF2B5EF4-FFF2-40B4-BE49-F238E27FC236}">
                <a16:creationId xmlns:a16="http://schemas.microsoft.com/office/drawing/2014/main" id="{78A01AEE-3EB7-440D-81E6-C9DF36AB8F13}"/>
              </a:ext>
            </a:extLst>
          </p:cNvPr>
          <p:cNvSpPr txBox="1">
            <a:spLocks/>
          </p:cNvSpPr>
          <p:nvPr userDrawn="1"/>
        </p:nvSpPr>
        <p:spPr>
          <a:xfrm rot="16200000">
            <a:off x="8455052" y="6012765"/>
            <a:ext cx="1094744" cy="143688"/>
          </a:xfrm>
          <a:prstGeom prst="rect">
            <a:avLst/>
          </a:prstGeom>
        </p:spPr>
        <p:txBody>
          <a:bodyPr vert="horz" lIns="91440" tIns="45720" rIns="91440" bIns="45720" rtlCol="0" anchor="ctr"/>
          <a:lstStyle>
            <a:defPPr>
              <a:defRPr lang="en-US"/>
            </a:defPPr>
            <a:lvl1pPr marL="0" algn="ctr" defTabSz="457200" rtl="0" eaLnBrk="1" latinLnBrk="0" hangingPunct="1">
              <a:defRPr sz="600" kern="12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2">
                    <a:lumMod val="25000"/>
                  </a:schemeClr>
                </a:solidFill>
              </a:rPr>
              <a:t>© ChemAnalyst</a:t>
            </a:r>
          </a:p>
        </p:txBody>
      </p:sp>
      <p:pic>
        <p:nvPicPr>
          <p:cNvPr id="11" name="object 26">
            <a:extLst>
              <a:ext uri="{FF2B5EF4-FFF2-40B4-BE49-F238E27FC236}">
                <a16:creationId xmlns:a16="http://schemas.microsoft.com/office/drawing/2014/main" id="{5DFA5335-A0E7-4244-ADB6-6B8A919134DD}"/>
              </a:ext>
            </a:extLst>
          </p:cNvPr>
          <p:cNvPicPr>
            <a:picLocks noChangeArrowheads="1"/>
          </p:cNvPicPr>
          <p:nvPr userDrawn="1"/>
        </p:nvPicPr>
        <p:blipFill>
          <a:blip r:embed="rId2">
            <a:extLst>
              <a:ext uri="{28A0092B-C50C-407E-A947-70E740481C1C}">
                <a14:useLocalDpi xmlns:a14="http://schemas.microsoft.com/office/drawing/2010/main" val="0"/>
              </a:ext>
            </a:extLst>
          </a:blip>
          <a:srcRect b="-833"/>
          <a:stretch>
            <a:fillRect/>
          </a:stretch>
        </p:blipFill>
        <p:spPr bwMode="auto">
          <a:xfrm>
            <a:off x="7329055" y="205715"/>
            <a:ext cx="1829935" cy="365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0101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Content writing ">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8B8EACDB-C309-4088-8FDE-EB2BCF122101}"/>
              </a:ext>
            </a:extLst>
          </p:cNvPr>
          <p:cNvSpPr/>
          <p:nvPr userDrawn="1"/>
        </p:nvSpPr>
        <p:spPr>
          <a:xfrm flipV="1">
            <a:off x="-1" y="6723356"/>
            <a:ext cx="9143999" cy="13464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DC6C4748-FCBC-4277-AC07-3AF7E7704C3D}"/>
              </a:ext>
            </a:extLst>
          </p:cNvPr>
          <p:cNvSpPr/>
          <p:nvPr userDrawn="1"/>
        </p:nvSpPr>
        <p:spPr>
          <a:xfrm>
            <a:off x="0" y="0"/>
            <a:ext cx="9144000" cy="588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542853EB-FBA4-46A7-A64A-98E87EC960BC}"/>
              </a:ext>
            </a:extLst>
          </p:cNvPr>
          <p:cNvSpPr/>
          <p:nvPr userDrawn="1"/>
        </p:nvSpPr>
        <p:spPr>
          <a:xfrm>
            <a:off x="8544757" y="6598950"/>
            <a:ext cx="481905" cy="200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2" name="Straight Connector 21">
            <a:extLst>
              <a:ext uri="{FF2B5EF4-FFF2-40B4-BE49-F238E27FC236}">
                <a16:creationId xmlns:a16="http://schemas.microsoft.com/office/drawing/2014/main" id="{FBF13BCF-854A-4AA9-9929-7C13800DC2AF}"/>
              </a:ext>
            </a:extLst>
          </p:cNvPr>
          <p:cNvCxnSpPr>
            <a:cxnSpLocks/>
          </p:cNvCxnSpPr>
          <p:nvPr userDrawn="1"/>
        </p:nvCxnSpPr>
        <p:spPr>
          <a:xfrm>
            <a:off x="0" y="660816"/>
            <a:ext cx="51625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3" name="Slide Number Placeholder 7">
            <a:extLst>
              <a:ext uri="{FF2B5EF4-FFF2-40B4-BE49-F238E27FC236}">
                <a16:creationId xmlns:a16="http://schemas.microsoft.com/office/drawing/2014/main" id="{43BAE6B5-BB6F-456A-ACC3-CF743BE42962}"/>
              </a:ext>
            </a:extLst>
          </p:cNvPr>
          <p:cNvSpPr txBox="1">
            <a:spLocks/>
          </p:cNvSpPr>
          <p:nvPr userDrawn="1"/>
        </p:nvSpPr>
        <p:spPr>
          <a:xfrm>
            <a:off x="8605062" y="6508363"/>
            <a:ext cx="445403" cy="365125"/>
          </a:xfrm>
          <a:prstGeom prst="rect">
            <a:avLst/>
          </a:prstGeom>
        </p:spPr>
        <p:txBody>
          <a:bodyPr vert="horz" lIns="91440" tIns="45720" rIns="91440" bIns="45720" rtlCol="0" anchor="ctr"/>
          <a:lstStyle>
            <a:defPPr>
              <a:defRPr lang="en-US"/>
            </a:defPPr>
            <a:lvl1pPr marL="0" algn="ctr" defTabSz="457200" rtl="0" eaLnBrk="1" latinLnBrk="0" hangingPunct="1">
              <a:defRPr sz="1200" b="1" kern="1200">
                <a:solidFill>
                  <a:srgbClr val="6A5D38"/>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A070E7C-0B96-4788-862A-C035E43D0D9C}" type="slidenum">
              <a:rPr lang="en-US" smtClean="0">
                <a:solidFill>
                  <a:schemeClr val="bg2">
                    <a:lumMod val="25000"/>
                  </a:schemeClr>
                </a:solidFill>
              </a:rPr>
              <a:pPr/>
              <a:t>‹#›</a:t>
            </a:fld>
            <a:endParaRPr lang="en-US" dirty="0">
              <a:solidFill>
                <a:schemeClr val="bg2">
                  <a:lumMod val="25000"/>
                </a:schemeClr>
              </a:solidFill>
            </a:endParaRPr>
          </a:p>
        </p:txBody>
      </p:sp>
      <p:sp>
        <p:nvSpPr>
          <p:cNvPr id="24" name="Footer Placeholder 6">
            <a:extLst>
              <a:ext uri="{FF2B5EF4-FFF2-40B4-BE49-F238E27FC236}">
                <a16:creationId xmlns:a16="http://schemas.microsoft.com/office/drawing/2014/main" id="{205E3B50-2F40-4577-88B5-5D34E723AD5B}"/>
              </a:ext>
            </a:extLst>
          </p:cNvPr>
          <p:cNvSpPr txBox="1">
            <a:spLocks/>
          </p:cNvSpPr>
          <p:nvPr userDrawn="1"/>
        </p:nvSpPr>
        <p:spPr>
          <a:xfrm rot="16200000">
            <a:off x="8455052" y="6012765"/>
            <a:ext cx="1094744" cy="143688"/>
          </a:xfrm>
          <a:prstGeom prst="rect">
            <a:avLst/>
          </a:prstGeom>
        </p:spPr>
        <p:txBody>
          <a:bodyPr vert="horz" lIns="91440" tIns="45720" rIns="91440" bIns="45720" rtlCol="0" anchor="ctr"/>
          <a:lstStyle>
            <a:defPPr>
              <a:defRPr lang="en-US"/>
            </a:defPPr>
            <a:lvl1pPr marL="0" algn="ctr" defTabSz="457200" rtl="0" eaLnBrk="1" latinLnBrk="0" hangingPunct="1">
              <a:defRPr sz="600" kern="12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2">
                    <a:lumMod val="25000"/>
                  </a:schemeClr>
                </a:solidFill>
              </a:rPr>
              <a:t>© ChemAnalyst</a:t>
            </a:r>
          </a:p>
        </p:txBody>
      </p:sp>
      <p:pic>
        <p:nvPicPr>
          <p:cNvPr id="25" name="object 26">
            <a:extLst>
              <a:ext uri="{FF2B5EF4-FFF2-40B4-BE49-F238E27FC236}">
                <a16:creationId xmlns:a16="http://schemas.microsoft.com/office/drawing/2014/main" id="{D3AC9BFC-FEBB-4701-8D80-499E71E46397}"/>
              </a:ext>
            </a:extLst>
          </p:cNvPr>
          <p:cNvPicPr>
            <a:picLocks noChangeArrowheads="1"/>
          </p:cNvPicPr>
          <p:nvPr userDrawn="1"/>
        </p:nvPicPr>
        <p:blipFill>
          <a:blip r:embed="rId2">
            <a:extLst>
              <a:ext uri="{28A0092B-C50C-407E-A947-70E740481C1C}">
                <a14:useLocalDpi xmlns:a14="http://schemas.microsoft.com/office/drawing/2010/main" val="0"/>
              </a:ext>
            </a:extLst>
          </a:blip>
          <a:srcRect b="-833"/>
          <a:stretch>
            <a:fillRect/>
          </a:stretch>
        </p:blipFill>
        <p:spPr bwMode="auto">
          <a:xfrm>
            <a:off x="7329055" y="205715"/>
            <a:ext cx="1829935" cy="365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436210"/>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ntent writing ">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4642FF9-FC30-4382-A5D3-CF8FDB318A2F}"/>
              </a:ext>
            </a:extLst>
          </p:cNvPr>
          <p:cNvSpPr/>
          <p:nvPr userDrawn="1"/>
        </p:nvSpPr>
        <p:spPr>
          <a:xfrm flipV="1">
            <a:off x="-1" y="6723356"/>
            <a:ext cx="9143999" cy="13464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CBE35B8B-686C-4547-B673-18243A80B8CA}"/>
              </a:ext>
            </a:extLst>
          </p:cNvPr>
          <p:cNvSpPr/>
          <p:nvPr userDrawn="1"/>
        </p:nvSpPr>
        <p:spPr>
          <a:xfrm>
            <a:off x="0" y="0"/>
            <a:ext cx="9144000" cy="588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B77B105A-9D06-4DDF-93F5-8B66579740FB}"/>
              </a:ext>
            </a:extLst>
          </p:cNvPr>
          <p:cNvSpPr/>
          <p:nvPr userDrawn="1"/>
        </p:nvSpPr>
        <p:spPr>
          <a:xfrm>
            <a:off x="8544757" y="6598950"/>
            <a:ext cx="481905" cy="200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9" name="Straight Connector 18">
            <a:extLst>
              <a:ext uri="{FF2B5EF4-FFF2-40B4-BE49-F238E27FC236}">
                <a16:creationId xmlns:a16="http://schemas.microsoft.com/office/drawing/2014/main" id="{853820B5-A59D-4A5C-8C43-D1710A4698F9}"/>
              </a:ext>
            </a:extLst>
          </p:cNvPr>
          <p:cNvCxnSpPr>
            <a:cxnSpLocks/>
          </p:cNvCxnSpPr>
          <p:nvPr userDrawn="1"/>
        </p:nvCxnSpPr>
        <p:spPr>
          <a:xfrm>
            <a:off x="0" y="660816"/>
            <a:ext cx="51625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0" name="Slide Number Placeholder 7">
            <a:extLst>
              <a:ext uri="{FF2B5EF4-FFF2-40B4-BE49-F238E27FC236}">
                <a16:creationId xmlns:a16="http://schemas.microsoft.com/office/drawing/2014/main" id="{F8BAB681-6ACB-4C67-9618-BE8D78243DF9}"/>
              </a:ext>
            </a:extLst>
          </p:cNvPr>
          <p:cNvSpPr txBox="1">
            <a:spLocks/>
          </p:cNvSpPr>
          <p:nvPr userDrawn="1"/>
        </p:nvSpPr>
        <p:spPr>
          <a:xfrm>
            <a:off x="8605062" y="6508363"/>
            <a:ext cx="445403" cy="365125"/>
          </a:xfrm>
          <a:prstGeom prst="rect">
            <a:avLst/>
          </a:prstGeom>
        </p:spPr>
        <p:txBody>
          <a:bodyPr vert="horz" lIns="91440" tIns="45720" rIns="91440" bIns="45720" rtlCol="0" anchor="ctr"/>
          <a:lstStyle>
            <a:defPPr>
              <a:defRPr lang="en-US"/>
            </a:defPPr>
            <a:lvl1pPr marL="0" algn="ctr" defTabSz="457200" rtl="0" eaLnBrk="1" latinLnBrk="0" hangingPunct="1">
              <a:defRPr sz="1200" b="1" kern="1200">
                <a:solidFill>
                  <a:srgbClr val="6A5D38"/>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A070E7C-0B96-4788-862A-C035E43D0D9C}" type="slidenum">
              <a:rPr lang="en-US" smtClean="0">
                <a:solidFill>
                  <a:schemeClr val="bg2">
                    <a:lumMod val="25000"/>
                  </a:schemeClr>
                </a:solidFill>
              </a:rPr>
              <a:pPr/>
              <a:t>‹#›</a:t>
            </a:fld>
            <a:endParaRPr lang="en-US" dirty="0">
              <a:solidFill>
                <a:schemeClr val="bg2">
                  <a:lumMod val="25000"/>
                </a:schemeClr>
              </a:solidFill>
            </a:endParaRPr>
          </a:p>
        </p:txBody>
      </p:sp>
      <p:sp>
        <p:nvSpPr>
          <p:cNvPr id="21" name="Footer Placeholder 6">
            <a:extLst>
              <a:ext uri="{FF2B5EF4-FFF2-40B4-BE49-F238E27FC236}">
                <a16:creationId xmlns:a16="http://schemas.microsoft.com/office/drawing/2014/main" id="{39ABFDDE-B5B8-43F5-844F-F574E9951667}"/>
              </a:ext>
            </a:extLst>
          </p:cNvPr>
          <p:cNvSpPr txBox="1">
            <a:spLocks/>
          </p:cNvSpPr>
          <p:nvPr userDrawn="1"/>
        </p:nvSpPr>
        <p:spPr>
          <a:xfrm rot="16200000">
            <a:off x="8455052" y="6012765"/>
            <a:ext cx="1094744" cy="143688"/>
          </a:xfrm>
          <a:prstGeom prst="rect">
            <a:avLst/>
          </a:prstGeom>
        </p:spPr>
        <p:txBody>
          <a:bodyPr vert="horz" lIns="91440" tIns="45720" rIns="91440" bIns="45720" rtlCol="0" anchor="ctr"/>
          <a:lstStyle>
            <a:defPPr>
              <a:defRPr lang="en-US"/>
            </a:defPPr>
            <a:lvl1pPr marL="0" algn="ctr" defTabSz="457200" rtl="0" eaLnBrk="1" latinLnBrk="0" hangingPunct="1">
              <a:defRPr sz="600" kern="12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2">
                    <a:lumMod val="25000"/>
                  </a:schemeClr>
                </a:solidFill>
              </a:rPr>
              <a:t>© ChemAnalyst</a:t>
            </a:r>
          </a:p>
        </p:txBody>
      </p:sp>
      <p:pic>
        <p:nvPicPr>
          <p:cNvPr id="22" name="object 26">
            <a:extLst>
              <a:ext uri="{FF2B5EF4-FFF2-40B4-BE49-F238E27FC236}">
                <a16:creationId xmlns:a16="http://schemas.microsoft.com/office/drawing/2014/main" id="{2E1E1774-A245-4672-A8A8-751A98EAAFA2}"/>
              </a:ext>
            </a:extLst>
          </p:cNvPr>
          <p:cNvPicPr>
            <a:picLocks noChangeArrowheads="1"/>
          </p:cNvPicPr>
          <p:nvPr userDrawn="1"/>
        </p:nvPicPr>
        <p:blipFill>
          <a:blip r:embed="rId2">
            <a:extLst>
              <a:ext uri="{28A0092B-C50C-407E-A947-70E740481C1C}">
                <a14:useLocalDpi xmlns:a14="http://schemas.microsoft.com/office/drawing/2010/main" val="0"/>
              </a:ext>
            </a:extLst>
          </a:blip>
          <a:srcRect b="-833"/>
          <a:stretch>
            <a:fillRect/>
          </a:stretch>
        </p:blipFill>
        <p:spPr bwMode="auto">
          <a:xfrm>
            <a:off x="7329055" y="205715"/>
            <a:ext cx="1829935" cy="365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652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5450F19-B112-4ABF-8DFD-7CC4C2994E88}"/>
              </a:ext>
            </a:extLst>
          </p:cNvPr>
          <p:cNvSpPr/>
          <p:nvPr userDrawn="1"/>
        </p:nvSpPr>
        <p:spPr>
          <a:xfrm flipH="1">
            <a:off x="4572000" y="1988840"/>
            <a:ext cx="4572000" cy="2880320"/>
          </a:xfrm>
          <a:prstGeom prst="rect">
            <a:avLst/>
          </a:prstGeom>
          <a:solidFill>
            <a:schemeClr val="bg1">
              <a:lumMod val="75000"/>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 name="Picture Placeholder 2">
            <a:extLst>
              <a:ext uri="{FF2B5EF4-FFF2-40B4-BE49-F238E27FC236}">
                <a16:creationId xmlns:a16="http://schemas.microsoft.com/office/drawing/2014/main" id="{B3F0BA69-1CAA-4973-B174-2BA8BA1BC146}"/>
              </a:ext>
            </a:extLst>
          </p:cNvPr>
          <p:cNvSpPr>
            <a:spLocks noGrp="1"/>
          </p:cNvSpPr>
          <p:nvPr>
            <p:ph type="pic" idx="13" hasCustomPrompt="1"/>
          </p:nvPr>
        </p:nvSpPr>
        <p:spPr>
          <a:xfrm>
            <a:off x="5408904" y="857250"/>
            <a:ext cx="3338624" cy="5143500"/>
          </a:xfrm>
          <a:prstGeom prst="rect">
            <a:avLst/>
          </a:prstGeom>
          <a:solidFill>
            <a:schemeClr val="bg1">
              <a:lumMod val="95000"/>
            </a:schemeClr>
          </a:solidFill>
          <a:effectLst>
            <a:outerShdw blurRad="63500" sx="102000" sy="102000" algn="ctr" rotWithShape="0">
              <a:prstClr val="black">
                <a:alpha val="40000"/>
              </a:prstClr>
            </a:outerShdw>
          </a:effectLst>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pic>
        <p:nvPicPr>
          <p:cNvPr id="3074" name="Picture 2">
            <a:extLst>
              <a:ext uri="{FF2B5EF4-FFF2-40B4-BE49-F238E27FC236}">
                <a16:creationId xmlns:a16="http://schemas.microsoft.com/office/drawing/2014/main" id="{966A8333-CADF-47CE-A5B4-523D214DCC1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69360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89AD81FF-D2BC-4BE9-8FA4-EDFEF24B8A04}"/>
              </a:ext>
            </a:extLst>
          </p:cNvPr>
          <p:cNvSpPr/>
          <p:nvPr userDrawn="1"/>
        </p:nvSpPr>
        <p:spPr>
          <a:xfrm>
            <a:off x="0" y="0"/>
            <a:ext cx="9144020" cy="6858000"/>
          </a:xfrm>
          <a:prstGeom prst="rect">
            <a:avLst/>
          </a:prstGeom>
          <a:solidFill>
            <a:schemeClr val="tx2">
              <a:lumMod val="5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744881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217AB37-9C62-4EC1-8462-BD2E63294B0C}"/>
              </a:ext>
            </a:extLst>
          </p:cNvPr>
          <p:cNvSpPr/>
          <p:nvPr userDrawn="1"/>
        </p:nvSpPr>
        <p:spPr>
          <a:xfrm flipV="1">
            <a:off x="-1" y="6723356"/>
            <a:ext cx="9143999" cy="13464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558650DE-B7DE-4682-AC6B-43DA6576BFD4}"/>
              </a:ext>
            </a:extLst>
          </p:cNvPr>
          <p:cNvSpPr/>
          <p:nvPr userDrawn="1"/>
        </p:nvSpPr>
        <p:spPr>
          <a:xfrm>
            <a:off x="8544757" y="6598950"/>
            <a:ext cx="481905" cy="200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9" name="Straight Connector 8">
            <a:extLst>
              <a:ext uri="{FF2B5EF4-FFF2-40B4-BE49-F238E27FC236}">
                <a16:creationId xmlns:a16="http://schemas.microsoft.com/office/drawing/2014/main" id="{D49DAA04-2F81-4BDB-A4C5-A3A54C7341BB}"/>
              </a:ext>
            </a:extLst>
          </p:cNvPr>
          <p:cNvCxnSpPr>
            <a:cxnSpLocks/>
          </p:cNvCxnSpPr>
          <p:nvPr userDrawn="1"/>
        </p:nvCxnSpPr>
        <p:spPr>
          <a:xfrm>
            <a:off x="0" y="660816"/>
            <a:ext cx="51625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7">
            <a:extLst>
              <a:ext uri="{FF2B5EF4-FFF2-40B4-BE49-F238E27FC236}">
                <a16:creationId xmlns:a16="http://schemas.microsoft.com/office/drawing/2014/main" id="{8C582BD6-6ABD-4A0E-8DC3-C991AA4D2538}"/>
              </a:ext>
            </a:extLst>
          </p:cNvPr>
          <p:cNvSpPr txBox="1">
            <a:spLocks/>
          </p:cNvSpPr>
          <p:nvPr userDrawn="1"/>
        </p:nvSpPr>
        <p:spPr>
          <a:xfrm>
            <a:off x="8605062" y="6508363"/>
            <a:ext cx="445403" cy="365125"/>
          </a:xfrm>
          <a:prstGeom prst="rect">
            <a:avLst/>
          </a:prstGeom>
        </p:spPr>
        <p:txBody>
          <a:bodyPr vert="horz" lIns="91440" tIns="45720" rIns="91440" bIns="45720" rtlCol="0" anchor="ctr"/>
          <a:lstStyle>
            <a:defPPr>
              <a:defRPr lang="en-US"/>
            </a:defPPr>
            <a:lvl1pPr marL="0" algn="ctr" defTabSz="457200" rtl="0" eaLnBrk="1" latinLnBrk="0" hangingPunct="1">
              <a:defRPr sz="1200" b="1" kern="1200">
                <a:solidFill>
                  <a:srgbClr val="6A5D38"/>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A070E7C-0B96-4788-862A-C035E43D0D9C}" type="slidenum">
              <a:rPr lang="en-US" smtClean="0">
                <a:solidFill>
                  <a:schemeClr val="bg2">
                    <a:lumMod val="25000"/>
                  </a:schemeClr>
                </a:solidFill>
              </a:rPr>
              <a:pPr/>
              <a:t>‹#›</a:t>
            </a:fld>
            <a:endParaRPr lang="en-US" dirty="0">
              <a:solidFill>
                <a:schemeClr val="bg2">
                  <a:lumMod val="25000"/>
                </a:schemeClr>
              </a:solidFill>
            </a:endParaRPr>
          </a:p>
        </p:txBody>
      </p:sp>
      <p:sp>
        <p:nvSpPr>
          <p:cNvPr id="11" name="Footer Placeholder 6">
            <a:extLst>
              <a:ext uri="{FF2B5EF4-FFF2-40B4-BE49-F238E27FC236}">
                <a16:creationId xmlns:a16="http://schemas.microsoft.com/office/drawing/2014/main" id="{4AB859A8-1437-481A-B18D-FBD276C8CBB1}"/>
              </a:ext>
            </a:extLst>
          </p:cNvPr>
          <p:cNvSpPr txBox="1">
            <a:spLocks/>
          </p:cNvSpPr>
          <p:nvPr userDrawn="1"/>
        </p:nvSpPr>
        <p:spPr>
          <a:xfrm rot="16200000">
            <a:off x="8455052" y="6012765"/>
            <a:ext cx="1094744" cy="143688"/>
          </a:xfrm>
          <a:prstGeom prst="rect">
            <a:avLst/>
          </a:prstGeom>
        </p:spPr>
        <p:txBody>
          <a:bodyPr vert="horz" lIns="91440" tIns="45720" rIns="91440" bIns="45720" rtlCol="0" anchor="ctr"/>
          <a:lstStyle>
            <a:defPPr>
              <a:defRPr lang="en-US"/>
            </a:defPPr>
            <a:lvl1pPr marL="0" algn="ctr" defTabSz="457200" rtl="0" eaLnBrk="1" latinLnBrk="0" hangingPunct="1">
              <a:defRPr sz="600" kern="12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2">
                    <a:lumMod val="25000"/>
                  </a:schemeClr>
                </a:solidFill>
              </a:rPr>
              <a:t>© ChemAnalyst</a:t>
            </a:r>
          </a:p>
        </p:txBody>
      </p:sp>
      <p:pic>
        <p:nvPicPr>
          <p:cNvPr id="12" name="object 26">
            <a:extLst>
              <a:ext uri="{FF2B5EF4-FFF2-40B4-BE49-F238E27FC236}">
                <a16:creationId xmlns:a16="http://schemas.microsoft.com/office/drawing/2014/main" id="{CD703033-7038-4F2B-9DB1-118C51BA9FD4}"/>
              </a:ext>
            </a:extLst>
          </p:cNvPr>
          <p:cNvPicPr>
            <a:picLocks noChangeArrowheads="1"/>
          </p:cNvPicPr>
          <p:nvPr userDrawn="1"/>
        </p:nvPicPr>
        <p:blipFill>
          <a:blip r:embed="rId2">
            <a:extLst>
              <a:ext uri="{28A0092B-C50C-407E-A947-70E740481C1C}">
                <a14:useLocalDpi xmlns:a14="http://schemas.microsoft.com/office/drawing/2010/main" val="0"/>
              </a:ext>
            </a:extLst>
          </a:blip>
          <a:srcRect b="-833"/>
          <a:stretch>
            <a:fillRect/>
          </a:stretch>
        </p:blipFill>
        <p:spPr bwMode="auto">
          <a:xfrm>
            <a:off x="7329055" y="205715"/>
            <a:ext cx="1829935" cy="365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25842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_Content writing ">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F50BD1-987A-4DD5-8C1F-E82E92170730}"/>
              </a:ext>
            </a:extLst>
          </p:cNvPr>
          <p:cNvSpPr/>
          <p:nvPr userDrawn="1"/>
        </p:nvSpPr>
        <p:spPr>
          <a:xfrm>
            <a:off x="0" y="6664204"/>
            <a:ext cx="9158990" cy="2087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844B87D0-AFDE-4678-B349-1AE3EEF99F36}"/>
              </a:ext>
            </a:extLst>
          </p:cNvPr>
          <p:cNvSpPr/>
          <p:nvPr userDrawn="1"/>
        </p:nvSpPr>
        <p:spPr>
          <a:xfrm>
            <a:off x="0" y="1"/>
            <a:ext cx="9158990" cy="76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 Placeholder 3">
            <a:extLst>
              <a:ext uri="{FF2B5EF4-FFF2-40B4-BE49-F238E27FC236}">
                <a16:creationId xmlns:a16="http://schemas.microsoft.com/office/drawing/2014/main" id="{7AC7A174-2989-4FEC-8BD1-B17717850A09}"/>
              </a:ext>
            </a:extLst>
          </p:cNvPr>
          <p:cNvSpPr>
            <a:spLocks noGrp="1"/>
          </p:cNvSpPr>
          <p:nvPr>
            <p:ph type="body" sz="quarter" idx="14"/>
          </p:nvPr>
        </p:nvSpPr>
        <p:spPr>
          <a:xfrm>
            <a:off x="132586" y="193795"/>
            <a:ext cx="7863840" cy="457200"/>
          </a:xfrm>
          <a:prstGeom prst="rect">
            <a:avLst/>
          </a:prstGeom>
          <a:noFill/>
          <a:ln>
            <a:noFill/>
          </a:ln>
        </p:spPr>
        <p:txBody>
          <a:bodyPr anchor="ctr">
            <a:normAutofit/>
          </a:bodyPr>
          <a:lstStyle>
            <a:lvl1pPr marL="0" indent="0" algn="l">
              <a:buNone/>
              <a:defRPr lang="en-US" sz="1600" b="1" kern="1200" spc="0" dirty="0">
                <a:solidFill>
                  <a:schemeClr val="bg2">
                    <a:lumMod val="25000"/>
                  </a:schemeClr>
                </a:solidFill>
                <a:latin typeface="Montserrat" panose="02000505000000020004" pitchFamily="2" charset="0"/>
                <a:ea typeface="+mn-ea"/>
                <a:cs typeface="Arial" panose="020B060402020202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dirty="0"/>
              <a:t>Edit Master text styles</a:t>
            </a:r>
          </a:p>
        </p:txBody>
      </p:sp>
      <p:sp>
        <p:nvSpPr>
          <p:cNvPr id="11" name="Rectangle 10">
            <a:extLst>
              <a:ext uri="{FF2B5EF4-FFF2-40B4-BE49-F238E27FC236}">
                <a16:creationId xmlns:a16="http://schemas.microsoft.com/office/drawing/2014/main" id="{7B7243E8-0460-4688-83E0-7CCFF91F81A6}"/>
              </a:ext>
            </a:extLst>
          </p:cNvPr>
          <p:cNvSpPr/>
          <p:nvPr userDrawn="1"/>
        </p:nvSpPr>
        <p:spPr>
          <a:xfrm>
            <a:off x="8743567" y="6515545"/>
            <a:ext cx="320136" cy="346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7">
            <a:extLst>
              <a:ext uri="{FF2B5EF4-FFF2-40B4-BE49-F238E27FC236}">
                <a16:creationId xmlns:a16="http://schemas.microsoft.com/office/drawing/2014/main" id="{C49F43AD-B4E0-4FA6-9F76-0D300FA52BA5}"/>
              </a:ext>
            </a:extLst>
          </p:cNvPr>
          <p:cNvSpPr txBox="1">
            <a:spLocks/>
          </p:cNvSpPr>
          <p:nvPr userDrawn="1"/>
        </p:nvSpPr>
        <p:spPr>
          <a:xfrm>
            <a:off x="8679472" y="6553645"/>
            <a:ext cx="445403" cy="365125"/>
          </a:xfrm>
          <a:prstGeom prst="rect">
            <a:avLst/>
          </a:prstGeom>
        </p:spPr>
        <p:txBody>
          <a:bodyPr vert="horz" lIns="91440" tIns="45720" rIns="91440" bIns="45720" rtlCol="0" anchor="ctr"/>
          <a:lstStyle>
            <a:defPPr>
              <a:defRPr lang="en-US"/>
            </a:defPPr>
            <a:lvl1pPr marL="0" algn="ctr" defTabSz="457200" rtl="0" eaLnBrk="1" latinLnBrk="0" hangingPunct="1">
              <a:defRPr sz="1200" b="1" kern="1200">
                <a:solidFill>
                  <a:srgbClr val="6A5D38"/>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A070E7C-0B96-4788-862A-C035E43D0D9C}" type="slidenum">
              <a:rPr lang="en-US" sz="1100" smtClean="0">
                <a:solidFill>
                  <a:sysClr val="windowText" lastClr="000000"/>
                </a:solidFill>
              </a:rPr>
              <a:pPr/>
              <a:t>‹#›</a:t>
            </a:fld>
            <a:endParaRPr lang="en-US" sz="1100" dirty="0">
              <a:solidFill>
                <a:sysClr val="windowText" lastClr="000000"/>
              </a:solidFill>
            </a:endParaRPr>
          </a:p>
        </p:txBody>
      </p:sp>
      <p:cxnSp>
        <p:nvCxnSpPr>
          <p:cNvPr id="12" name="Straight Connector 11">
            <a:extLst>
              <a:ext uri="{FF2B5EF4-FFF2-40B4-BE49-F238E27FC236}">
                <a16:creationId xmlns:a16="http://schemas.microsoft.com/office/drawing/2014/main" id="{AC78F8D4-D16E-47FE-90C4-A0E3B91056AC}"/>
              </a:ext>
            </a:extLst>
          </p:cNvPr>
          <p:cNvCxnSpPr>
            <a:cxnSpLocks/>
          </p:cNvCxnSpPr>
          <p:nvPr userDrawn="1"/>
        </p:nvCxnSpPr>
        <p:spPr>
          <a:xfrm>
            <a:off x="0" y="674560"/>
            <a:ext cx="5546361"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6">
            <a:extLst>
              <a:ext uri="{FF2B5EF4-FFF2-40B4-BE49-F238E27FC236}">
                <a16:creationId xmlns:a16="http://schemas.microsoft.com/office/drawing/2014/main" id="{17B05272-DC7F-4A4D-ACE3-6CB8CC81EBA9}"/>
              </a:ext>
            </a:extLst>
          </p:cNvPr>
          <p:cNvSpPr txBox="1">
            <a:spLocks/>
          </p:cNvSpPr>
          <p:nvPr userDrawn="1"/>
        </p:nvSpPr>
        <p:spPr>
          <a:xfrm>
            <a:off x="7584564" y="6701249"/>
            <a:ext cx="1335797" cy="143688"/>
          </a:xfrm>
          <a:prstGeom prst="rect">
            <a:avLst/>
          </a:prstGeom>
        </p:spPr>
        <p:txBody>
          <a:bodyPr vert="horz" lIns="91440" tIns="45720" rIns="91440" bIns="45720" rtlCol="0" anchor="ctr"/>
          <a:lstStyle>
            <a:defPPr>
              <a:defRPr lang="en-US"/>
            </a:defPPr>
            <a:lvl1pPr marL="0" algn="ctr" defTabSz="457200" rtl="0" eaLnBrk="1" latinLnBrk="0" hangingPunct="1">
              <a:defRPr sz="600" kern="12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tx2">
                    <a:lumMod val="50000"/>
                  </a:schemeClr>
                </a:solidFill>
              </a:rPr>
              <a:t>© ChemAnalyst </a:t>
            </a:r>
          </a:p>
        </p:txBody>
      </p:sp>
      <p:sp>
        <p:nvSpPr>
          <p:cNvPr id="14" name="Rectangle 13">
            <a:extLst>
              <a:ext uri="{FF2B5EF4-FFF2-40B4-BE49-F238E27FC236}">
                <a16:creationId xmlns:a16="http://schemas.microsoft.com/office/drawing/2014/main" id="{EC76C677-D5A6-4AA7-AE8E-4E464AD998BB}"/>
              </a:ext>
            </a:extLst>
          </p:cNvPr>
          <p:cNvSpPr/>
          <p:nvPr userDrawn="1"/>
        </p:nvSpPr>
        <p:spPr>
          <a:xfrm>
            <a:off x="-7495" y="46599"/>
            <a:ext cx="9158990" cy="76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Text&#10;&#10;Description automatically generated">
            <a:extLst>
              <a:ext uri="{FF2B5EF4-FFF2-40B4-BE49-F238E27FC236}">
                <a16:creationId xmlns:a16="http://schemas.microsoft.com/office/drawing/2014/main" id="{14146D9D-CEE8-469C-8816-33451D52DD2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72329" y="224055"/>
            <a:ext cx="1352546" cy="349249"/>
          </a:xfrm>
          <a:prstGeom prst="rect">
            <a:avLst/>
          </a:prstGeom>
        </p:spPr>
      </p:pic>
    </p:spTree>
    <p:extLst>
      <p:ext uri="{BB962C8B-B14F-4D97-AF65-F5344CB8AC3E}">
        <p14:creationId xmlns:p14="http://schemas.microsoft.com/office/powerpoint/2010/main" val="643666938"/>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3D89A5A-19BD-40A0-A52E-28D4E5BF17EE}"/>
              </a:ext>
            </a:extLst>
          </p:cNvPr>
          <p:cNvSpPr/>
          <p:nvPr userDrawn="1"/>
        </p:nvSpPr>
        <p:spPr>
          <a:xfrm flipV="1">
            <a:off x="-1" y="6723356"/>
            <a:ext cx="9143999" cy="13464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B20335A8-5E01-48CE-B6D9-434A57448EE7}"/>
              </a:ext>
            </a:extLst>
          </p:cNvPr>
          <p:cNvSpPr/>
          <p:nvPr userDrawn="1"/>
        </p:nvSpPr>
        <p:spPr>
          <a:xfrm>
            <a:off x="0" y="0"/>
            <a:ext cx="9144000" cy="588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E85F9CA9-33D7-496A-B5D7-5DB7B40AF92B}"/>
              </a:ext>
            </a:extLst>
          </p:cNvPr>
          <p:cNvSpPr/>
          <p:nvPr userDrawn="1"/>
        </p:nvSpPr>
        <p:spPr>
          <a:xfrm>
            <a:off x="8544757" y="6598950"/>
            <a:ext cx="481905" cy="200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 name="Straight Connector 9">
            <a:extLst>
              <a:ext uri="{FF2B5EF4-FFF2-40B4-BE49-F238E27FC236}">
                <a16:creationId xmlns:a16="http://schemas.microsoft.com/office/drawing/2014/main" id="{727F7F62-0F25-4FB4-A117-98AEC8C4D55A}"/>
              </a:ext>
            </a:extLst>
          </p:cNvPr>
          <p:cNvCxnSpPr>
            <a:cxnSpLocks/>
          </p:cNvCxnSpPr>
          <p:nvPr userDrawn="1"/>
        </p:nvCxnSpPr>
        <p:spPr>
          <a:xfrm>
            <a:off x="0" y="660816"/>
            <a:ext cx="51625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Slide Number Placeholder 7">
            <a:extLst>
              <a:ext uri="{FF2B5EF4-FFF2-40B4-BE49-F238E27FC236}">
                <a16:creationId xmlns:a16="http://schemas.microsoft.com/office/drawing/2014/main" id="{69407D32-86D1-40B1-BE6B-9D73DF6325B8}"/>
              </a:ext>
            </a:extLst>
          </p:cNvPr>
          <p:cNvSpPr txBox="1">
            <a:spLocks/>
          </p:cNvSpPr>
          <p:nvPr userDrawn="1"/>
        </p:nvSpPr>
        <p:spPr>
          <a:xfrm>
            <a:off x="8605062" y="6508363"/>
            <a:ext cx="445403" cy="365125"/>
          </a:xfrm>
          <a:prstGeom prst="rect">
            <a:avLst/>
          </a:prstGeom>
        </p:spPr>
        <p:txBody>
          <a:bodyPr vert="horz" lIns="91440" tIns="45720" rIns="91440" bIns="45720" rtlCol="0" anchor="ctr"/>
          <a:lstStyle>
            <a:defPPr>
              <a:defRPr lang="en-US"/>
            </a:defPPr>
            <a:lvl1pPr marL="0" algn="ctr" defTabSz="457200" rtl="0" eaLnBrk="1" latinLnBrk="0" hangingPunct="1">
              <a:defRPr sz="1200" b="1" kern="1200">
                <a:solidFill>
                  <a:srgbClr val="6A5D38"/>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A070E7C-0B96-4788-862A-C035E43D0D9C}" type="slidenum">
              <a:rPr lang="en-US" smtClean="0">
                <a:solidFill>
                  <a:schemeClr val="bg2">
                    <a:lumMod val="25000"/>
                  </a:schemeClr>
                </a:solidFill>
              </a:rPr>
              <a:pPr/>
              <a:t>‹#›</a:t>
            </a:fld>
            <a:endParaRPr lang="en-US" dirty="0">
              <a:solidFill>
                <a:schemeClr val="bg2">
                  <a:lumMod val="25000"/>
                </a:schemeClr>
              </a:solidFill>
            </a:endParaRPr>
          </a:p>
        </p:txBody>
      </p:sp>
      <p:sp>
        <p:nvSpPr>
          <p:cNvPr id="12" name="Footer Placeholder 6">
            <a:extLst>
              <a:ext uri="{FF2B5EF4-FFF2-40B4-BE49-F238E27FC236}">
                <a16:creationId xmlns:a16="http://schemas.microsoft.com/office/drawing/2014/main" id="{F51D29E1-32F4-4AB9-9110-7B11DB18A365}"/>
              </a:ext>
            </a:extLst>
          </p:cNvPr>
          <p:cNvSpPr txBox="1">
            <a:spLocks/>
          </p:cNvSpPr>
          <p:nvPr userDrawn="1"/>
        </p:nvSpPr>
        <p:spPr>
          <a:xfrm rot="16200000">
            <a:off x="8455052" y="6012765"/>
            <a:ext cx="1094744" cy="143688"/>
          </a:xfrm>
          <a:prstGeom prst="rect">
            <a:avLst/>
          </a:prstGeom>
        </p:spPr>
        <p:txBody>
          <a:bodyPr vert="horz" lIns="91440" tIns="45720" rIns="91440" bIns="45720" rtlCol="0" anchor="ctr"/>
          <a:lstStyle>
            <a:defPPr>
              <a:defRPr lang="en-US"/>
            </a:defPPr>
            <a:lvl1pPr marL="0" algn="ctr" defTabSz="457200" rtl="0" eaLnBrk="1" latinLnBrk="0" hangingPunct="1">
              <a:defRPr sz="600" kern="12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2">
                    <a:lumMod val="25000"/>
                  </a:schemeClr>
                </a:solidFill>
              </a:rPr>
              <a:t>© ChemAnalyst</a:t>
            </a:r>
          </a:p>
        </p:txBody>
      </p:sp>
      <p:pic>
        <p:nvPicPr>
          <p:cNvPr id="13" name="object 26">
            <a:extLst>
              <a:ext uri="{FF2B5EF4-FFF2-40B4-BE49-F238E27FC236}">
                <a16:creationId xmlns:a16="http://schemas.microsoft.com/office/drawing/2014/main" id="{817E2A21-3A83-4843-A5B6-84C5D0236589}"/>
              </a:ext>
            </a:extLst>
          </p:cNvPr>
          <p:cNvPicPr>
            <a:picLocks noChangeArrowheads="1"/>
          </p:cNvPicPr>
          <p:nvPr userDrawn="1"/>
        </p:nvPicPr>
        <p:blipFill>
          <a:blip r:embed="rId2">
            <a:extLst>
              <a:ext uri="{28A0092B-C50C-407E-A947-70E740481C1C}">
                <a14:useLocalDpi xmlns:a14="http://schemas.microsoft.com/office/drawing/2010/main" val="0"/>
              </a:ext>
            </a:extLst>
          </a:blip>
          <a:srcRect b="-833"/>
          <a:stretch>
            <a:fillRect/>
          </a:stretch>
        </p:blipFill>
        <p:spPr bwMode="auto">
          <a:xfrm>
            <a:off x="7329055" y="205715"/>
            <a:ext cx="1829935" cy="365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13563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22B7517-82CA-40CD-BD41-4C19A3BD03FE}" type="datetimeFigureOut">
              <a:rPr lang="en-US" smtClean="0"/>
              <a:t>7/3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10495349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22B7517-82CA-40CD-BD41-4C19A3BD03FE}" type="datetimeFigureOut">
              <a:rPr lang="en-US" smtClean="0"/>
              <a:t>7/3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27870216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522B7517-82CA-40CD-BD41-4C19A3BD03FE}" type="datetimeFigureOut">
              <a:rPr lang="en-US" smtClean="0"/>
              <a:t>7/30/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25883497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22B7517-82CA-40CD-BD41-4C19A3BD03FE}" type="datetimeFigureOut">
              <a:rPr lang="en-US" smtClean="0"/>
              <a:t>7/30/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18271530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22B7517-82CA-40CD-BD41-4C19A3BD03FE}" type="datetimeFigureOut">
              <a:rPr lang="en-US" smtClean="0"/>
              <a:t>7/30/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12305571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22B7517-82CA-40CD-BD41-4C19A3BD03FE}" type="datetimeFigureOut">
              <a:rPr lang="en-US" smtClean="0"/>
              <a:t>7/3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1447806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22B7517-82CA-40CD-BD41-4C19A3BD03FE}" type="datetimeFigureOut">
              <a:rPr lang="en-US" smtClean="0"/>
              <a:t>7/3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17548754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22B7517-82CA-40CD-BD41-4C19A3BD03FE}" type="datetimeFigureOut">
              <a:rPr lang="en-US" smtClean="0"/>
              <a:t>7/30/2021</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6AED6D-4173-47FA-8446-842C50E32E7E}" type="slidenum">
              <a:rPr lang="en-US" smtClean="0"/>
              <a:t>‹#›</a:t>
            </a:fld>
            <a:endParaRPr lang="en-US"/>
          </a:p>
        </p:txBody>
      </p:sp>
    </p:spTree>
    <p:extLst>
      <p:ext uri="{BB962C8B-B14F-4D97-AF65-F5344CB8AC3E}">
        <p14:creationId xmlns:p14="http://schemas.microsoft.com/office/powerpoint/2010/main" val="350442903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8" r:id="rId16"/>
    <p:sldLayoutId id="2147483679"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2.xml"/></Relationships>
</file>

<file path=ppt/slides/_rels/slide100.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Layout" Target="../slideLayouts/slideLayout13.xml"/></Relationships>
</file>

<file path=ppt/slides/_rels/slide10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1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6.xml.rels><?xml version="1.0" encoding="UTF-8" standalone="yes"?>
<Relationships xmlns="http://schemas.openxmlformats.org/package/2006/relationships"><Relationship Id="rId3" Type="http://schemas.openxmlformats.org/officeDocument/2006/relationships/chart" Target="../charts/chart74.xml"/><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3" Type="http://schemas.openxmlformats.org/officeDocument/2006/relationships/chart" Target="../charts/chart75.xml"/><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2.xml"/><Relationship Id="rId5" Type="http://schemas.openxmlformats.org/officeDocument/2006/relationships/chart" Target="../charts/chart4.xml"/><Relationship Id="rId4" Type="http://schemas.openxmlformats.org/officeDocument/2006/relationships/chart" Target="../charts/chart3.xml"/></Relationships>
</file>

<file path=ppt/slides/_rels/slide1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13.xml"/><Relationship Id="rId5" Type="http://schemas.openxmlformats.org/officeDocument/2006/relationships/chart" Target="../charts/chart9.xml"/><Relationship Id="rId4" Type="http://schemas.openxmlformats.org/officeDocument/2006/relationships/chart" Target="../charts/chart8.xml"/></Relationships>
</file>

<file path=ppt/slides/_rels/slide19.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jpe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chart" Target="../charts/chart11.xml"/><Relationship Id="rId1" Type="http://schemas.openxmlformats.org/officeDocument/2006/relationships/slideLayout" Target="../slideLayouts/slideLayout12.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12.xml"/><Relationship Id="rId4" Type="http://schemas.openxmlformats.org/officeDocument/2006/relationships/chart" Target="../charts/chart14.xml"/></Relationships>
</file>

<file path=ppt/slides/_rels/slide24.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chart" Target="../charts/chart22.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chart" Target="../charts/chart23.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chart" Target="../charts/chart25.xml"/><Relationship Id="rId1" Type="http://schemas.openxmlformats.org/officeDocument/2006/relationships/slideLayout" Target="../slideLayouts/slideLayout12.xml"/><Relationship Id="rId4" Type="http://schemas.openxmlformats.org/officeDocument/2006/relationships/chart" Target="../charts/chart2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chart" Target="../charts/chart28.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chart" Target="../charts/chart30.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chart" Target="../charts/chart32.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chart" Target="../charts/chart34.xml"/><Relationship Id="rId1" Type="http://schemas.openxmlformats.org/officeDocument/2006/relationships/slideLayout" Target="../slideLayouts/slideLayout12.xml"/><Relationship Id="rId4" Type="http://schemas.openxmlformats.org/officeDocument/2006/relationships/chart" Target="../charts/chart3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2" Type="http://schemas.openxmlformats.org/officeDocument/2006/relationships/chart" Target="../charts/chart37.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2" Type="http://schemas.openxmlformats.org/officeDocument/2006/relationships/chart" Target="../charts/chart38.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chart" Target="../charts/chart39.xm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1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4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chart" Target="../charts/chart41.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chart" Target="../charts/chart43.xml"/><Relationship Id="rId1" Type="http://schemas.openxmlformats.org/officeDocument/2006/relationships/slideLayout" Target="../slideLayouts/slideLayout12.xml"/><Relationship Id="rId4" Type="http://schemas.openxmlformats.org/officeDocument/2006/relationships/chart" Target="../charts/chart4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2" Type="http://schemas.openxmlformats.org/officeDocument/2006/relationships/chart" Target="../charts/chart46.xm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2" Type="http://schemas.openxmlformats.org/officeDocument/2006/relationships/chart" Target="../charts/chart47.xml"/><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3" Type="http://schemas.openxmlformats.org/officeDocument/2006/relationships/chart" Target="../charts/chart49.xml"/><Relationship Id="rId2" Type="http://schemas.openxmlformats.org/officeDocument/2006/relationships/chart" Target="../charts/chart48.xml"/><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2.xml"/><Relationship Id="rId6" Type="http://schemas.openxmlformats.org/officeDocument/2006/relationships/image" Target="../media/image20.png"/><Relationship Id="rId5" Type="http://schemas.openxmlformats.org/officeDocument/2006/relationships/image" Target="../media/image32.png"/><Relationship Id="rId4" Type="http://schemas.openxmlformats.org/officeDocument/2006/relationships/image" Target="../media/image31.png"/></Relationships>
</file>

<file path=ppt/slides/_rels/slide5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chart" Target="../charts/chart50.xml"/><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3" Type="http://schemas.openxmlformats.org/officeDocument/2006/relationships/chart" Target="../charts/chart53.xml"/><Relationship Id="rId2" Type="http://schemas.openxmlformats.org/officeDocument/2006/relationships/chart" Target="../charts/chart52.xml"/><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0.xml.rels><?xml version="1.0" encoding="UTF-8" standalone="yes"?>
<Relationships xmlns="http://schemas.openxmlformats.org/package/2006/relationships"><Relationship Id="rId2" Type="http://schemas.openxmlformats.org/officeDocument/2006/relationships/chart" Target="../charts/chart54.xml"/><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2" Type="http://schemas.openxmlformats.org/officeDocument/2006/relationships/chart" Target="../charts/chart55.xml"/><Relationship Id="rId1" Type="http://schemas.openxmlformats.org/officeDocument/2006/relationships/slideLayout" Target="../slideLayouts/slideLayout12.xml"/></Relationships>
</file>

<file path=ppt/slides/_rels/slide62.xml.rels><?xml version="1.0" encoding="UTF-8" standalone="yes"?>
<Relationships xmlns="http://schemas.openxmlformats.org/package/2006/relationships"><Relationship Id="rId3" Type="http://schemas.openxmlformats.org/officeDocument/2006/relationships/chart" Target="../charts/chart57.xml"/><Relationship Id="rId2" Type="http://schemas.openxmlformats.org/officeDocument/2006/relationships/chart" Target="../charts/chart56.xml"/><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5.png"/><Relationship Id="rId2" Type="http://schemas.openxmlformats.org/officeDocument/2006/relationships/image" Target="../media/image33.png"/><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5.png"/><Relationship Id="rId4" Type="http://schemas.openxmlformats.org/officeDocument/2006/relationships/image" Target="../media/image24.png"/></Relationships>
</file>

<file path=ppt/slides/_rels/slide6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3" Type="http://schemas.openxmlformats.org/officeDocument/2006/relationships/chart" Target="../charts/chart59.xml"/><Relationship Id="rId2" Type="http://schemas.openxmlformats.org/officeDocument/2006/relationships/chart" Target="../charts/chart58.xml"/><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chart" Target="../charts/chart60.xml"/><Relationship Id="rId1" Type="http://schemas.openxmlformats.org/officeDocument/2006/relationships/slideLayout" Target="../slideLayouts/slideLayout12.xml"/><Relationship Id="rId4" Type="http://schemas.openxmlformats.org/officeDocument/2006/relationships/chart" Target="../charts/chart6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2" Type="http://schemas.openxmlformats.org/officeDocument/2006/relationships/chart" Target="../charts/chart63.xml"/><Relationship Id="rId1" Type="http://schemas.openxmlformats.org/officeDocument/2006/relationships/slideLayout" Target="../slideLayouts/slideLayout12.xml"/></Relationships>
</file>

<file path=ppt/slides/_rels/slide69.xml.rels><?xml version="1.0" encoding="UTF-8" standalone="yes"?>
<Relationships xmlns="http://schemas.openxmlformats.org/package/2006/relationships"><Relationship Id="rId2" Type="http://schemas.openxmlformats.org/officeDocument/2006/relationships/chart" Target="../charts/chart64.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0.xml.rels><?xml version="1.0" encoding="UTF-8" standalone="yes"?>
<Relationships xmlns="http://schemas.openxmlformats.org/package/2006/relationships"><Relationship Id="rId3" Type="http://schemas.openxmlformats.org/officeDocument/2006/relationships/chart" Target="../charts/chart66.xml"/><Relationship Id="rId2" Type="http://schemas.openxmlformats.org/officeDocument/2006/relationships/chart" Target="../charts/chart65.xml"/><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35.png"/><Relationship Id="rId2" Type="http://schemas.openxmlformats.org/officeDocument/2006/relationships/image" Target="../media/image36.png"/><Relationship Id="rId1" Type="http://schemas.openxmlformats.org/officeDocument/2006/relationships/slideLayout" Target="../slideLayouts/slideLayout12.xml"/><Relationship Id="rId6" Type="http://schemas.openxmlformats.org/officeDocument/2006/relationships/image" Target="../media/image39.png"/><Relationship Id="rId5" Type="http://schemas.openxmlformats.org/officeDocument/2006/relationships/image" Target="../media/image28.png"/><Relationship Id="rId4" Type="http://schemas.openxmlformats.org/officeDocument/2006/relationships/image" Target="../media/image38.png"/></Relationships>
</file>

<file path=ppt/slides/_rels/slide7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2.xml"/></Relationships>
</file>

<file path=ppt/slides/_rels/slide73.xml.rels><?xml version="1.0" encoding="UTF-8" standalone="yes"?>
<Relationships xmlns="http://schemas.openxmlformats.org/package/2006/relationships"><Relationship Id="rId3" Type="http://schemas.openxmlformats.org/officeDocument/2006/relationships/chart" Target="../charts/chart68.xml"/><Relationship Id="rId2" Type="http://schemas.openxmlformats.org/officeDocument/2006/relationships/chart" Target="../charts/chart67.xml"/><Relationship Id="rId1" Type="http://schemas.openxmlformats.org/officeDocument/2006/relationships/slideLayout" Target="../slideLayouts/slideLayout12.xml"/></Relationships>
</file>

<file path=ppt/slides/_rels/slide74.xml.rels><?xml version="1.0" encoding="UTF-8" standalone="yes"?>
<Relationships xmlns="http://schemas.openxmlformats.org/package/2006/relationships"><Relationship Id="rId3" Type="http://schemas.openxmlformats.org/officeDocument/2006/relationships/chart" Target="../charts/chart70.xml"/><Relationship Id="rId2" Type="http://schemas.openxmlformats.org/officeDocument/2006/relationships/chart" Target="../charts/chart69.xml"/><Relationship Id="rId1" Type="http://schemas.openxmlformats.org/officeDocument/2006/relationships/slideLayout" Target="../slideLayouts/slideLayout12.xml"/></Relationships>
</file>

<file path=ppt/slides/_rels/slide75.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1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7.xml.rels><?xml version="1.0" encoding="UTF-8" standalone="yes"?>
<Relationships xmlns="http://schemas.openxmlformats.org/package/2006/relationships"><Relationship Id="rId3" Type="http://schemas.openxmlformats.org/officeDocument/2006/relationships/chart" Target="../charts/chart71.xml"/><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79.xml.rels><?xml version="1.0" encoding="UTF-8" standalone="yes"?>
<Relationships xmlns="http://schemas.openxmlformats.org/package/2006/relationships"><Relationship Id="rId3" Type="http://schemas.openxmlformats.org/officeDocument/2006/relationships/chart" Target="../charts/chart72.xml"/><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0.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13.xml"/></Relationships>
</file>

<file path=ppt/slides/_rels/slide8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82.xml.rels><?xml version="1.0" encoding="UTF-8" standalone="yes"?>
<Relationships xmlns="http://schemas.openxmlformats.org/package/2006/relationships"><Relationship Id="rId3" Type="http://schemas.openxmlformats.org/officeDocument/2006/relationships/chart" Target="../charts/chart73.xml"/><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83.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13.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89.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3.xml"/></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image" Target="../media/image43.png"/></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44.png"/></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image" Target="../media/image45.png"/></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image" Target="../media/image46.png"/></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image" Target="../media/image47.png"/></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image" Target="../media/image48.png"/></Relationships>
</file>

<file path=ppt/slides/_rels/slide9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2.xml"/></Relationships>
</file>

<file path=ppt/slides/_rels/slide9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4.xml"/></Relationships>
</file>

<file path=ppt/slides/_rels/slide9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4.xml"/></Relationships>
</file>

<file path=ppt/slides/_rels/slide99.xml.rels><?xml version="1.0" encoding="UTF-8" standalone="yes"?>
<Relationships xmlns="http://schemas.openxmlformats.org/package/2006/relationships"><Relationship Id="rId117" Type="http://schemas.openxmlformats.org/officeDocument/2006/relationships/tags" Target="../tags/tag129.xml"/><Relationship Id="rId299" Type="http://schemas.openxmlformats.org/officeDocument/2006/relationships/tags" Target="../tags/tag311.xml"/><Relationship Id="rId21" Type="http://schemas.openxmlformats.org/officeDocument/2006/relationships/tags" Target="../tags/tag33.xml"/><Relationship Id="rId63" Type="http://schemas.openxmlformats.org/officeDocument/2006/relationships/tags" Target="../tags/tag75.xml"/><Relationship Id="rId159" Type="http://schemas.openxmlformats.org/officeDocument/2006/relationships/tags" Target="../tags/tag171.xml"/><Relationship Id="rId324" Type="http://schemas.openxmlformats.org/officeDocument/2006/relationships/tags" Target="../tags/tag336.xml"/><Relationship Id="rId366" Type="http://schemas.openxmlformats.org/officeDocument/2006/relationships/tags" Target="../tags/tag378.xml"/><Relationship Id="rId170" Type="http://schemas.openxmlformats.org/officeDocument/2006/relationships/tags" Target="../tags/tag182.xml"/><Relationship Id="rId226" Type="http://schemas.openxmlformats.org/officeDocument/2006/relationships/tags" Target="../tags/tag238.xml"/><Relationship Id="rId268" Type="http://schemas.openxmlformats.org/officeDocument/2006/relationships/tags" Target="../tags/tag280.xml"/><Relationship Id="rId32" Type="http://schemas.openxmlformats.org/officeDocument/2006/relationships/tags" Target="../tags/tag44.xml"/><Relationship Id="rId74" Type="http://schemas.openxmlformats.org/officeDocument/2006/relationships/tags" Target="../tags/tag86.xml"/><Relationship Id="rId128" Type="http://schemas.openxmlformats.org/officeDocument/2006/relationships/tags" Target="../tags/tag140.xml"/><Relationship Id="rId335" Type="http://schemas.openxmlformats.org/officeDocument/2006/relationships/tags" Target="../tags/tag347.xml"/><Relationship Id="rId377" Type="http://schemas.openxmlformats.org/officeDocument/2006/relationships/tags" Target="../tags/tag389.xml"/><Relationship Id="rId5" Type="http://schemas.openxmlformats.org/officeDocument/2006/relationships/tags" Target="../tags/tag17.xml"/><Relationship Id="rId181" Type="http://schemas.openxmlformats.org/officeDocument/2006/relationships/tags" Target="../tags/tag193.xml"/><Relationship Id="rId237" Type="http://schemas.openxmlformats.org/officeDocument/2006/relationships/tags" Target="../tags/tag249.xml"/><Relationship Id="rId279" Type="http://schemas.openxmlformats.org/officeDocument/2006/relationships/tags" Target="../tags/tag291.xml"/><Relationship Id="rId43" Type="http://schemas.openxmlformats.org/officeDocument/2006/relationships/tags" Target="../tags/tag55.xml"/><Relationship Id="rId139" Type="http://schemas.openxmlformats.org/officeDocument/2006/relationships/tags" Target="../tags/tag151.xml"/><Relationship Id="rId290" Type="http://schemas.openxmlformats.org/officeDocument/2006/relationships/tags" Target="../tags/tag302.xml"/><Relationship Id="rId304" Type="http://schemas.openxmlformats.org/officeDocument/2006/relationships/tags" Target="../tags/tag316.xml"/><Relationship Id="rId346" Type="http://schemas.openxmlformats.org/officeDocument/2006/relationships/tags" Target="../tags/tag358.xml"/><Relationship Id="rId85" Type="http://schemas.openxmlformats.org/officeDocument/2006/relationships/tags" Target="../tags/tag97.xml"/><Relationship Id="rId150" Type="http://schemas.openxmlformats.org/officeDocument/2006/relationships/tags" Target="../tags/tag162.xml"/><Relationship Id="rId192" Type="http://schemas.openxmlformats.org/officeDocument/2006/relationships/tags" Target="../tags/tag204.xml"/><Relationship Id="rId206" Type="http://schemas.openxmlformats.org/officeDocument/2006/relationships/tags" Target="../tags/tag218.xml"/><Relationship Id="rId248" Type="http://schemas.openxmlformats.org/officeDocument/2006/relationships/tags" Target="../tags/tag260.xml"/><Relationship Id="rId12" Type="http://schemas.openxmlformats.org/officeDocument/2006/relationships/tags" Target="../tags/tag24.xml"/><Relationship Id="rId108" Type="http://schemas.openxmlformats.org/officeDocument/2006/relationships/tags" Target="../tags/tag120.xml"/><Relationship Id="rId315" Type="http://schemas.openxmlformats.org/officeDocument/2006/relationships/tags" Target="../tags/tag327.xml"/><Relationship Id="rId357" Type="http://schemas.openxmlformats.org/officeDocument/2006/relationships/tags" Target="../tags/tag369.xml"/><Relationship Id="rId54" Type="http://schemas.openxmlformats.org/officeDocument/2006/relationships/tags" Target="../tags/tag66.xml"/><Relationship Id="rId96" Type="http://schemas.openxmlformats.org/officeDocument/2006/relationships/tags" Target="../tags/tag108.xml"/><Relationship Id="rId161" Type="http://schemas.openxmlformats.org/officeDocument/2006/relationships/tags" Target="../tags/tag173.xml"/><Relationship Id="rId217" Type="http://schemas.openxmlformats.org/officeDocument/2006/relationships/tags" Target="../tags/tag229.xml"/><Relationship Id="rId259" Type="http://schemas.openxmlformats.org/officeDocument/2006/relationships/tags" Target="../tags/tag271.xml"/><Relationship Id="rId23" Type="http://schemas.openxmlformats.org/officeDocument/2006/relationships/tags" Target="../tags/tag35.xml"/><Relationship Id="rId119" Type="http://schemas.openxmlformats.org/officeDocument/2006/relationships/tags" Target="../tags/tag131.xml"/><Relationship Id="rId270" Type="http://schemas.openxmlformats.org/officeDocument/2006/relationships/tags" Target="../tags/tag282.xml"/><Relationship Id="rId326" Type="http://schemas.openxmlformats.org/officeDocument/2006/relationships/tags" Target="../tags/tag338.xml"/><Relationship Id="rId65" Type="http://schemas.openxmlformats.org/officeDocument/2006/relationships/tags" Target="../tags/tag77.xml"/><Relationship Id="rId130" Type="http://schemas.openxmlformats.org/officeDocument/2006/relationships/tags" Target="../tags/tag142.xml"/><Relationship Id="rId368" Type="http://schemas.openxmlformats.org/officeDocument/2006/relationships/tags" Target="../tags/tag380.xml"/><Relationship Id="rId172" Type="http://schemas.openxmlformats.org/officeDocument/2006/relationships/tags" Target="../tags/tag184.xml"/><Relationship Id="rId228" Type="http://schemas.openxmlformats.org/officeDocument/2006/relationships/tags" Target="../tags/tag240.xml"/><Relationship Id="rId281" Type="http://schemas.openxmlformats.org/officeDocument/2006/relationships/tags" Target="../tags/tag293.xml"/><Relationship Id="rId337" Type="http://schemas.openxmlformats.org/officeDocument/2006/relationships/tags" Target="../tags/tag349.xml"/><Relationship Id="rId34" Type="http://schemas.openxmlformats.org/officeDocument/2006/relationships/tags" Target="../tags/tag46.xml"/><Relationship Id="rId76" Type="http://schemas.openxmlformats.org/officeDocument/2006/relationships/tags" Target="../tags/tag88.xml"/><Relationship Id="rId141" Type="http://schemas.openxmlformats.org/officeDocument/2006/relationships/tags" Target="../tags/tag153.xml"/><Relationship Id="rId379" Type="http://schemas.openxmlformats.org/officeDocument/2006/relationships/tags" Target="../tags/tag391.xml"/><Relationship Id="rId7" Type="http://schemas.openxmlformats.org/officeDocument/2006/relationships/tags" Target="../tags/tag19.xml"/><Relationship Id="rId183" Type="http://schemas.openxmlformats.org/officeDocument/2006/relationships/tags" Target="../tags/tag195.xml"/><Relationship Id="rId239" Type="http://schemas.openxmlformats.org/officeDocument/2006/relationships/tags" Target="../tags/tag251.xml"/><Relationship Id="rId250" Type="http://schemas.openxmlformats.org/officeDocument/2006/relationships/tags" Target="../tags/tag262.xml"/><Relationship Id="rId292" Type="http://schemas.openxmlformats.org/officeDocument/2006/relationships/tags" Target="../tags/tag304.xml"/><Relationship Id="rId306" Type="http://schemas.openxmlformats.org/officeDocument/2006/relationships/tags" Target="../tags/tag318.xml"/><Relationship Id="rId45" Type="http://schemas.openxmlformats.org/officeDocument/2006/relationships/tags" Target="../tags/tag57.xml"/><Relationship Id="rId87" Type="http://schemas.openxmlformats.org/officeDocument/2006/relationships/tags" Target="../tags/tag99.xml"/><Relationship Id="rId110" Type="http://schemas.openxmlformats.org/officeDocument/2006/relationships/tags" Target="../tags/tag122.xml"/><Relationship Id="rId348" Type="http://schemas.openxmlformats.org/officeDocument/2006/relationships/tags" Target="../tags/tag360.xml"/><Relationship Id="rId152" Type="http://schemas.openxmlformats.org/officeDocument/2006/relationships/tags" Target="../tags/tag164.xml"/><Relationship Id="rId194" Type="http://schemas.openxmlformats.org/officeDocument/2006/relationships/tags" Target="../tags/tag206.xml"/><Relationship Id="rId208" Type="http://schemas.openxmlformats.org/officeDocument/2006/relationships/tags" Target="../tags/tag220.xml"/><Relationship Id="rId261" Type="http://schemas.openxmlformats.org/officeDocument/2006/relationships/tags" Target="../tags/tag273.xml"/><Relationship Id="rId14" Type="http://schemas.openxmlformats.org/officeDocument/2006/relationships/tags" Target="../tags/tag26.xml"/><Relationship Id="rId56" Type="http://schemas.openxmlformats.org/officeDocument/2006/relationships/tags" Target="../tags/tag68.xml"/><Relationship Id="rId317" Type="http://schemas.openxmlformats.org/officeDocument/2006/relationships/tags" Target="../tags/tag329.xml"/><Relationship Id="rId359" Type="http://schemas.openxmlformats.org/officeDocument/2006/relationships/tags" Target="../tags/tag371.xml"/><Relationship Id="rId98" Type="http://schemas.openxmlformats.org/officeDocument/2006/relationships/tags" Target="../tags/tag110.xml"/><Relationship Id="rId121" Type="http://schemas.openxmlformats.org/officeDocument/2006/relationships/tags" Target="../tags/tag133.xml"/><Relationship Id="rId163" Type="http://schemas.openxmlformats.org/officeDocument/2006/relationships/tags" Target="../tags/tag175.xml"/><Relationship Id="rId219" Type="http://schemas.openxmlformats.org/officeDocument/2006/relationships/tags" Target="../tags/tag231.xml"/><Relationship Id="rId370" Type="http://schemas.openxmlformats.org/officeDocument/2006/relationships/tags" Target="../tags/tag382.xml"/><Relationship Id="rId230" Type="http://schemas.openxmlformats.org/officeDocument/2006/relationships/tags" Target="../tags/tag242.xml"/><Relationship Id="rId25" Type="http://schemas.openxmlformats.org/officeDocument/2006/relationships/tags" Target="../tags/tag37.xml"/><Relationship Id="rId67" Type="http://schemas.openxmlformats.org/officeDocument/2006/relationships/tags" Target="../tags/tag79.xml"/><Relationship Id="rId272" Type="http://schemas.openxmlformats.org/officeDocument/2006/relationships/tags" Target="../tags/tag284.xml"/><Relationship Id="rId328" Type="http://schemas.openxmlformats.org/officeDocument/2006/relationships/tags" Target="../tags/tag340.xml"/><Relationship Id="rId132" Type="http://schemas.openxmlformats.org/officeDocument/2006/relationships/tags" Target="../tags/tag144.xml"/><Relationship Id="rId174" Type="http://schemas.openxmlformats.org/officeDocument/2006/relationships/tags" Target="../tags/tag186.xml"/><Relationship Id="rId381" Type="http://schemas.openxmlformats.org/officeDocument/2006/relationships/tags" Target="../tags/tag393.xml"/><Relationship Id="rId241" Type="http://schemas.openxmlformats.org/officeDocument/2006/relationships/tags" Target="../tags/tag253.xml"/><Relationship Id="rId36" Type="http://schemas.openxmlformats.org/officeDocument/2006/relationships/tags" Target="../tags/tag48.xml"/><Relationship Id="rId283" Type="http://schemas.openxmlformats.org/officeDocument/2006/relationships/tags" Target="../tags/tag295.xml"/><Relationship Id="rId339" Type="http://schemas.openxmlformats.org/officeDocument/2006/relationships/tags" Target="../tags/tag351.xml"/><Relationship Id="rId78" Type="http://schemas.openxmlformats.org/officeDocument/2006/relationships/tags" Target="../tags/tag90.xml"/><Relationship Id="rId101" Type="http://schemas.openxmlformats.org/officeDocument/2006/relationships/tags" Target="../tags/tag113.xml"/><Relationship Id="rId143" Type="http://schemas.openxmlformats.org/officeDocument/2006/relationships/tags" Target="../tags/tag155.xml"/><Relationship Id="rId185" Type="http://schemas.openxmlformats.org/officeDocument/2006/relationships/tags" Target="../tags/tag197.xml"/><Relationship Id="rId350" Type="http://schemas.openxmlformats.org/officeDocument/2006/relationships/tags" Target="../tags/tag362.xml"/><Relationship Id="rId9" Type="http://schemas.openxmlformats.org/officeDocument/2006/relationships/tags" Target="../tags/tag21.xml"/><Relationship Id="rId210" Type="http://schemas.openxmlformats.org/officeDocument/2006/relationships/tags" Target="../tags/tag222.xml"/><Relationship Id="rId26" Type="http://schemas.openxmlformats.org/officeDocument/2006/relationships/tags" Target="../tags/tag38.xml"/><Relationship Id="rId231" Type="http://schemas.openxmlformats.org/officeDocument/2006/relationships/tags" Target="../tags/tag243.xml"/><Relationship Id="rId252" Type="http://schemas.openxmlformats.org/officeDocument/2006/relationships/tags" Target="../tags/tag264.xml"/><Relationship Id="rId273" Type="http://schemas.openxmlformats.org/officeDocument/2006/relationships/tags" Target="../tags/tag285.xml"/><Relationship Id="rId294" Type="http://schemas.openxmlformats.org/officeDocument/2006/relationships/tags" Target="../tags/tag306.xml"/><Relationship Id="rId308" Type="http://schemas.openxmlformats.org/officeDocument/2006/relationships/tags" Target="../tags/tag320.xml"/><Relationship Id="rId329" Type="http://schemas.openxmlformats.org/officeDocument/2006/relationships/tags" Target="../tags/tag341.xml"/><Relationship Id="rId47" Type="http://schemas.openxmlformats.org/officeDocument/2006/relationships/tags" Target="../tags/tag59.xml"/><Relationship Id="rId68" Type="http://schemas.openxmlformats.org/officeDocument/2006/relationships/tags" Target="../tags/tag80.xml"/><Relationship Id="rId89" Type="http://schemas.openxmlformats.org/officeDocument/2006/relationships/tags" Target="../tags/tag101.xml"/><Relationship Id="rId112" Type="http://schemas.openxmlformats.org/officeDocument/2006/relationships/tags" Target="../tags/tag124.xml"/><Relationship Id="rId133" Type="http://schemas.openxmlformats.org/officeDocument/2006/relationships/tags" Target="../tags/tag145.xml"/><Relationship Id="rId154" Type="http://schemas.openxmlformats.org/officeDocument/2006/relationships/tags" Target="../tags/tag166.xml"/><Relationship Id="rId175" Type="http://schemas.openxmlformats.org/officeDocument/2006/relationships/tags" Target="../tags/tag187.xml"/><Relationship Id="rId340" Type="http://schemas.openxmlformats.org/officeDocument/2006/relationships/tags" Target="../tags/tag352.xml"/><Relationship Id="rId361" Type="http://schemas.openxmlformats.org/officeDocument/2006/relationships/tags" Target="../tags/tag373.xml"/><Relationship Id="rId196" Type="http://schemas.openxmlformats.org/officeDocument/2006/relationships/tags" Target="../tags/tag208.xml"/><Relationship Id="rId200" Type="http://schemas.openxmlformats.org/officeDocument/2006/relationships/tags" Target="../tags/tag212.xml"/><Relationship Id="rId382" Type="http://schemas.openxmlformats.org/officeDocument/2006/relationships/tags" Target="../tags/tag394.xml"/><Relationship Id="rId16" Type="http://schemas.openxmlformats.org/officeDocument/2006/relationships/tags" Target="../tags/tag28.xml"/><Relationship Id="rId221" Type="http://schemas.openxmlformats.org/officeDocument/2006/relationships/tags" Target="../tags/tag233.xml"/><Relationship Id="rId242" Type="http://schemas.openxmlformats.org/officeDocument/2006/relationships/tags" Target="../tags/tag254.xml"/><Relationship Id="rId263" Type="http://schemas.openxmlformats.org/officeDocument/2006/relationships/tags" Target="../tags/tag275.xml"/><Relationship Id="rId284" Type="http://schemas.openxmlformats.org/officeDocument/2006/relationships/tags" Target="../tags/tag296.xml"/><Relationship Id="rId319" Type="http://schemas.openxmlformats.org/officeDocument/2006/relationships/tags" Target="../tags/tag331.xml"/><Relationship Id="rId37" Type="http://schemas.openxmlformats.org/officeDocument/2006/relationships/tags" Target="../tags/tag49.xml"/><Relationship Id="rId58" Type="http://schemas.openxmlformats.org/officeDocument/2006/relationships/tags" Target="../tags/tag70.xml"/><Relationship Id="rId79" Type="http://schemas.openxmlformats.org/officeDocument/2006/relationships/tags" Target="../tags/tag91.xml"/><Relationship Id="rId102" Type="http://schemas.openxmlformats.org/officeDocument/2006/relationships/tags" Target="../tags/tag114.xml"/><Relationship Id="rId123" Type="http://schemas.openxmlformats.org/officeDocument/2006/relationships/tags" Target="../tags/tag135.xml"/><Relationship Id="rId144" Type="http://schemas.openxmlformats.org/officeDocument/2006/relationships/tags" Target="../tags/tag156.xml"/><Relationship Id="rId330" Type="http://schemas.openxmlformats.org/officeDocument/2006/relationships/tags" Target="../tags/tag342.xml"/><Relationship Id="rId90" Type="http://schemas.openxmlformats.org/officeDocument/2006/relationships/tags" Target="../tags/tag102.xml"/><Relationship Id="rId165" Type="http://schemas.openxmlformats.org/officeDocument/2006/relationships/tags" Target="../tags/tag177.xml"/><Relationship Id="rId186" Type="http://schemas.openxmlformats.org/officeDocument/2006/relationships/tags" Target="../tags/tag198.xml"/><Relationship Id="rId351" Type="http://schemas.openxmlformats.org/officeDocument/2006/relationships/tags" Target="../tags/tag363.xml"/><Relationship Id="rId372" Type="http://schemas.openxmlformats.org/officeDocument/2006/relationships/tags" Target="../tags/tag384.xml"/><Relationship Id="rId211" Type="http://schemas.openxmlformats.org/officeDocument/2006/relationships/tags" Target="../tags/tag223.xml"/><Relationship Id="rId232" Type="http://schemas.openxmlformats.org/officeDocument/2006/relationships/tags" Target="../tags/tag244.xml"/><Relationship Id="rId253" Type="http://schemas.openxmlformats.org/officeDocument/2006/relationships/tags" Target="../tags/tag265.xml"/><Relationship Id="rId274" Type="http://schemas.openxmlformats.org/officeDocument/2006/relationships/tags" Target="../tags/tag286.xml"/><Relationship Id="rId295" Type="http://schemas.openxmlformats.org/officeDocument/2006/relationships/tags" Target="../tags/tag307.xml"/><Relationship Id="rId309" Type="http://schemas.openxmlformats.org/officeDocument/2006/relationships/tags" Target="../tags/tag321.xml"/><Relationship Id="rId27" Type="http://schemas.openxmlformats.org/officeDocument/2006/relationships/tags" Target="../tags/tag39.xml"/><Relationship Id="rId48" Type="http://schemas.openxmlformats.org/officeDocument/2006/relationships/tags" Target="../tags/tag60.xml"/><Relationship Id="rId69" Type="http://schemas.openxmlformats.org/officeDocument/2006/relationships/tags" Target="../tags/tag81.xml"/><Relationship Id="rId113" Type="http://schemas.openxmlformats.org/officeDocument/2006/relationships/tags" Target="../tags/tag125.xml"/><Relationship Id="rId134" Type="http://schemas.openxmlformats.org/officeDocument/2006/relationships/tags" Target="../tags/tag146.xml"/><Relationship Id="rId320" Type="http://schemas.openxmlformats.org/officeDocument/2006/relationships/tags" Target="../tags/tag332.xml"/><Relationship Id="rId80" Type="http://schemas.openxmlformats.org/officeDocument/2006/relationships/tags" Target="../tags/tag92.xml"/><Relationship Id="rId155" Type="http://schemas.openxmlformats.org/officeDocument/2006/relationships/tags" Target="../tags/tag167.xml"/><Relationship Id="rId176" Type="http://schemas.openxmlformats.org/officeDocument/2006/relationships/tags" Target="../tags/tag188.xml"/><Relationship Id="rId197" Type="http://schemas.openxmlformats.org/officeDocument/2006/relationships/tags" Target="../tags/tag209.xml"/><Relationship Id="rId341" Type="http://schemas.openxmlformats.org/officeDocument/2006/relationships/tags" Target="../tags/tag353.xml"/><Relationship Id="rId362" Type="http://schemas.openxmlformats.org/officeDocument/2006/relationships/tags" Target="../tags/tag374.xml"/><Relationship Id="rId383" Type="http://schemas.openxmlformats.org/officeDocument/2006/relationships/slideLayout" Target="../slideLayouts/slideLayout14.xml"/><Relationship Id="rId201" Type="http://schemas.openxmlformats.org/officeDocument/2006/relationships/tags" Target="../tags/tag213.xml"/><Relationship Id="rId222" Type="http://schemas.openxmlformats.org/officeDocument/2006/relationships/tags" Target="../tags/tag234.xml"/><Relationship Id="rId243" Type="http://schemas.openxmlformats.org/officeDocument/2006/relationships/tags" Target="../tags/tag255.xml"/><Relationship Id="rId264" Type="http://schemas.openxmlformats.org/officeDocument/2006/relationships/tags" Target="../tags/tag276.xml"/><Relationship Id="rId285" Type="http://schemas.openxmlformats.org/officeDocument/2006/relationships/tags" Target="../tags/tag297.xml"/><Relationship Id="rId17" Type="http://schemas.openxmlformats.org/officeDocument/2006/relationships/tags" Target="../tags/tag29.xml"/><Relationship Id="rId38" Type="http://schemas.openxmlformats.org/officeDocument/2006/relationships/tags" Target="../tags/tag50.xml"/><Relationship Id="rId59" Type="http://schemas.openxmlformats.org/officeDocument/2006/relationships/tags" Target="../tags/tag71.xml"/><Relationship Id="rId103" Type="http://schemas.openxmlformats.org/officeDocument/2006/relationships/tags" Target="../tags/tag115.xml"/><Relationship Id="rId124" Type="http://schemas.openxmlformats.org/officeDocument/2006/relationships/tags" Target="../tags/tag136.xml"/><Relationship Id="rId310" Type="http://schemas.openxmlformats.org/officeDocument/2006/relationships/tags" Target="../tags/tag322.xml"/><Relationship Id="rId70" Type="http://schemas.openxmlformats.org/officeDocument/2006/relationships/tags" Target="../tags/tag82.xml"/><Relationship Id="rId91" Type="http://schemas.openxmlformats.org/officeDocument/2006/relationships/tags" Target="../tags/tag103.xml"/><Relationship Id="rId145" Type="http://schemas.openxmlformats.org/officeDocument/2006/relationships/tags" Target="../tags/tag157.xml"/><Relationship Id="rId166" Type="http://schemas.openxmlformats.org/officeDocument/2006/relationships/tags" Target="../tags/tag178.xml"/><Relationship Id="rId187" Type="http://schemas.openxmlformats.org/officeDocument/2006/relationships/tags" Target="../tags/tag199.xml"/><Relationship Id="rId331" Type="http://schemas.openxmlformats.org/officeDocument/2006/relationships/tags" Target="../tags/tag343.xml"/><Relationship Id="rId352" Type="http://schemas.openxmlformats.org/officeDocument/2006/relationships/tags" Target="../tags/tag364.xml"/><Relationship Id="rId373" Type="http://schemas.openxmlformats.org/officeDocument/2006/relationships/tags" Target="../tags/tag385.xml"/><Relationship Id="rId1" Type="http://schemas.openxmlformats.org/officeDocument/2006/relationships/tags" Target="../tags/tag13.xml"/><Relationship Id="rId212" Type="http://schemas.openxmlformats.org/officeDocument/2006/relationships/tags" Target="../tags/tag224.xml"/><Relationship Id="rId233" Type="http://schemas.openxmlformats.org/officeDocument/2006/relationships/tags" Target="../tags/tag245.xml"/><Relationship Id="rId254" Type="http://schemas.openxmlformats.org/officeDocument/2006/relationships/tags" Target="../tags/tag266.xml"/><Relationship Id="rId28" Type="http://schemas.openxmlformats.org/officeDocument/2006/relationships/tags" Target="../tags/tag40.xml"/><Relationship Id="rId49" Type="http://schemas.openxmlformats.org/officeDocument/2006/relationships/tags" Target="../tags/tag61.xml"/><Relationship Id="rId114" Type="http://schemas.openxmlformats.org/officeDocument/2006/relationships/tags" Target="../tags/tag126.xml"/><Relationship Id="rId275" Type="http://schemas.openxmlformats.org/officeDocument/2006/relationships/tags" Target="../tags/tag287.xml"/><Relationship Id="rId296" Type="http://schemas.openxmlformats.org/officeDocument/2006/relationships/tags" Target="../tags/tag308.xml"/><Relationship Id="rId300" Type="http://schemas.openxmlformats.org/officeDocument/2006/relationships/tags" Target="../tags/tag312.xml"/><Relationship Id="rId60" Type="http://schemas.openxmlformats.org/officeDocument/2006/relationships/tags" Target="../tags/tag72.xml"/><Relationship Id="rId81" Type="http://schemas.openxmlformats.org/officeDocument/2006/relationships/tags" Target="../tags/tag93.xml"/><Relationship Id="rId135" Type="http://schemas.openxmlformats.org/officeDocument/2006/relationships/tags" Target="../tags/tag147.xml"/><Relationship Id="rId156" Type="http://schemas.openxmlformats.org/officeDocument/2006/relationships/tags" Target="../tags/tag168.xml"/><Relationship Id="rId177" Type="http://schemas.openxmlformats.org/officeDocument/2006/relationships/tags" Target="../tags/tag189.xml"/><Relationship Id="rId198" Type="http://schemas.openxmlformats.org/officeDocument/2006/relationships/tags" Target="../tags/tag210.xml"/><Relationship Id="rId321" Type="http://schemas.openxmlformats.org/officeDocument/2006/relationships/tags" Target="../tags/tag333.xml"/><Relationship Id="rId342" Type="http://schemas.openxmlformats.org/officeDocument/2006/relationships/tags" Target="../tags/tag354.xml"/><Relationship Id="rId363" Type="http://schemas.openxmlformats.org/officeDocument/2006/relationships/tags" Target="../tags/tag375.xml"/><Relationship Id="rId202" Type="http://schemas.openxmlformats.org/officeDocument/2006/relationships/tags" Target="../tags/tag214.xml"/><Relationship Id="rId223" Type="http://schemas.openxmlformats.org/officeDocument/2006/relationships/tags" Target="../tags/tag235.xml"/><Relationship Id="rId244" Type="http://schemas.openxmlformats.org/officeDocument/2006/relationships/tags" Target="../tags/tag256.xml"/><Relationship Id="rId18" Type="http://schemas.openxmlformats.org/officeDocument/2006/relationships/tags" Target="../tags/tag30.xml"/><Relationship Id="rId39" Type="http://schemas.openxmlformats.org/officeDocument/2006/relationships/tags" Target="../tags/tag51.xml"/><Relationship Id="rId265" Type="http://schemas.openxmlformats.org/officeDocument/2006/relationships/tags" Target="../tags/tag277.xml"/><Relationship Id="rId286" Type="http://schemas.openxmlformats.org/officeDocument/2006/relationships/tags" Target="../tags/tag298.xml"/><Relationship Id="rId50" Type="http://schemas.openxmlformats.org/officeDocument/2006/relationships/tags" Target="../tags/tag62.xml"/><Relationship Id="rId104" Type="http://schemas.openxmlformats.org/officeDocument/2006/relationships/tags" Target="../tags/tag116.xml"/><Relationship Id="rId125" Type="http://schemas.openxmlformats.org/officeDocument/2006/relationships/tags" Target="../tags/tag137.xml"/><Relationship Id="rId146" Type="http://schemas.openxmlformats.org/officeDocument/2006/relationships/tags" Target="../tags/tag158.xml"/><Relationship Id="rId167" Type="http://schemas.openxmlformats.org/officeDocument/2006/relationships/tags" Target="../tags/tag179.xml"/><Relationship Id="rId188" Type="http://schemas.openxmlformats.org/officeDocument/2006/relationships/tags" Target="../tags/tag200.xml"/><Relationship Id="rId311" Type="http://schemas.openxmlformats.org/officeDocument/2006/relationships/tags" Target="../tags/tag323.xml"/><Relationship Id="rId332" Type="http://schemas.openxmlformats.org/officeDocument/2006/relationships/tags" Target="../tags/tag344.xml"/><Relationship Id="rId353" Type="http://schemas.openxmlformats.org/officeDocument/2006/relationships/tags" Target="../tags/tag365.xml"/><Relationship Id="rId374" Type="http://schemas.openxmlformats.org/officeDocument/2006/relationships/tags" Target="../tags/tag386.xml"/><Relationship Id="rId71" Type="http://schemas.openxmlformats.org/officeDocument/2006/relationships/tags" Target="../tags/tag83.xml"/><Relationship Id="rId92" Type="http://schemas.openxmlformats.org/officeDocument/2006/relationships/tags" Target="../tags/tag104.xml"/><Relationship Id="rId213" Type="http://schemas.openxmlformats.org/officeDocument/2006/relationships/tags" Target="../tags/tag225.xml"/><Relationship Id="rId234" Type="http://schemas.openxmlformats.org/officeDocument/2006/relationships/tags" Target="../tags/tag246.xml"/><Relationship Id="rId2" Type="http://schemas.openxmlformats.org/officeDocument/2006/relationships/tags" Target="../tags/tag14.xml"/><Relationship Id="rId29" Type="http://schemas.openxmlformats.org/officeDocument/2006/relationships/tags" Target="../tags/tag41.xml"/><Relationship Id="rId255" Type="http://schemas.openxmlformats.org/officeDocument/2006/relationships/tags" Target="../tags/tag267.xml"/><Relationship Id="rId276" Type="http://schemas.openxmlformats.org/officeDocument/2006/relationships/tags" Target="../tags/tag288.xml"/><Relationship Id="rId297" Type="http://schemas.openxmlformats.org/officeDocument/2006/relationships/tags" Target="../tags/tag309.xml"/><Relationship Id="rId40" Type="http://schemas.openxmlformats.org/officeDocument/2006/relationships/tags" Target="../tags/tag52.xml"/><Relationship Id="rId115" Type="http://schemas.openxmlformats.org/officeDocument/2006/relationships/tags" Target="../tags/tag127.xml"/><Relationship Id="rId136" Type="http://schemas.openxmlformats.org/officeDocument/2006/relationships/tags" Target="../tags/tag148.xml"/><Relationship Id="rId157" Type="http://schemas.openxmlformats.org/officeDocument/2006/relationships/tags" Target="../tags/tag169.xml"/><Relationship Id="rId178" Type="http://schemas.openxmlformats.org/officeDocument/2006/relationships/tags" Target="../tags/tag190.xml"/><Relationship Id="rId301" Type="http://schemas.openxmlformats.org/officeDocument/2006/relationships/tags" Target="../tags/tag313.xml"/><Relationship Id="rId322" Type="http://schemas.openxmlformats.org/officeDocument/2006/relationships/tags" Target="../tags/tag334.xml"/><Relationship Id="rId343" Type="http://schemas.openxmlformats.org/officeDocument/2006/relationships/tags" Target="../tags/tag355.xml"/><Relationship Id="rId364" Type="http://schemas.openxmlformats.org/officeDocument/2006/relationships/tags" Target="../tags/tag376.xml"/><Relationship Id="rId61" Type="http://schemas.openxmlformats.org/officeDocument/2006/relationships/tags" Target="../tags/tag73.xml"/><Relationship Id="rId82" Type="http://schemas.openxmlformats.org/officeDocument/2006/relationships/tags" Target="../tags/tag94.xml"/><Relationship Id="rId199" Type="http://schemas.openxmlformats.org/officeDocument/2006/relationships/tags" Target="../tags/tag211.xml"/><Relationship Id="rId203" Type="http://schemas.openxmlformats.org/officeDocument/2006/relationships/tags" Target="../tags/tag215.xml"/><Relationship Id="rId19" Type="http://schemas.openxmlformats.org/officeDocument/2006/relationships/tags" Target="../tags/tag31.xml"/><Relationship Id="rId224" Type="http://schemas.openxmlformats.org/officeDocument/2006/relationships/tags" Target="../tags/tag236.xml"/><Relationship Id="rId245" Type="http://schemas.openxmlformats.org/officeDocument/2006/relationships/tags" Target="../tags/tag257.xml"/><Relationship Id="rId266" Type="http://schemas.openxmlformats.org/officeDocument/2006/relationships/tags" Target="../tags/tag278.xml"/><Relationship Id="rId287" Type="http://schemas.openxmlformats.org/officeDocument/2006/relationships/tags" Target="../tags/tag299.xml"/><Relationship Id="rId30" Type="http://schemas.openxmlformats.org/officeDocument/2006/relationships/tags" Target="../tags/tag42.xml"/><Relationship Id="rId105" Type="http://schemas.openxmlformats.org/officeDocument/2006/relationships/tags" Target="../tags/tag117.xml"/><Relationship Id="rId126" Type="http://schemas.openxmlformats.org/officeDocument/2006/relationships/tags" Target="../tags/tag138.xml"/><Relationship Id="rId147" Type="http://schemas.openxmlformats.org/officeDocument/2006/relationships/tags" Target="../tags/tag159.xml"/><Relationship Id="rId168" Type="http://schemas.openxmlformats.org/officeDocument/2006/relationships/tags" Target="../tags/tag180.xml"/><Relationship Id="rId312" Type="http://schemas.openxmlformats.org/officeDocument/2006/relationships/tags" Target="../tags/tag324.xml"/><Relationship Id="rId333" Type="http://schemas.openxmlformats.org/officeDocument/2006/relationships/tags" Target="../tags/tag345.xml"/><Relationship Id="rId354" Type="http://schemas.openxmlformats.org/officeDocument/2006/relationships/tags" Target="../tags/tag366.xml"/><Relationship Id="rId51" Type="http://schemas.openxmlformats.org/officeDocument/2006/relationships/tags" Target="../tags/tag63.xml"/><Relationship Id="rId72" Type="http://schemas.openxmlformats.org/officeDocument/2006/relationships/tags" Target="../tags/tag84.xml"/><Relationship Id="rId93" Type="http://schemas.openxmlformats.org/officeDocument/2006/relationships/tags" Target="../tags/tag105.xml"/><Relationship Id="rId189" Type="http://schemas.openxmlformats.org/officeDocument/2006/relationships/tags" Target="../tags/tag201.xml"/><Relationship Id="rId375" Type="http://schemas.openxmlformats.org/officeDocument/2006/relationships/tags" Target="../tags/tag387.xml"/><Relationship Id="rId3" Type="http://schemas.openxmlformats.org/officeDocument/2006/relationships/tags" Target="../tags/tag15.xml"/><Relationship Id="rId214" Type="http://schemas.openxmlformats.org/officeDocument/2006/relationships/tags" Target="../tags/tag226.xml"/><Relationship Id="rId235" Type="http://schemas.openxmlformats.org/officeDocument/2006/relationships/tags" Target="../tags/tag247.xml"/><Relationship Id="rId256" Type="http://schemas.openxmlformats.org/officeDocument/2006/relationships/tags" Target="../tags/tag268.xml"/><Relationship Id="rId277" Type="http://schemas.openxmlformats.org/officeDocument/2006/relationships/tags" Target="../tags/tag289.xml"/><Relationship Id="rId298" Type="http://schemas.openxmlformats.org/officeDocument/2006/relationships/tags" Target="../tags/tag310.xml"/><Relationship Id="rId116" Type="http://schemas.openxmlformats.org/officeDocument/2006/relationships/tags" Target="../tags/tag128.xml"/><Relationship Id="rId137" Type="http://schemas.openxmlformats.org/officeDocument/2006/relationships/tags" Target="../tags/tag149.xml"/><Relationship Id="rId158" Type="http://schemas.openxmlformats.org/officeDocument/2006/relationships/tags" Target="../tags/tag170.xml"/><Relationship Id="rId302" Type="http://schemas.openxmlformats.org/officeDocument/2006/relationships/tags" Target="../tags/tag314.xml"/><Relationship Id="rId323" Type="http://schemas.openxmlformats.org/officeDocument/2006/relationships/tags" Target="../tags/tag335.xml"/><Relationship Id="rId344" Type="http://schemas.openxmlformats.org/officeDocument/2006/relationships/tags" Target="../tags/tag356.xml"/><Relationship Id="rId20" Type="http://schemas.openxmlformats.org/officeDocument/2006/relationships/tags" Target="../tags/tag32.xml"/><Relationship Id="rId41" Type="http://schemas.openxmlformats.org/officeDocument/2006/relationships/tags" Target="../tags/tag53.xml"/><Relationship Id="rId62" Type="http://schemas.openxmlformats.org/officeDocument/2006/relationships/tags" Target="../tags/tag74.xml"/><Relationship Id="rId83" Type="http://schemas.openxmlformats.org/officeDocument/2006/relationships/tags" Target="../tags/tag95.xml"/><Relationship Id="rId179" Type="http://schemas.openxmlformats.org/officeDocument/2006/relationships/tags" Target="../tags/tag191.xml"/><Relationship Id="rId365" Type="http://schemas.openxmlformats.org/officeDocument/2006/relationships/tags" Target="../tags/tag377.xml"/><Relationship Id="rId190" Type="http://schemas.openxmlformats.org/officeDocument/2006/relationships/tags" Target="../tags/tag202.xml"/><Relationship Id="rId204" Type="http://schemas.openxmlformats.org/officeDocument/2006/relationships/tags" Target="../tags/tag216.xml"/><Relationship Id="rId225" Type="http://schemas.openxmlformats.org/officeDocument/2006/relationships/tags" Target="../tags/tag237.xml"/><Relationship Id="rId246" Type="http://schemas.openxmlformats.org/officeDocument/2006/relationships/tags" Target="../tags/tag258.xml"/><Relationship Id="rId267" Type="http://schemas.openxmlformats.org/officeDocument/2006/relationships/tags" Target="../tags/tag279.xml"/><Relationship Id="rId288" Type="http://schemas.openxmlformats.org/officeDocument/2006/relationships/tags" Target="../tags/tag300.xml"/><Relationship Id="rId106" Type="http://schemas.openxmlformats.org/officeDocument/2006/relationships/tags" Target="../tags/tag118.xml"/><Relationship Id="rId127" Type="http://schemas.openxmlformats.org/officeDocument/2006/relationships/tags" Target="../tags/tag139.xml"/><Relationship Id="rId313" Type="http://schemas.openxmlformats.org/officeDocument/2006/relationships/tags" Target="../tags/tag325.xml"/><Relationship Id="rId10" Type="http://schemas.openxmlformats.org/officeDocument/2006/relationships/tags" Target="../tags/tag22.xml"/><Relationship Id="rId31" Type="http://schemas.openxmlformats.org/officeDocument/2006/relationships/tags" Target="../tags/tag43.xml"/><Relationship Id="rId52" Type="http://schemas.openxmlformats.org/officeDocument/2006/relationships/tags" Target="../tags/tag64.xml"/><Relationship Id="rId73" Type="http://schemas.openxmlformats.org/officeDocument/2006/relationships/tags" Target="../tags/tag85.xml"/><Relationship Id="rId94" Type="http://schemas.openxmlformats.org/officeDocument/2006/relationships/tags" Target="../tags/tag106.xml"/><Relationship Id="rId148" Type="http://schemas.openxmlformats.org/officeDocument/2006/relationships/tags" Target="../tags/tag160.xml"/><Relationship Id="rId169" Type="http://schemas.openxmlformats.org/officeDocument/2006/relationships/tags" Target="../tags/tag181.xml"/><Relationship Id="rId334" Type="http://schemas.openxmlformats.org/officeDocument/2006/relationships/tags" Target="../tags/tag346.xml"/><Relationship Id="rId355" Type="http://schemas.openxmlformats.org/officeDocument/2006/relationships/tags" Target="../tags/tag367.xml"/><Relationship Id="rId376" Type="http://schemas.openxmlformats.org/officeDocument/2006/relationships/tags" Target="../tags/tag388.xml"/><Relationship Id="rId4" Type="http://schemas.openxmlformats.org/officeDocument/2006/relationships/tags" Target="../tags/tag16.xml"/><Relationship Id="rId180" Type="http://schemas.openxmlformats.org/officeDocument/2006/relationships/tags" Target="../tags/tag192.xml"/><Relationship Id="rId215" Type="http://schemas.openxmlformats.org/officeDocument/2006/relationships/tags" Target="../tags/tag227.xml"/><Relationship Id="rId236" Type="http://schemas.openxmlformats.org/officeDocument/2006/relationships/tags" Target="../tags/tag248.xml"/><Relationship Id="rId257" Type="http://schemas.openxmlformats.org/officeDocument/2006/relationships/tags" Target="../tags/tag269.xml"/><Relationship Id="rId278" Type="http://schemas.openxmlformats.org/officeDocument/2006/relationships/tags" Target="../tags/tag290.xml"/><Relationship Id="rId303" Type="http://schemas.openxmlformats.org/officeDocument/2006/relationships/tags" Target="../tags/tag315.xml"/><Relationship Id="rId42" Type="http://schemas.openxmlformats.org/officeDocument/2006/relationships/tags" Target="../tags/tag54.xml"/><Relationship Id="rId84" Type="http://schemas.openxmlformats.org/officeDocument/2006/relationships/tags" Target="../tags/tag96.xml"/><Relationship Id="rId138" Type="http://schemas.openxmlformats.org/officeDocument/2006/relationships/tags" Target="../tags/tag150.xml"/><Relationship Id="rId345" Type="http://schemas.openxmlformats.org/officeDocument/2006/relationships/tags" Target="../tags/tag357.xml"/><Relationship Id="rId191" Type="http://schemas.openxmlformats.org/officeDocument/2006/relationships/tags" Target="../tags/tag203.xml"/><Relationship Id="rId205" Type="http://schemas.openxmlformats.org/officeDocument/2006/relationships/tags" Target="../tags/tag217.xml"/><Relationship Id="rId247" Type="http://schemas.openxmlformats.org/officeDocument/2006/relationships/tags" Target="../tags/tag259.xml"/><Relationship Id="rId107" Type="http://schemas.openxmlformats.org/officeDocument/2006/relationships/tags" Target="../tags/tag119.xml"/><Relationship Id="rId289" Type="http://schemas.openxmlformats.org/officeDocument/2006/relationships/tags" Target="../tags/tag301.xml"/><Relationship Id="rId11" Type="http://schemas.openxmlformats.org/officeDocument/2006/relationships/tags" Target="../tags/tag23.xml"/><Relationship Id="rId53" Type="http://schemas.openxmlformats.org/officeDocument/2006/relationships/tags" Target="../tags/tag65.xml"/><Relationship Id="rId149" Type="http://schemas.openxmlformats.org/officeDocument/2006/relationships/tags" Target="../tags/tag161.xml"/><Relationship Id="rId314" Type="http://schemas.openxmlformats.org/officeDocument/2006/relationships/tags" Target="../tags/tag326.xml"/><Relationship Id="rId356" Type="http://schemas.openxmlformats.org/officeDocument/2006/relationships/tags" Target="../tags/tag368.xml"/><Relationship Id="rId95" Type="http://schemas.openxmlformats.org/officeDocument/2006/relationships/tags" Target="../tags/tag107.xml"/><Relationship Id="rId160" Type="http://schemas.openxmlformats.org/officeDocument/2006/relationships/tags" Target="../tags/tag172.xml"/><Relationship Id="rId216" Type="http://schemas.openxmlformats.org/officeDocument/2006/relationships/tags" Target="../tags/tag228.xml"/><Relationship Id="rId258" Type="http://schemas.openxmlformats.org/officeDocument/2006/relationships/tags" Target="../tags/tag270.xml"/><Relationship Id="rId22" Type="http://schemas.openxmlformats.org/officeDocument/2006/relationships/tags" Target="../tags/tag34.xml"/><Relationship Id="rId64" Type="http://schemas.openxmlformats.org/officeDocument/2006/relationships/tags" Target="../tags/tag76.xml"/><Relationship Id="rId118" Type="http://schemas.openxmlformats.org/officeDocument/2006/relationships/tags" Target="../tags/tag130.xml"/><Relationship Id="rId325" Type="http://schemas.openxmlformats.org/officeDocument/2006/relationships/tags" Target="../tags/tag337.xml"/><Relationship Id="rId367" Type="http://schemas.openxmlformats.org/officeDocument/2006/relationships/tags" Target="../tags/tag379.xml"/><Relationship Id="rId171" Type="http://schemas.openxmlformats.org/officeDocument/2006/relationships/tags" Target="../tags/tag183.xml"/><Relationship Id="rId227" Type="http://schemas.openxmlformats.org/officeDocument/2006/relationships/tags" Target="../tags/tag239.xml"/><Relationship Id="rId269" Type="http://schemas.openxmlformats.org/officeDocument/2006/relationships/tags" Target="../tags/tag281.xml"/><Relationship Id="rId33" Type="http://schemas.openxmlformats.org/officeDocument/2006/relationships/tags" Target="../tags/tag45.xml"/><Relationship Id="rId129" Type="http://schemas.openxmlformats.org/officeDocument/2006/relationships/tags" Target="../tags/tag141.xml"/><Relationship Id="rId280" Type="http://schemas.openxmlformats.org/officeDocument/2006/relationships/tags" Target="../tags/tag292.xml"/><Relationship Id="rId336" Type="http://schemas.openxmlformats.org/officeDocument/2006/relationships/tags" Target="../tags/tag348.xml"/><Relationship Id="rId75" Type="http://schemas.openxmlformats.org/officeDocument/2006/relationships/tags" Target="../tags/tag87.xml"/><Relationship Id="rId140" Type="http://schemas.openxmlformats.org/officeDocument/2006/relationships/tags" Target="../tags/tag152.xml"/><Relationship Id="rId182" Type="http://schemas.openxmlformats.org/officeDocument/2006/relationships/tags" Target="../tags/tag194.xml"/><Relationship Id="rId378" Type="http://schemas.openxmlformats.org/officeDocument/2006/relationships/tags" Target="../tags/tag390.xml"/><Relationship Id="rId6" Type="http://schemas.openxmlformats.org/officeDocument/2006/relationships/tags" Target="../tags/tag18.xml"/><Relationship Id="rId238" Type="http://schemas.openxmlformats.org/officeDocument/2006/relationships/tags" Target="../tags/tag250.xml"/><Relationship Id="rId291" Type="http://schemas.openxmlformats.org/officeDocument/2006/relationships/tags" Target="../tags/tag303.xml"/><Relationship Id="rId305" Type="http://schemas.openxmlformats.org/officeDocument/2006/relationships/tags" Target="../tags/tag317.xml"/><Relationship Id="rId347" Type="http://schemas.openxmlformats.org/officeDocument/2006/relationships/tags" Target="../tags/tag359.xml"/><Relationship Id="rId44" Type="http://schemas.openxmlformats.org/officeDocument/2006/relationships/tags" Target="../tags/tag56.xml"/><Relationship Id="rId86" Type="http://schemas.openxmlformats.org/officeDocument/2006/relationships/tags" Target="../tags/tag98.xml"/><Relationship Id="rId151" Type="http://schemas.openxmlformats.org/officeDocument/2006/relationships/tags" Target="../tags/tag163.xml"/><Relationship Id="rId193" Type="http://schemas.openxmlformats.org/officeDocument/2006/relationships/tags" Target="../tags/tag205.xml"/><Relationship Id="rId207" Type="http://schemas.openxmlformats.org/officeDocument/2006/relationships/tags" Target="../tags/tag219.xml"/><Relationship Id="rId249" Type="http://schemas.openxmlformats.org/officeDocument/2006/relationships/tags" Target="../tags/tag261.xml"/><Relationship Id="rId13" Type="http://schemas.openxmlformats.org/officeDocument/2006/relationships/tags" Target="../tags/tag25.xml"/><Relationship Id="rId109" Type="http://schemas.openxmlformats.org/officeDocument/2006/relationships/tags" Target="../tags/tag121.xml"/><Relationship Id="rId260" Type="http://schemas.openxmlformats.org/officeDocument/2006/relationships/tags" Target="../tags/tag272.xml"/><Relationship Id="rId316" Type="http://schemas.openxmlformats.org/officeDocument/2006/relationships/tags" Target="../tags/tag328.xml"/><Relationship Id="rId55" Type="http://schemas.openxmlformats.org/officeDocument/2006/relationships/tags" Target="../tags/tag67.xml"/><Relationship Id="rId97" Type="http://schemas.openxmlformats.org/officeDocument/2006/relationships/tags" Target="../tags/tag109.xml"/><Relationship Id="rId120" Type="http://schemas.openxmlformats.org/officeDocument/2006/relationships/tags" Target="../tags/tag132.xml"/><Relationship Id="rId358" Type="http://schemas.openxmlformats.org/officeDocument/2006/relationships/tags" Target="../tags/tag370.xml"/><Relationship Id="rId162" Type="http://schemas.openxmlformats.org/officeDocument/2006/relationships/tags" Target="../tags/tag174.xml"/><Relationship Id="rId218" Type="http://schemas.openxmlformats.org/officeDocument/2006/relationships/tags" Target="../tags/tag230.xml"/><Relationship Id="rId271" Type="http://schemas.openxmlformats.org/officeDocument/2006/relationships/tags" Target="../tags/tag283.xml"/><Relationship Id="rId24" Type="http://schemas.openxmlformats.org/officeDocument/2006/relationships/tags" Target="../tags/tag36.xml"/><Relationship Id="rId66" Type="http://schemas.openxmlformats.org/officeDocument/2006/relationships/tags" Target="../tags/tag78.xml"/><Relationship Id="rId131" Type="http://schemas.openxmlformats.org/officeDocument/2006/relationships/tags" Target="../tags/tag143.xml"/><Relationship Id="rId327" Type="http://schemas.openxmlformats.org/officeDocument/2006/relationships/tags" Target="../tags/tag339.xml"/><Relationship Id="rId369" Type="http://schemas.openxmlformats.org/officeDocument/2006/relationships/tags" Target="../tags/tag381.xml"/><Relationship Id="rId173" Type="http://schemas.openxmlformats.org/officeDocument/2006/relationships/tags" Target="../tags/tag185.xml"/><Relationship Id="rId229" Type="http://schemas.openxmlformats.org/officeDocument/2006/relationships/tags" Target="../tags/tag241.xml"/><Relationship Id="rId380" Type="http://schemas.openxmlformats.org/officeDocument/2006/relationships/tags" Target="../tags/tag392.xml"/><Relationship Id="rId240" Type="http://schemas.openxmlformats.org/officeDocument/2006/relationships/tags" Target="../tags/tag252.xml"/><Relationship Id="rId35" Type="http://schemas.openxmlformats.org/officeDocument/2006/relationships/tags" Target="../tags/tag47.xml"/><Relationship Id="rId77" Type="http://schemas.openxmlformats.org/officeDocument/2006/relationships/tags" Target="../tags/tag89.xml"/><Relationship Id="rId100" Type="http://schemas.openxmlformats.org/officeDocument/2006/relationships/tags" Target="../tags/tag112.xml"/><Relationship Id="rId282" Type="http://schemas.openxmlformats.org/officeDocument/2006/relationships/tags" Target="../tags/tag294.xml"/><Relationship Id="rId338" Type="http://schemas.openxmlformats.org/officeDocument/2006/relationships/tags" Target="../tags/tag350.xml"/><Relationship Id="rId8" Type="http://schemas.openxmlformats.org/officeDocument/2006/relationships/tags" Target="../tags/tag20.xml"/><Relationship Id="rId142" Type="http://schemas.openxmlformats.org/officeDocument/2006/relationships/tags" Target="../tags/tag154.xml"/><Relationship Id="rId184" Type="http://schemas.openxmlformats.org/officeDocument/2006/relationships/tags" Target="../tags/tag196.xml"/><Relationship Id="rId251" Type="http://schemas.openxmlformats.org/officeDocument/2006/relationships/tags" Target="../tags/tag263.xml"/><Relationship Id="rId46" Type="http://schemas.openxmlformats.org/officeDocument/2006/relationships/tags" Target="../tags/tag58.xml"/><Relationship Id="rId293" Type="http://schemas.openxmlformats.org/officeDocument/2006/relationships/tags" Target="../tags/tag305.xml"/><Relationship Id="rId307" Type="http://schemas.openxmlformats.org/officeDocument/2006/relationships/tags" Target="../tags/tag319.xml"/><Relationship Id="rId349" Type="http://schemas.openxmlformats.org/officeDocument/2006/relationships/tags" Target="../tags/tag361.xml"/><Relationship Id="rId88" Type="http://schemas.openxmlformats.org/officeDocument/2006/relationships/tags" Target="../tags/tag100.xml"/><Relationship Id="rId111" Type="http://schemas.openxmlformats.org/officeDocument/2006/relationships/tags" Target="../tags/tag123.xml"/><Relationship Id="rId153" Type="http://schemas.openxmlformats.org/officeDocument/2006/relationships/tags" Target="../tags/tag165.xml"/><Relationship Id="rId195" Type="http://schemas.openxmlformats.org/officeDocument/2006/relationships/tags" Target="../tags/tag207.xml"/><Relationship Id="rId209" Type="http://schemas.openxmlformats.org/officeDocument/2006/relationships/tags" Target="../tags/tag221.xml"/><Relationship Id="rId360" Type="http://schemas.openxmlformats.org/officeDocument/2006/relationships/tags" Target="../tags/tag372.xml"/><Relationship Id="rId220" Type="http://schemas.openxmlformats.org/officeDocument/2006/relationships/tags" Target="../tags/tag232.xml"/><Relationship Id="rId15" Type="http://schemas.openxmlformats.org/officeDocument/2006/relationships/tags" Target="../tags/tag27.xml"/><Relationship Id="rId57" Type="http://schemas.openxmlformats.org/officeDocument/2006/relationships/tags" Target="../tags/tag69.xml"/><Relationship Id="rId262" Type="http://schemas.openxmlformats.org/officeDocument/2006/relationships/tags" Target="../tags/tag274.xml"/><Relationship Id="rId318" Type="http://schemas.openxmlformats.org/officeDocument/2006/relationships/tags" Target="../tags/tag330.xml"/><Relationship Id="rId99" Type="http://schemas.openxmlformats.org/officeDocument/2006/relationships/tags" Target="../tags/tag111.xml"/><Relationship Id="rId122" Type="http://schemas.openxmlformats.org/officeDocument/2006/relationships/tags" Target="../tags/tag134.xml"/><Relationship Id="rId164" Type="http://schemas.openxmlformats.org/officeDocument/2006/relationships/tags" Target="../tags/tag176.xml"/><Relationship Id="rId371" Type="http://schemas.openxmlformats.org/officeDocument/2006/relationships/tags" Target="../tags/tag38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le of blue rocks&#10;&#10;Description automatically generated with low confidence">
            <a:extLst>
              <a:ext uri="{FF2B5EF4-FFF2-40B4-BE49-F238E27FC236}">
                <a16:creationId xmlns:a16="http://schemas.microsoft.com/office/drawing/2014/main" id="{E0AAC456-609B-4074-9DC9-78789F9012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551" y="0"/>
            <a:ext cx="5143500" cy="6423346"/>
          </a:xfrm>
          <a:prstGeom prst="rect">
            <a:avLst/>
          </a:prstGeom>
        </p:spPr>
      </p:pic>
      <p:sp>
        <p:nvSpPr>
          <p:cNvPr id="7" name="Rectangle 6">
            <a:extLst>
              <a:ext uri="{FF2B5EF4-FFF2-40B4-BE49-F238E27FC236}">
                <a16:creationId xmlns:a16="http://schemas.microsoft.com/office/drawing/2014/main" id="{D040EB8B-01DC-41AC-B3B5-F3629668D16F}"/>
              </a:ext>
            </a:extLst>
          </p:cNvPr>
          <p:cNvSpPr/>
          <p:nvPr/>
        </p:nvSpPr>
        <p:spPr>
          <a:xfrm>
            <a:off x="5923722" y="3567299"/>
            <a:ext cx="3190623" cy="707886"/>
          </a:xfrm>
          <a:prstGeom prst="rect">
            <a:avLst/>
          </a:prstGeom>
          <a:noFill/>
        </p:spPr>
        <p:txBody>
          <a:bodyPr wrap="square">
            <a:spAutoFit/>
          </a:bodyPr>
          <a:lstStyle/>
          <a:p>
            <a:pPr lvl="0" algn="r" defTabSz="457200">
              <a:defRPr/>
            </a:pPr>
            <a:r>
              <a:rPr kumimoji="0" lang="en-IN" sz="2000" b="1" i="0" u="none" strike="noStrike" kern="1200" cap="none" spc="0" normalizeH="0" baseline="0" noProof="0" dirty="0">
                <a:ln>
                  <a:noFill/>
                </a:ln>
                <a:effectLst>
                  <a:outerShdw blurRad="38100" dist="38100" dir="2700000" algn="tl">
                    <a:srgbClr val="000000">
                      <a:alpha val="43137"/>
                    </a:srgbClr>
                  </a:outerShdw>
                </a:effectLst>
                <a:uLnTx/>
                <a:uFillTx/>
                <a:latin typeface="Montserrat" panose="02000505000000020004" pitchFamily="2" charset="0"/>
                <a:ea typeface="Roboto" pitchFamily="2" charset="0"/>
                <a:cs typeface="Arial" panose="020B0604020202020204" pitchFamily="34" charset="0"/>
              </a:rPr>
              <a:t>SOUTH-EAST ASIA COPPER SULPHATE MARKET</a:t>
            </a:r>
            <a:endParaRPr kumimoji="0" lang="en-US" sz="2000" b="1" i="0" u="none" strike="noStrike" kern="1200" cap="none" spc="0" normalizeH="0" baseline="0" noProof="0" dirty="0">
              <a:ln>
                <a:noFill/>
              </a:ln>
              <a:effectLst>
                <a:outerShdw blurRad="38100" dist="38100" dir="2700000" algn="tl">
                  <a:srgbClr val="000000">
                    <a:alpha val="43137"/>
                  </a:srgbClr>
                </a:outerShdw>
              </a:effectLst>
              <a:uLnTx/>
              <a:uFillTx/>
              <a:latin typeface="Montserrat" panose="02000505000000020004" pitchFamily="2" charset="0"/>
              <a:ea typeface="Roboto" pitchFamily="2" charset="0"/>
              <a:cs typeface="Arial" panose="020B0604020202020204" pitchFamily="34" charset="0"/>
            </a:endParaRPr>
          </a:p>
        </p:txBody>
      </p:sp>
      <p:sp>
        <p:nvSpPr>
          <p:cNvPr id="9" name="Rectangle 8">
            <a:extLst>
              <a:ext uri="{FF2B5EF4-FFF2-40B4-BE49-F238E27FC236}">
                <a16:creationId xmlns:a16="http://schemas.microsoft.com/office/drawing/2014/main" id="{02CC8907-1147-4683-8B7E-F9786CF00758}"/>
              </a:ext>
            </a:extLst>
          </p:cNvPr>
          <p:cNvSpPr/>
          <p:nvPr/>
        </p:nvSpPr>
        <p:spPr>
          <a:xfrm>
            <a:off x="5395373" y="4275185"/>
            <a:ext cx="3763617" cy="1028423"/>
          </a:xfrm>
          <a:prstGeom prst="rect">
            <a:avLst/>
          </a:prstGeom>
          <a:noFill/>
        </p:spPr>
        <p:txBody>
          <a:bodyPr wrap="square">
            <a:spAutoFit/>
          </a:bodyPr>
          <a:lstStyle/>
          <a:p>
            <a:pPr lvl="0" algn="r">
              <a:lnSpc>
                <a:spcPct val="150000"/>
              </a:lnSpc>
              <a:defRPr/>
            </a:pPr>
            <a:r>
              <a:rPr kumimoji="0" lang="en-US" sz="1400" b="0" i="0" u="none" strike="noStrike" kern="1200" cap="none" spc="15" normalizeH="0" baseline="0" noProof="0" dirty="0">
                <a:ln>
                  <a:noFill/>
                </a:ln>
                <a:effectLst/>
                <a:uLnTx/>
                <a:uFillTx/>
                <a:latin typeface="Montserrat" panose="02000505000000020004" pitchFamily="2" charset="0"/>
                <a:ea typeface="Verdana" panose="020B0604030504040204" pitchFamily="34" charset="0"/>
                <a:cs typeface="Arial" panose="020B0604020202020204" pitchFamily="34" charset="0"/>
              </a:rPr>
              <a:t>BY GRADE</a:t>
            </a:r>
            <a:r>
              <a:rPr lang="en-US" sz="1400" spc="15" dirty="0">
                <a:latin typeface="Montserrat" panose="02000505000000020004" pitchFamily="2" charset="0"/>
                <a:ea typeface="Verdana" panose="020B0604030504040204" pitchFamily="34" charset="0"/>
                <a:cs typeface="Arial" panose="020B0604020202020204" pitchFamily="34" charset="0"/>
              </a:rPr>
              <a:t>, </a:t>
            </a:r>
            <a:r>
              <a:rPr kumimoji="0" lang="en-US" sz="1400" b="0" i="0" u="none" strike="noStrike" kern="1200" cap="none" spc="15" normalizeH="0" baseline="0" noProof="0" dirty="0">
                <a:ln>
                  <a:noFill/>
                </a:ln>
                <a:effectLst/>
                <a:uLnTx/>
                <a:uFillTx/>
                <a:latin typeface="Montserrat" panose="02000505000000020004" pitchFamily="2" charset="0"/>
                <a:ea typeface="Verdana" panose="020B0604030504040204" pitchFamily="34" charset="0"/>
                <a:cs typeface="Arial" panose="020B0604020202020204" pitchFamily="34" charset="0"/>
              </a:rPr>
              <a:t>BY END USE</a:t>
            </a:r>
            <a:r>
              <a:rPr lang="en-US" sz="1400" spc="15" dirty="0">
                <a:latin typeface="Montserrat" panose="02000505000000020004" pitchFamily="2" charset="0"/>
                <a:ea typeface="Verdana" panose="020B0604030504040204" pitchFamily="34" charset="0"/>
                <a:cs typeface="Arial" panose="020B0604020202020204" pitchFamily="34" charset="0"/>
              </a:rPr>
              <a:t>, </a:t>
            </a:r>
          </a:p>
          <a:p>
            <a:pPr lvl="0" algn="r">
              <a:lnSpc>
                <a:spcPct val="150000"/>
              </a:lnSpc>
              <a:defRPr/>
            </a:pPr>
            <a:r>
              <a:rPr kumimoji="0" lang="en-US" sz="1400" b="0" i="0" u="none" strike="noStrike" kern="1200" cap="none" spc="15" normalizeH="0" baseline="0" noProof="0" dirty="0">
                <a:ln>
                  <a:noFill/>
                </a:ln>
                <a:effectLst/>
                <a:uLnTx/>
                <a:uFillTx/>
                <a:latin typeface="Montserrat" panose="02000505000000020004" pitchFamily="2" charset="0"/>
                <a:ea typeface="Verdana" panose="020B0604030504040204" pitchFamily="34" charset="0"/>
                <a:cs typeface="Arial" panose="020B0604020202020204" pitchFamily="34" charset="0"/>
              </a:rPr>
              <a:t>BY </a:t>
            </a:r>
            <a:r>
              <a:rPr lang="en-US" sz="1400" spc="15" dirty="0">
                <a:latin typeface="Montserrat" panose="02000505000000020004" pitchFamily="2" charset="0"/>
                <a:ea typeface="Verdana" panose="020B0604030504040204" pitchFamily="34" charset="0"/>
                <a:cs typeface="Arial" panose="020B0604020202020204" pitchFamily="34" charset="0"/>
              </a:rPr>
              <a:t>TYPE, BY COUNTRY, </a:t>
            </a:r>
          </a:p>
          <a:p>
            <a:pPr lvl="0" algn="r">
              <a:lnSpc>
                <a:spcPct val="150000"/>
              </a:lnSpc>
              <a:defRPr/>
            </a:pPr>
            <a:r>
              <a:rPr lang="en-US" sz="1400" spc="15" dirty="0">
                <a:latin typeface="Montserrat" panose="02000505000000020004" pitchFamily="2" charset="0"/>
                <a:ea typeface="Verdana" panose="020B0604030504040204" pitchFamily="34" charset="0"/>
                <a:cs typeface="Arial" panose="020B0604020202020204" pitchFamily="34" charset="0"/>
              </a:rPr>
              <a:t> COMPETITION, </a:t>
            </a:r>
            <a:r>
              <a:rPr kumimoji="0" lang="en-US" sz="1400" b="0" i="0" u="none" strike="noStrike" kern="1200" cap="none" spc="15" normalizeH="0" baseline="0" noProof="0" dirty="0">
                <a:ln>
                  <a:noFill/>
                </a:ln>
                <a:effectLst/>
                <a:uLnTx/>
                <a:uFillTx/>
                <a:latin typeface="Montserrat" panose="02000505000000020004" pitchFamily="2" charset="0"/>
                <a:ea typeface="Verdana" panose="020B0604030504040204" pitchFamily="34" charset="0"/>
                <a:cs typeface="Arial" panose="020B0604020202020204" pitchFamily="34" charset="0"/>
              </a:rPr>
              <a:t>FORECAST &amp; OPPORTUNITIES</a:t>
            </a:r>
          </a:p>
        </p:txBody>
      </p:sp>
      <p:sp>
        <p:nvSpPr>
          <p:cNvPr id="10" name="Rectangle 9">
            <a:extLst>
              <a:ext uri="{FF2B5EF4-FFF2-40B4-BE49-F238E27FC236}">
                <a16:creationId xmlns:a16="http://schemas.microsoft.com/office/drawing/2014/main" id="{7F97623E-63C9-4705-A3C1-80FF69D6A2F1}"/>
              </a:ext>
            </a:extLst>
          </p:cNvPr>
          <p:cNvSpPr/>
          <p:nvPr/>
        </p:nvSpPr>
        <p:spPr>
          <a:xfrm>
            <a:off x="6827238" y="2237707"/>
            <a:ext cx="2010808" cy="671851"/>
          </a:xfrm>
          <a:prstGeom prst="rect">
            <a:avLst/>
          </a:prstGeom>
        </p:spPr>
        <p:txBody>
          <a:bodyPr wrap="none">
            <a:spAutoFit/>
          </a:bodyPr>
          <a:lstStyle/>
          <a:p>
            <a:pPr marL="0" marR="0" lvl="0" indent="0" algn="r" defTabSz="457200" rtl="0" eaLnBrk="1" fontAlgn="auto" latinLnBrk="0" hangingPunct="1">
              <a:lnSpc>
                <a:spcPct val="150000"/>
              </a:lnSpc>
              <a:spcBef>
                <a:spcPts val="0"/>
              </a:spcBef>
              <a:spcAft>
                <a:spcPts val="0"/>
              </a:spcAft>
              <a:buClrTx/>
              <a:buSzTx/>
              <a:buFontTx/>
              <a:buNone/>
              <a:tabLst/>
              <a:defRPr/>
            </a:pPr>
            <a:r>
              <a:rPr kumimoji="0" lang="en-IN" sz="2800" b="1" i="0" u="none" strike="noStrike" kern="1200" cap="none" spc="15" normalizeH="0" baseline="0" noProof="0" dirty="0">
                <a:ln>
                  <a:noFill/>
                </a:ln>
                <a:effectLst>
                  <a:outerShdw blurRad="38100" dist="38100" dir="2700000" algn="tl">
                    <a:srgbClr val="000000">
                      <a:alpha val="43137"/>
                    </a:srgbClr>
                  </a:outerShdw>
                </a:effectLst>
                <a:uLnTx/>
                <a:uFillTx/>
                <a:latin typeface="Montserrat" panose="02000505000000020004" pitchFamily="2" charset="0"/>
                <a:ea typeface="Verdana" panose="020B0604030504040204" pitchFamily="34" charset="0"/>
                <a:cs typeface="Arial" panose="020B0604020202020204" pitchFamily="34" charset="0"/>
              </a:rPr>
              <a:t>2016 – 2026</a:t>
            </a:r>
            <a:endParaRPr kumimoji="0" lang="en-IN" sz="1800" b="1" i="0" u="none" strike="noStrike" kern="1200" cap="none" spc="15" normalizeH="0" baseline="0" noProof="0" dirty="0">
              <a:ln>
                <a:noFill/>
              </a:ln>
              <a:effectLst>
                <a:outerShdw blurRad="38100" dist="38100" dir="2700000" algn="tl">
                  <a:srgbClr val="000000">
                    <a:alpha val="43137"/>
                  </a:srgbClr>
                </a:outerShdw>
              </a:effectLst>
              <a:uLnTx/>
              <a:uFillTx/>
              <a:latin typeface="Montserrat" panose="02000505000000020004" pitchFamily="2" charset="0"/>
              <a:ea typeface="Verdana" panose="020B060403050404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D6A2C99C-8DD4-4A15-99CF-31BB04EB68FF}"/>
              </a:ext>
            </a:extLst>
          </p:cNvPr>
          <p:cNvSpPr txBox="1"/>
          <p:nvPr/>
        </p:nvSpPr>
        <p:spPr>
          <a:xfrm>
            <a:off x="0" y="6484901"/>
            <a:ext cx="3652566" cy="215444"/>
          </a:xfrm>
          <a:prstGeom prst="rect">
            <a:avLst/>
          </a:prstGeom>
          <a:solidFill>
            <a:schemeClr val="tx1"/>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N" sz="800" b="1" i="0" u="none" strike="noStrike" kern="1200" cap="none" spc="30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rPr>
              <a:t>MARKET INTELLIGENCE . CONSULTING</a:t>
            </a:r>
          </a:p>
        </p:txBody>
      </p:sp>
      <p:sp>
        <p:nvSpPr>
          <p:cNvPr id="13" name="TextBox 12">
            <a:extLst>
              <a:ext uri="{FF2B5EF4-FFF2-40B4-BE49-F238E27FC236}">
                <a16:creationId xmlns:a16="http://schemas.microsoft.com/office/drawing/2014/main" id="{DF581A72-7173-4874-9EFE-53EBC255961A}"/>
              </a:ext>
            </a:extLst>
          </p:cNvPr>
          <p:cNvSpPr txBox="1"/>
          <p:nvPr/>
        </p:nvSpPr>
        <p:spPr>
          <a:xfrm>
            <a:off x="6733320" y="6423346"/>
            <a:ext cx="2410680" cy="276999"/>
          </a:xfrm>
          <a:prstGeom prst="rect">
            <a:avLst/>
          </a:prstGeom>
          <a:no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E7E6E6">
                    <a:lumMod val="25000"/>
                  </a:srgbClr>
                </a:solidFill>
                <a:effectLst/>
                <a:uLnTx/>
                <a:uFillTx/>
                <a:latin typeface="Arial" panose="020B0604020202020204" pitchFamily="34" charset="0"/>
                <a:ea typeface="Verdana" panose="020B0604030504040204" pitchFamily="34" charset="0"/>
                <a:cs typeface="Arial" panose="020B0604020202020204" pitchFamily="34" charset="0"/>
              </a:rPr>
              <a:t>www.chemanalyst.com</a:t>
            </a:r>
          </a:p>
        </p:txBody>
      </p:sp>
      <p:sp>
        <p:nvSpPr>
          <p:cNvPr id="2" name="TextBox 1">
            <a:extLst>
              <a:ext uri="{FF2B5EF4-FFF2-40B4-BE49-F238E27FC236}">
                <a16:creationId xmlns:a16="http://schemas.microsoft.com/office/drawing/2014/main" id="{EB3DAF49-24CE-4014-A68A-A3E504EC6B8A}"/>
              </a:ext>
            </a:extLst>
          </p:cNvPr>
          <p:cNvSpPr txBox="1"/>
          <p:nvPr/>
        </p:nvSpPr>
        <p:spPr>
          <a:xfrm>
            <a:off x="6077919" y="5887772"/>
            <a:ext cx="2760127" cy="369332"/>
          </a:xfrm>
          <a:prstGeom prst="rect">
            <a:avLst/>
          </a:prstGeom>
          <a:noFill/>
        </p:spPr>
        <p:txBody>
          <a:bodyPr wrap="square" rtlCol="0">
            <a:spAutoFit/>
          </a:bodyPr>
          <a:lstStyle/>
          <a:p>
            <a:r>
              <a:rPr lang="en-US" dirty="0">
                <a:latin typeface="Verdana" panose="020B0604030504040204" pitchFamily="34" charset="0"/>
                <a:ea typeface="Verdana" panose="020B0604030504040204" pitchFamily="34" charset="0"/>
                <a:cs typeface="Verdana" panose="020B0604030504040204" pitchFamily="34" charset="0"/>
              </a:rPr>
              <a:t>Published: July 2021</a:t>
            </a:r>
          </a:p>
        </p:txBody>
      </p:sp>
    </p:spTree>
    <p:extLst>
      <p:ext uri="{BB962C8B-B14F-4D97-AF65-F5344CB8AC3E}">
        <p14:creationId xmlns:p14="http://schemas.microsoft.com/office/powerpoint/2010/main" val="11508684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09106BDC-B80C-45BA-905D-2707FF1E9F2A}"/>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1">
            <a:extLst>
              <a:ext uri="{FF2B5EF4-FFF2-40B4-BE49-F238E27FC236}">
                <a16:creationId xmlns:a16="http://schemas.microsoft.com/office/drawing/2014/main" id="{6B1D01B8-32F7-47CA-AEE2-F21C067B30D7}"/>
              </a:ext>
            </a:extLst>
          </p:cNvPr>
          <p:cNvSpPr/>
          <p:nvPr/>
        </p:nvSpPr>
        <p:spPr>
          <a:xfrm>
            <a:off x="0" y="754379"/>
            <a:ext cx="6032500" cy="1083212"/>
          </a:xfrm>
          <a:custGeom>
            <a:avLst/>
            <a:gdLst>
              <a:gd name="connsiteX0" fmla="*/ 0 w 6032500"/>
              <a:gd name="connsiteY0" fmla="*/ 0 h 1083212"/>
              <a:gd name="connsiteX1" fmla="*/ 6032500 w 6032500"/>
              <a:gd name="connsiteY1" fmla="*/ 0 h 1083212"/>
              <a:gd name="connsiteX2" fmla="*/ 6032500 w 6032500"/>
              <a:gd name="connsiteY2" fmla="*/ 1083212 h 1083212"/>
              <a:gd name="connsiteX3" fmla="*/ 0 w 6032500"/>
              <a:gd name="connsiteY3" fmla="*/ 1083212 h 1083212"/>
              <a:gd name="connsiteX4" fmla="*/ 0 w 6032500"/>
              <a:gd name="connsiteY4" fmla="*/ 0 h 1083212"/>
              <a:gd name="connsiteX0" fmla="*/ 0 w 6032500"/>
              <a:gd name="connsiteY0" fmla="*/ 0 h 1083212"/>
              <a:gd name="connsiteX1" fmla="*/ 6032500 w 6032500"/>
              <a:gd name="connsiteY1" fmla="*/ 0 h 1083212"/>
              <a:gd name="connsiteX2" fmla="*/ 5526063 w 6032500"/>
              <a:gd name="connsiteY2" fmla="*/ 1083212 h 1083212"/>
              <a:gd name="connsiteX3" fmla="*/ 0 w 6032500"/>
              <a:gd name="connsiteY3" fmla="*/ 1083212 h 1083212"/>
              <a:gd name="connsiteX4" fmla="*/ 0 w 6032500"/>
              <a:gd name="connsiteY4" fmla="*/ 0 h 108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0" h="1083212">
                <a:moveTo>
                  <a:pt x="0" y="0"/>
                </a:moveTo>
                <a:lnTo>
                  <a:pt x="6032500" y="0"/>
                </a:lnTo>
                <a:lnTo>
                  <a:pt x="5526063" y="1083212"/>
                </a:lnTo>
                <a:lnTo>
                  <a:pt x="0" y="1083212"/>
                </a:lnTo>
                <a:lnTo>
                  <a:pt x="0" y="0"/>
                </a:lnTo>
                <a:close/>
              </a:path>
            </a:pathLst>
          </a:custGeom>
          <a:solidFill>
            <a:sysClr val="window" lastClr="FFFFFF"/>
          </a:solidFill>
          <a:ln w="12700" cap="flat" cmpd="sng" algn="ctr">
            <a:noFill/>
            <a:prstDash val="solid"/>
            <a:miter lim="800000"/>
          </a:ln>
          <a:effectLst>
            <a:innerShdw blurRad="76200" dist="76200" dir="18900000">
              <a:prstClr val="black">
                <a:alpha val="46000"/>
              </a:prstClr>
            </a:innerShdw>
          </a:effectLst>
        </p:spPr>
        <p:txBody>
          <a:bodyPr rtlCol="0" anchor="ct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rPr>
              <a:t>Research Methodology</a:t>
            </a:r>
          </a:p>
        </p:txBody>
      </p:sp>
    </p:spTree>
    <p:extLst>
      <p:ext uri="{BB962C8B-B14F-4D97-AF65-F5344CB8AC3E}">
        <p14:creationId xmlns:p14="http://schemas.microsoft.com/office/powerpoint/2010/main" val="10015311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F888F908-0425-448A-9F48-E1135DF27EBA}"/>
              </a:ext>
            </a:extLst>
          </p:cNvPr>
          <p:cNvSpPr txBox="1">
            <a:spLocks/>
          </p:cNvSpPr>
          <p:nvPr/>
        </p:nvSpPr>
        <p:spPr>
          <a:xfrm>
            <a:off x="392906" y="5317240"/>
            <a:ext cx="8408194" cy="744836"/>
          </a:xfrm>
          <a:prstGeom prst="rect">
            <a:avLst/>
          </a:prstGeom>
        </p:spPr>
        <p:style>
          <a:lnRef idx="2">
            <a:schemeClr val="accent1"/>
          </a:lnRef>
          <a:fillRef idx="1">
            <a:schemeClr val="lt1"/>
          </a:fillRef>
          <a:effectRef idx="0">
            <a:schemeClr val="accent1"/>
          </a:effectRef>
          <a:fontRef idx="minor">
            <a:schemeClr val="dk1"/>
          </a:fontRef>
        </p:style>
        <p:txBody>
          <a:bodyPr vert="horz" lIns="91440" tIns="45720" rIns="91440" bIns="45720" rtlCol="0" anchor="ctr">
            <a:normAutofit/>
          </a:bodyPr>
          <a:lstStyle>
            <a:lvl1pPr marL="188595" indent="-188595" algn="l" defTabSz="754380" rtl="0" eaLnBrk="1" latinLnBrk="0" hangingPunct="1">
              <a:lnSpc>
                <a:spcPct val="90000"/>
              </a:lnSpc>
              <a:spcBef>
                <a:spcPts val="825"/>
              </a:spcBef>
              <a:buFont typeface="Arial" panose="020B0604020202020204" pitchFamily="34" charset="0"/>
              <a:buChar char="•"/>
              <a:defRPr sz="2310" kern="1200">
                <a:solidFill>
                  <a:schemeClr val="tx1"/>
                </a:solidFill>
                <a:latin typeface="+mn-lt"/>
                <a:ea typeface="+mn-ea"/>
                <a:cs typeface="+mn-cs"/>
              </a:defRPr>
            </a:lvl1pPr>
            <a:lvl2pPr marL="565785" indent="-188595" algn="l" defTabSz="754380" rtl="0" eaLnBrk="1" latinLnBrk="0" hangingPunct="1">
              <a:lnSpc>
                <a:spcPct val="90000"/>
              </a:lnSpc>
              <a:spcBef>
                <a:spcPts val="413"/>
              </a:spcBef>
              <a:buFont typeface="Arial" panose="020B0604020202020204" pitchFamily="34" charset="0"/>
              <a:buChar char="•"/>
              <a:defRPr sz="1980" kern="1200">
                <a:solidFill>
                  <a:schemeClr val="tx1"/>
                </a:solidFill>
                <a:latin typeface="+mn-lt"/>
                <a:ea typeface="+mn-ea"/>
                <a:cs typeface="+mn-cs"/>
              </a:defRPr>
            </a:lvl2pPr>
            <a:lvl3pPr marL="942975" indent="-188595" algn="l" defTabSz="754380" rtl="0" eaLnBrk="1" latinLnBrk="0" hangingPunct="1">
              <a:lnSpc>
                <a:spcPct val="90000"/>
              </a:lnSpc>
              <a:spcBef>
                <a:spcPts val="413"/>
              </a:spcBef>
              <a:buFont typeface="Arial" panose="020B0604020202020204" pitchFamily="34" charset="0"/>
              <a:buChar char="•"/>
              <a:defRPr sz="1650" kern="1200">
                <a:solidFill>
                  <a:schemeClr val="tx1"/>
                </a:solidFill>
                <a:latin typeface="+mn-lt"/>
                <a:ea typeface="+mn-ea"/>
                <a:cs typeface="+mn-cs"/>
              </a:defRPr>
            </a:lvl3pPr>
            <a:lvl4pPr marL="132016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4pPr>
            <a:lvl5pPr marL="169735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5pPr>
            <a:lvl6pPr marL="207454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6pPr>
            <a:lvl7pPr marL="245173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7pPr>
            <a:lvl8pPr marL="282892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8pPr>
            <a:lvl9pPr marL="320611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9pPr>
          </a:lstStyle>
          <a:p>
            <a:pPr marL="0" marR="0" lvl="0" indent="0" algn="ctr" defTabSz="914400" fontAlgn="auto">
              <a:spcBef>
                <a:spcPct val="0"/>
              </a:spcBef>
              <a:spcAft>
                <a:spcPts val="450"/>
              </a:spcAft>
              <a:buClrTx/>
              <a:buSzTx/>
              <a:buNone/>
              <a:tabLst/>
              <a:defRPr/>
            </a:pPr>
            <a:r>
              <a:rPr kumimoji="0" lang="en-US" sz="3100" b="1" i="0" u="none" strike="noStrike" cap="none" spc="-102" normalizeH="0" baseline="0" noProof="0" dirty="0">
                <a:ln>
                  <a:noFill/>
                </a:ln>
                <a:solidFill>
                  <a:schemeClr val="tx1">
                    <a:lumMod val="85000"/>
                    <a:lumOff val="15000"/>
                  </a:schemeClr>
                </a:solidFill>
                <a:effectLst>
                  <a:outerShdw blurRad="38100" dist="38100" dir="2700000" algn="tl">
                    <a:srgbClr val="000000">
                      <a:alpha val="43137"/>
                    </a:srgbClr>
                  </a:outerShdw>
                </a:effectLst>
                <a:uLnTx/>
                <a:uFillTx/>
                <a:latin typeface="+mj-lt"/>
                <a:ea typeface="+mj-ea"/>
                <a:cs typeface="+mj-cs"/>
              </a:rPr>
              <a:t>Additional Customization</a:t>
            </a:r>
          </a:p>
        </p:txBody>
      </p:sp>
      <p:pic>
        <p:nvPicPr>
          <p:cNvPr id="3" name="Picture 2" descr="Logo, company name&#10;&#10;Description automatically generated">
            <a:extLst>
              <a:ext uri="{FF2B5EF4-FFF2-40B4-BE49-F238E27FC236}">
                <a16:creationId xmlns:a16="http://schemas.microsoft.com/office/drawing/2014/main" id="{D6FFF4B2-E813-4C89-AD55-E755ADCB94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609600"/>
            <a:ext cx="8935769" cy="4240696"/>
          </a:xfrm>
          <a:prstGeom prst="rect">
            <a:avLst/>
          </a:prstGeom>
        </p:spPr>
      </p:pic>
    </p:spTree>
    <p:extLst>
      <p:ext uri="{BB962C8B-B14F-4D97-AF65-F5344CB8AC3E}">
        <p14:creationId xmlns:p14="http://schemas.microsoft.com/office/powerpoint/2010/main" val="84200950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umbrella&#10;&#10;Description automatically generated">
            <a:extLst>
              <a:ext uri="{FF2B5EF4-FFF2-40B4-BE49-F238E27FC236}">
                <a16:creationId xmlns:a16="http://schemas.microsoft.com/office/drawing/2014/main" id="{B4251935-1CBF-4EA9-8556-A0D4AC79A9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5" name="Content Placeholder 2">
            <a:extLst>
              <a:ext uri="{FF2B5EF4-FFF2-40B4-BE49-F238E27FC236}">
                <a16:creationId xmlns:a16="http://schemas.microsoft.com/office/drawing/2014/main" id="{F888F908-0425-448A-9F48-E1135DF27EBA}"/>
              </a:ext>
            </a:extLst>
          </p:cNvPr>
          <p:cNvSpPr txBox="1">
            <a:spLocks/>
          </p:cNvSpPr>
          <p:nvPr/>
        </p:nvSpPr>
        <p:spPr>
          <a:xfrm>
            <a:off x="451272" y="4033189"/>
            <a:ext cx="3658612" cy="1083560"/>
          </a:xfrm>
          <a:prstGeom prst="rect">
            <a:avLst/>
          </a:prstGeom>
        </p:spPr>
        <p:txBody>
          <a:bodyPr vert="horz" lIns="91440" tIns="45720" rIns="91440" bIns="45720" rtlCol="0" anchor="ctr">
            <a:normAutofit/>
          </a:bodyPr>
          <a:lstStyle>
            <a:lvl1pPr marL="188595" indent="-188595" algn="l" defTabSz="754380" rtl="0" eaLnBrk="1" latinLnBrk="0" hangingPunct="1">
              <a:lnSpc>
                <a:spcPct val="90000"/>
              </a:lnSpc>
              <a:spcBef>
                <a:spcPts val="825"/>
              </a:spcBef>
              <a:buFont typeface="Arial" panose="020B0604020202020204" pitchFamily="34" charset="0"/>
              <a:buChar char="•"/>
              <a:defRPr sz="2310" kern="1200">
                <a:solidFill>
                  <a:schemeClr val="tx1"/>
                </a:solidFill>
                <a:latin typeface="+mn-lt"/>
                <a:ea typeface="+mn-ea"/>
                <a:cs typeface="+mn-cs"/>
              </a:defRPr>
            </a:lvl1pPr>
            <a:lvl2pPr marL="565785" indent="-188595" algn="l" defTabSz="754380" rtl="0" eaLnBrk="1" latinLnBrk="0" hangingPunct="1">
              <a:lnSpc>
                <a:spcPct val="90000"/>
              </a:lnSpc>
              <a:spcBef>
                <a:spcPts val="413"/>
              </a:spcBef>
              <a:buFont typeface="Arial" panose="020B0604020202020204" pitchFamily="34" charset="0"/>
              <a:buChar char="•"/>
              <a:defRPr sz="1980" kern="1200">
                <a:solidFill>
                  <a:schemeClr val="tx1"/>
                </a:solidFill>
                <a:latin typeface="+mn-lt"/>
                <a:ea typeface="+mn-ea"/>
                <a:cs typeface="+mn-cs"/>
              </a:defRPr>
            </a:lvl2pPr>
            <a:lvl3pPr marL="942975" indent="-188595" algn="l" defTabSz="754380" rtl="0" eaLnBrk="1" latinLnBrk="0" hangingPunct="1">
              <a:lnSpc>
                <a:spcPct val="90000"/>
              </a:lnSpc>
              <a:spcBef>
                <a:spcPts val="413"/>
              </a:spcBef>
              <a:buFont typeface="Arial" panose="020B0604020202020204" pitchFamily="34" charset="0"/>
              <a:buChar char="•"/>
              <a:defRPr sz="1650" kern="1200">
                <a:solidFill>
                  <a:schemeClr val="tx1"/>
                </a:solidFill>
                <a:latin typeface="+mn-lt"/>
                <a:ea typeface="+mn-ea"/>
                <a:cs typeface="+mn-cs"/>
              </a:defRPr>
            </a:lvl3pPr>
            <a:lvl4pPr marL="132016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4pPr>
            <a:lvl5pPr marL="169735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5pPr>
            <a:lvl6pPr marL="207454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6pPr>
            <a:lvl7pPr marL="245173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7pPr>
            <a:lvl8pPr marL="282892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8pPr>
            <a:lvl9pPr marL="320611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ts val="600"/>
              </a:spcAft>
              <a:buClrTx/>
              <a:buSzTx/>
              <a:buFont typeface="Arial" panose="020B0604020202020204" pitchFamily="34" charset="0"/>
              <a:buNone/>
              <a:tabLst/>
              <a:defRPr/>
            </a:pPr>
            <a:r>
              <a:rPr kumimoji="0" lang="en-US" sz="3100" b="1" i="0" u="none" strike="noStrike" kern="1200" cap="none" spc="-136" normalizeH="0" baseline="0" noProof="0" dirty="0">
                <a:ln>
                  <a:noFill/>
                </a:ln>
                <a:solidFill>
                  <a:prstClr val="black">
                    <a:lumMod val="85000"/>
                    <a:lumOff val="15000"/>
                  </a:prstClr>
                </a:solidFill>
                <a:effectLst>
                  <a:outerShdw blurRad="38100" dist="38100" dir="2700000" algn="tl">
                    <a:srgbClr val="000000">
                      <a:alpha val="43137"/>
                    </a:srgbClr>
                  </a:outerShdw>
                </a:effectLst>
                <a:uLnTx/>
                <a:uFillTx/>
                <a:latin typeface="Calibri Light" panose="020F0302020204030204"/>
                <a:ea typeface="+mn-ea"/>
                <a:cs typeface="+mn-cs"/>
              </a:rPr>
              <a:t> DEMAND - SUPPLY ANALYSIS</a:t>
            </a:r>
          </a:p>
        </p:txBody>
      </p:sp>
    </p:spTree>
    <p:extLst>
      <p:ext uri="{BB962C8B-B14F-4D97-AF65-F5344CB8AC3E}">
        <p14:creationId xmlns:p14="http://schemas.microsoft.com/office/powerpoint/2010/main" val="116256531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F4C55-CCAA-4947-906B-FE0BFDD1BB15}"/>
              </a:ext>
            </a:extLst>
          </p:cNvPr>
          <p:cNvSpPr txBox="1">
            <a:spLocks/>
          </p:cNvSpPr>
          <p:nvPr/>
        </p:nvSpPr>
        <p:spPr>
          <a:xfrm>
            <a:off x="104665" y="615603"/>
            <a:ext cx="3528934" cy="4323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457200"/>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Copper Sulphate</a:t>
            </a:r>
          </a:p>
        </p:txBody>
      </p:sp>
      <p:pic>
        <p:nvPicPr>
          <p:cNvPr id="3" name="Picture 2" descr="Pmw Loose Packed Copper Sulphate with Small Crystals (100 g) : Amazon.in:  Industrial &amp;amp; Scientific">
            <a:extLst>
              <a:ext uri="{FF2B5EF4-FFF2-40B4-BE49-F238E27FC236}">
                <a16:creationId xmlns:a16="http://schemas.microsoft.com/office/drawing/2014/main" id="{A4073864-511C-44E8-ADD0-D5E79C82AB0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0237" b="1530"/>
          <a:stretch/>
        </p:blipFill>
        <p:spPr bwMode="auto">
          <a:xfrm>
            <a:off x="4385598" y="668600"/>
            <a:ext cx="4758402" cy="2372139"/>
          </a:xfrm>
          <a:custGeom>
            <a:avLst/>
            <a:gdLst/>
            <a:ahLst/>
            <a:cxnLst/>
            <a:rect l="l" t="t" r="r" b="b"/>
            <a:pathLst>
              <a:path w="12188952" h="4558430">
                <a:moveTo>
                  <a:pt x="6789701" y="4490221"/>
                </a:moveTo>
                <a:lnTo>
                  <a:pt x="6788702" y="4490299"/>
                </a:lnTo>
                <a:lnTo>
                  <a:pt x="6788476" y="4490833"/>
                </a:lnTo>
                <a:close/>
                <a:moveTo>
                  <a:pt x="0" y="0"/>
                </a:moveTo>
                <a:lnTo>
                  <a:pt x="12188952" y="0"/>
                </a:lnTo>
                <a:lnTo>
                  <a:pt x="12188952" y="3596895"/>
                </a:lnTo>
                <a:lnTo>
                  <a:pt x="12061096" y="3635026"/>
                </a:lnTo>
                <a:cubicBezTo>
                  <a:pt x="11933500" y="3671240"/>
                  <a:pt x="11805390" y="3705769"/>
                  <a:pt x="11676800" y="3738601"/>
                </a:cubicBezTo>
                <a:cubicBezTo>
                  <a:pt x="11262789" y="3846108"/>
                  <a:pt x="10845343" y="3939710"/>
                  <a:pt x="10425355" y="4022140"/>
                </a:cubicBezTo>
                <a:cubicBezTo>
                  <a:pt x="10092810" y="4087351"/>
                  <a:pt x="9759033" y="4145748"/>
                  <a:pt x="9424022" y="4197302"/>
                </a:cubicBezTo>
                <a:cubicBezTo>
                  <a:pt x="9102997" y="4246959"/>
                  <a:pt x="8781133" y="4291526"/>
                  <a:pt x="8458419" y="4331003"/>
                </a:cubicBezTo>
                <a:cubicBezTo>
                  <a:pt x="8211360" y="4361169"/>
                  <a:pt x="7963792" y="4386742"/>
                  <a:pt x="7715970" y="4410950"/>
                </a:cubicBezTo>
                <a:lnTo>
                  <a:pt x="6951716" y="4476730"/>
                </a:lnTo>
                <a:lnTo>
                  <a:pt x="6936303" y="4478801"/>
                </a:lnTo>
                <a:lnTo>
                  <a:pt x="6790448" y="4490162"/>
                </a:lnTo>
                <a:lnTo>
                  <a:pt x="6799941" y="4491982"/>
                </a:lnTo>
                <a:cubicBezTo>
                  <a:pt x="6811623" y="4492448"/>
                  <a:pt x="6823734" y="4490275"/>
                  <a:pt x="6835432" y="4490275"/>
                </a:cubicBezTo>
                <a:cubicBezTo>
                  <a:pt x="6851580" y="4490275"/>
                  <a:pt x="6867729" y="4487668"/>
                  <a:pt x="6884003" y="4487297"/>
                </a:cubicBezTo>
                <a:cubicBezTo>
                  <a:pt x="7115805" y="4481835"/>
                  <a:pt x="7347351" y="4469668"/>
                  <a:pt x="7578771" y="4454770"/>
                </a:cubicBezTo>
                <a:cubicBezTo>
                  <a:pt x="7927552" y="4432302"/>
                  <a:pt x="8276080" y="4404123"/>
                  <a:pt x="8623845" y="4367873"/>
                </a:cubicBezTo>
                <a:cubicBezTo>
                  <a:pt x="8909939" y="4338575"/>
                  <a:pt x="9195310" y="4303940"/>
                  <a:pt x="9479970" y="4263967"/>
                </a:cubicBezTo>
                <a:cubicBezTo>
                  <a:pt x="9864901" y="4209593"/>
                  <a:pt x="10248014" y="4144879"/>
                  <a:pt x="10629308" y="4069810"/>
                </a:cubicBezTo>
                <a:cubicBezTo>
                  <a:pt x="11090114" y="3978690"/>
                  <a:pt x="11546975" y="3871184"/>
                  <a:pt x="11998498" y="3743816"/>
                </a:cubicBezTo>
                <a:lnTo>
                  <a:pt x="12188952" y="3687715"/>
                </a:lnTo>
                <a:lnTo>
                  <a:pt x="12188952" y="3742439"/>
                </a:lnTo>
                <a:lnTo>
                  <a:pt x="11829257" y="3846853"/>
                </a:lnTo>
                <a:cubicBezTo>
                  <a:pt x="11534769" y="3926550"/>
                  <a:pt x="11238120" y="3997436"/>
                  <a:pt x="10939183" y="4061368"/>
                </a:cubicBezTo>
                <a:cubicBezTo>
                  <a:pt x="10622824" y="4129150"/>
                  <a:pt x="10304941" y="4189147"/>
                  <a:pt x="9985530" y="4241373"/>
                </a:cubicBezTo>
                <a:cubicBezTo>
                  <a:pt x="9720036" y="4284822"/>
                  <a:pt x="9453814" y="4323467"/>
                  <a:pt x="9186882" y="4357320"/>
                </a:cubicBezTo>
                <a:cubicBezTo>
                  <a:pt x="8984197" y="4382894"/>
                  <a:pt x="8781514" y="4406977"/>
                  <a:pt x="8578198" y="4426839"/>
                </a:cubicBezTo>
                <a:cubicBezTo>
                  <a:pt x="8340547" y="4449559"/>
                  <a:pt x="8102644" y="4471034"/>
                  <a:pt x="7864358" y="4488290"/>
                </a:cubicBezTo>
                <a:cubicBezTo>
                  <a:pt x="7554994" y="4510634"/>
                  <a:pt x="7245502" y="4528512"/>
                  <a:pt x="6935502" y="4539684"/>
                </a:cubicBezTo>
                <a:cubicBezTo>
                  <a:pt x="6782917" y="4545147"/>
                  <a:pt x="6630334" y="4548995"/>
                  <a:pt x="6477750" y="4553587"/>
                </a:cubicBezTo>
                <a:cubicBezTo>
                  <a:pt x="6439195" y="4551503"/>
                  <a:pt x="6400529" y="4553128"/>
                  <a:pt x="6362294" y="4558430"/>
                </a:cubicBezTo>
                <a:lnTo>
                  <a:pt x="6057129" y="4558430"/>
                </a:lnTo>
                <a:lnTo>
                  <a:pt x="5977784" y="4553836"/>
                </a:lnTo>
                <a:cubicBezTo>
                  <a:pt x="5740261" y="4541423"/>
                  <a:pt x="5502739" y="4527644"/>
                  <a:pt x="5265087" y="4517587"/>
                </a:cubicBezTo>
                <a:cubicBezTo>
                  <a:pt x="4958267" y="4505171"/>
                  <a:pt x="4651826" y="4484691"/>
                  <a:pt x="4346277" y="4455517"/>
                </a:cubicBezTo>
                <a:cubicBezTo>
                  <a:pt x="4021654" y="4424605"/>
                  <a:pt x="3697795" y="4389970"/>
                  <a:pt x="3373045" y="4356948"/>
                </a:cubicBezTo>
                <a:cubicBezTo>
                  <a:pt x="3035412" y="4322686"/>
                  <a:pt x="2698456" y="4283047"/>
                  <a:pt x="2362173" y="4238021"/>
                </a:cubicBezTo>
                <a:cubicBezTo>
                  <a:pt x="1984692" y="4187868"/>
                  <a:pt x="1608364" y="4130142"/>
                  <a:pt x="1233177" y="4064845"/>
                </a:cubicBezTo>
                <a:cubicBezTo>
                  <a:pt x="842181" y="3996132"/>
                  <a:pt x="453758" y="3917644"/>
                  <a:pt x="68500" y="3825138"/>
                </a:cubicBezTo>
                <a:lnTo>
                  <a:pt x="0" y="3807783"/>
                </a:lnTo>
                <a:lnTo>
                  <a:pt x="0" y="3751294"/>
                </a:lnTo>
                <a:lnTo>
                  <a:pt x="72441" y="3770071"/>
                </a:lnTo>
                <a:cubicBezTo>
                  <a:pt x="247961" y="3812249"/>
                  <a:pt x="424164" y="3851509"/>
                  <a:pt x="600716" y="3888441"/>
                </a:cubicBezTo>
                <a:cubicBezTo>
                  <a:pt x="988279" y="3969255"/>
                  <a:pt x="1378133" y="4038153"/>
                  <a:pt x="1769512" y="4098609"/>
                </a:cubicBezTo>
                <a:cubicBezTo>
                  <a:pt x="2052426" y="4142185"/>
                  <a:pt x="2335725" y="4182282"/>
                  <a:pt x="2613554" y="4215551"/>
                </a:cubicBezTo>
                <a:cubicBezTo>
                  <a:pt x="2605544" y="4218158"/>
                  <a:pt x="2594611" y="4208102"/>
                  <a:pt x="2581134" y="4205620"/>
                </a:cubicBezTo>
                <a:cubicBezTo>
                  <a:pt x="2087178" y="4113668"/>
                  <a:pt x="1597684" y="4002775"/>
                  <a:pt x="1112635" y="3872923"/>
                </a:cubicBezTo>
                <a:cubicBezTo>
                  <a:pt x="880453" y="3810852"/>
                  <a:pt x="649713" y="3744374"/>
                  <a:pt x="420412" y="3673490"/>
                </a:cubicBezTo>
                <a:lnTo>
                  <a:pt x="0" y="3534573"/>
                </a:lnTo>
                <a:close/>
              </a:path>
            </a:pathLst>
          </a:cu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824A897E-9739-4D4B-892B-0B77DA61838F}"/>
              </a:ext>
            </a:extLst>
          </p:cNvPr>
          <p:cNvSpPr txBox="1"/>
          <p:nvPr/>
        </p:nvSpPr>
        <p:spPr>
          <a:xfrm>
            <a:off x="104665" y="932453"/>
            <a:ext cx="3707903" cy="3118659"/>
          </a:xfrm>
          <a:prstGeom prst="rect">
            <a:avLst/>
          </a:prstGeom>
          <a:solidFill>
            <a:schemeClr val="bg1"/>
          </a:solidFill>
          <a:ln>
            <a:solidFill>
              <a:schemeClr val="bg1"/>
            </a:solidFill>
          </a:ln>
        </p:spPr>
        <p:style>
          <a:lnRef idx="1">
            <a:schemeClr val="accent6"/>
          </a:lnRef>
          <a:fillRef idx="2">
            <a:schemeClr val="accent6"/>
          </a:fillRef>
          <a:effectRef idx="1">
            <a:schemeClr val="accent6"/>
          </a:effectRef>
          <a:fontRef idx="minor">
            <a:schemeClr val="dk1"/>
          </a:fontRef>
        </p:style>
        <p:txBody>
          <a:bodyPr/>
          <a:lstStyle>
            <a:defPPr>
              <a:defRPr lang="en-US"/>
            </a:defPPr>
            <a:lvl1pPr marL="228600" indent="-228600" algn="just" defTabSz="914400">
              <a:lnSpc>
                <a:spcPct val="150000"/>
              </a:lnSpc>
              <a:spcBef>
                <a:spcPts val="400"/>
              </a:spcBef>
              <a:buFont typeface="Wingdings" panose="05000000000000000000" pitchFamily="2" charset="2"/>
              <a:buChar char="Ø"/>
              <a:defRPr sz="1000">
                <a:latin typeface="Verdana" panose="020B0604030504040204" pitchFamily="34" charset="0"/>
                <a:ea typeface="Verdana" panose="020B0604030504040204" pitchFamily="34" charset="0"/>
                <a:cs typeface="Verdana" panose="020B0604030504040204" pitchFamily="34" charset="0"/>
              </a:defRPr>
            </a:lvl1pPr>
            <a:lvl2pPr marL="685800" indent="-228600" defTabSz="914400">
              <a:lnSpc>
                <a:spcPct val="90000"/>
              </a:lnSpc>
              <a:spcBef>
                <a:spcPts val="500"/>
              </a:spcBef>
              <a:buFont typeface="Arial" panose="020B0604020202020204" pitchFamily="34" charset="0"/>
              <a:buChar char="•"/>
              <a:defRPr sz="2400"/>
            </a:lvl2pPr>
            <a:lvl3pPr marL="1143000" indent="-228600" defTabSz="914400">
              <a:lnSpc>
                <a:spcPct val="90000"/>
              </a:lnSpc>
              <a:spcBef>
                <a:spcPts val="500"/>
              </a:spcBef>
              <a:buFont typeface="Arial" panose="020B0604020202020204" pitchFamily="34" charset="0"/>
              <a:buChar char="•"/>
              <a:defRPr sz="2000"/>
            </a:lvl3pPr>
            <a:lvl4pPr marL="1600200" indent="-228600" defTabSz="914400">
              <a:lnSpc>
                <a:spcPct val="90000"/>
              </a:lnSpc>
              <a:spcBef>
                <a:spcPts val="500"/>
              </a:spcBef>
              <a:buFont typeface="Arial" panose="020B0604020202020204" pitchFamily="34" charset="0"/>
              <a:buChar char="•"/>
            </a:lvl4pPr>
            <a:lvl5pPr marL="2057400"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r>
              <a:rPr lang="en-US" dirty="0"/>
              <a:t>Copper sulphate is a blue colored inorganic salt of copper that most commonly occurs in its pentahydrate form, i.e., Cu2SO4.5H2O. It is commercially known as blue vitriol or </a:t>
            </a:r>
            <a:r>
              <a:rPr lang="en-US" dirty="0" err="1"/>
              <a:t>chalcantihite</a:t>
            </a:r>
            <a:r>
              <a:rPr lang="en-US" dirty="0"/>
              <a:t>. Applications of copper sulphate touches a wide range of sectors where it is used as: a fungicide for protection of agricultural plants, a mordant for dying vegetables, a reagent to produce rayon, a germicide in leather industry, a laboratory reagent, an electrolyte for copper refining, an anti-fouling agent in paints, etc.</a:t>
            </a:r>
          </a:p>
        </p:txBody>
      </p:sp>
      <p:graphicFrame>
        <p:nvGraphicFramePr>
          <p:cNvPr id="5" name="Table 4">
            <a:extLst>
              <a:ext uri="{FF2B5EF4-FFF2-40B4-BE49-F238E27FC236}">
                <a16:creationId xmlns:a16="http://schemas.microsoft.com/office/drawing/2014/main" id="{A6521A24-8E51-4749-B560-D6A9F8781004}"/>
              </a:ext>
            </a:extLst>
          </p:cNvPr>
          <p:cNvGraphicFramePr>
            <a:graphicFrameLocks noGrp="1"/>
          </p:cNvGraphicFramePr>
          <p:nvPr/>
        </p:nvGraphicFramePr>
        <p:xfrm>
          <a:off x="299526" y="3778480"/>
          <a:ext cx="8544948" cy="2872840"/>
        </p:xfrm>
        <a:graphic>
          <a:graphicData uri="http://schemas.openxmlformats.org/drawingml/2006/table">
            <a:tbl>
              <a:tblPr firstRow="1" bandRow="1">
                <a:tableStyleId>{073A0DAA-6AF3-43AB-8588-CEC1D06C72B9}</a:tableStyleId>
              </a:tblPr>
              <a:tblGrid>
                <a:gridCol w="4272474">
                  <a:extLst>
                    <a:ext uri="{9D8B030D-6E8A-4147-A177-3AD203B41FA5}">
                      <a16:colId xmlns:a16="http://schemas.microsoft.com/office/drawing/2014/main" val="1133374801"/>
                    </a:ext>
                  </a:extLst>
                </a:gridCol>
                <a:gridCol w="4272474">
                  <a:extLst>
                    <a:ext uri="{9D8B030D-6E8A-4147-A177-3AD203B41FA5}">
                      <a16:colId xmlns:a16="http://schemas.microsoft.com/office/drawing/2014/main" val="21784062"/>
                    </a:ext>
                  </a:extLst>
                </a:gridCol>
              </a:tblGrid>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Parameter/Property</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Result</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1887683203"/>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Copper (Cu)</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25%</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2902970352"/>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Purity (Cu</a:t>
                      </a:r>
                      <a:r>
                        <a:rPr lang="en-US" sz="1000" baseline="-25000" dirty="0">
                          <a:latin typeface="Verdana" panose="020B0604030504040204" pitchFamily="34" charset="0"/>
                          <a:ea typeface="Verdana" panose="020B0604030504040204" pitchFamily="34" charset="0"/>
                          <a:cs typeface="Verdana" panose="020B0604030504040204" pitchFamily="34" charset="0"/>
                        </a:rPr>
                        <a:t>2</a:t>
                      </a:r>
                      <a:r>
                        <a:rPr lang="en-US" sz="1000" dirty="0">
                          <a:latin typeface="Verdana" panose="020B0604030504040204" pitchFamily="34" charset="0"/>
                          <a:ea typeface="Verdana" panose="020B0604030504040204" pitchFamily="34" charset="0"/>
                          <a:cs typeface="Verdana" panose="020B0604030504040204" pitchFamily="34" charset="0"/>
                        </a:rPr>
                        <a:t>SO</a:t>
                      </a:r>
                      <a:r>
                        <a:rPr lang="en-US" sz="1000" baseline="-25000" dirty="0">
                          <a:latin typeface="Verdana" panose="020B0604030504040204" pitchFamily="34" charset="0"/>
                          <a:ea typeface="Verdana" panose="020B0604030504040204" pitchFamily="34" charset="0"/>
                          <a:cs typeface="Verdana" panose="020B0604030504040204" pitchFamily="34" charset="0"/>
                        </a:rPr>
                        <a:t>4</a:t>
                      </a:r>
                      <a:r>
                        <a:rPr lang="en-US" sz="1000" dirty="0">
                          <a:latin typeface="Verdana" panose="020B0604030504040204" pitchFamily="34" charset="0"/>
                          <a:ea typeface="Verdana" panose="020B0604030504040204" pitchFamily="34" charset="0"/>
                          <a:cs typeface="Verdana" panose="020B0604030504040204" pitchFamily="34" charset="0"/>
                        </a:rPr>
                        <a:t>.5H</a:t>
                      </a:r>
                      <a:r>
                        <a:rPr lang="en-US" sz="1000" baseline="-25000" dirty="0">
                          <a:latin typeface="Verdana" panose="020B0604030504040204" pitchFamily="34" charset="0"/>
                          <a:ea typeface="Verdana" panose="020B0604030504040204" pitchFamily="34" charset="0"/>
                          <a:cs typeface="Verdana" panose="020B0604030504040204" pitchFamily="34" charset="0"/>
                        </a:rPr>
                        <a:t>2</a:t>
                      </a:r>
                      <a:r>
                        <a:rPr lang="en-US" sz="1000" dirty="0">
                          <a:latin typeface="Verdana" panose="020B0604030504040204" pitchFamily="34" charset="0"/>
                          <a:ea typeface="Verdana" panose="020B0604030504040204" pitchFamily="34" charset="0"/>
                          <a:cs typeface="Verdana" panose="020B0604030504040204" pitchFamily="34" charset="0"/>
                        </a:rPr>
                        <a:t>O)</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98%</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100606120"/>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Iron (Fe)</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100 ppm</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725587525"/>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Lead (Pb)</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20 ppm</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1525706658"/>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Nickel (Ni)</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20 ppm</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2972029306"/>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Cadmium (Cd)</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ND (&lt; 0.5 ppm)</a:t>
                      </a:r>
                    </a:p>
                  </a:txBody>
                  <a:tcPr/>
                </a:tc>
                <a:extLst>
                  <a:ext uri="{0D108BD9-81ED-4DB2-BD59-A6C34878D82A}">
                    <a16:rowId xmlns:a16="http://schemas.microsoft.com/office/drawing/2014/main" val="1944005570"/>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Arsenic (</a:t>
                      </a:r>
                      <a:r>
                        <a:rPr lang="en-US" sz="1000" dirty="0" err="1">
                          <a:latin typeface="Verdana" panose="020B0604030504040204" pitchFamily="34" charset="0"/>
                          <a:ea typeface="Verdana" panose="020B0604030504040204" pitchFamily="34" charset="0"/>
                          <a:cs typeface="Verdana" panose="020B0604030504040204" pitchFamily="34" charset="0"/>
                        </a:rPr>
                        <a:t>Ar</a:t>
                      </a:r>
                      <a:r>
                        <a:rPr lang="en-US" sz="1000" dirty="0">
                          <a:latin typeface="Verdana" panose="020B0604030504040204" pitchFamily="34" charset="0"/>
                          <a:ea typeface="Verdana" panose="020B0604030504040204" pitchFamily="34" charset="0"/>
                          <a:cs typeface="Verdana" panose="020B0604030504040204" pitchFamily="34" charset="0"/>
                        </a:rPr>
                        <a:t>)</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ND (&lt; 5 ppm)</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3670921036"/>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Mercury (Hg)</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latin typeface="Verdana" panose="020B0604030504040204" pitchFamily="34" charset="0"/>
                          <a:ea typeface="Verdana" panose="020B0604030504040204" pitchFamily="34" charset="0"/>
                          <a:cs typeface="Verdana" panose="020B0604030504040204" pitchFamily="34" charset="0"/>
                        </a:rPr>
                        <a:t>ND (&lt; 5 ppm)</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1691669368"/>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Appearance</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Free flowing blue crystal</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2209103673"/>
                  </a:ext>
                </a:extLst>
              </a:tr>
            </a:tbl>
          </a:graphicData>
        </a:graphic>
      </p:graphicFrame>
      <p:sp>
        <p:nvSpPr>
          <p:cNvPr id="6" name="TextBox 5">
            <a:extLst>
              <a:ext uri="{FF2B5EF4-FFF2-40B4-BE49-F238E27FC236}">
                <a16:creationId xmlns:a16="http://schemas.microsoft.com/office/drawing/2014/main" id="{02C7BD21-96FA-449F-9E83-20703765B0C1}"/>
              </a:ext>
            </a:extLst>
          </p:cNvPr>
          <p:cNvSpPr txBox="1"/>
          <p:nvPr/>
        </p:nvSpPr>
        <p:spPr>
          <a:xfrm>
            <a:off x="222070" y="3532259"/>
            <a:ext cx="5407184" cy="246221"/>
          </a:xfrm>
          <a:prstGeom prst="rect">
            <a:avLst/>
          </a:prstGeom>
          <a:noFill/>
        </p:spPr>
        <p:txBody>
          <a:bodyPr wrap="square" rtlCol="0">
            <a:spAutoFit/>
          </a:bodyPr>
          <a:lstStyle/>
          <a:p>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Copper Sulphate Pentahydrate (Feed Grade 25%) Specifications</a:t>
            </a:r>
            <a:endParaRPr lang="en-IN" sz="1000" b="1" dirty="0">
              <a:solidFill>
                <a:schemeClr val="dk1"/>
              </a:solidFill>
              <a:latin typeface="Verdana" panose="020B0604030504040204" pitchFamily="34" charset="0"/>
              <a:ea typeface="Verdana" panose="020B0604030504040204" pitchFamily="34" charset="0"/>
              <a:cs typeface="Verdana" panose="020B0604030504040204" pitchFamily="34" charset="0"/>
            </a:endParaRPr>
          </a:p>
        </p:txBody>
      </p:sp>
      <p:sp>
        <p:nvSpPr>
          <p:cNvPr id="7" name="Title 1">
            <a:extLst>
              <a:ext uri="{FF2B5EF4-FFF2-40B4-BE49-F238E27FC236}">
                <a16:creationId xmlns:a16="http://schemas.microsoft.com/office/drawing/2014/main" id="{E7A7AF4D-EE67-40C8-B30D-B020D7763EB7}"/>
              </a:ext>
            </a:extLst>
          </p:cNvPr>
          <p:cNvSpPr txBox="1">
            <a:spLocks/>
          </p:cNvSpPr>
          <p:nvPr/>
        </p:nvSpPr>
        <p:spPr>
          <a:xfrm>
            <a:off x="222070" y="198056"/>
            <a:ext cx="8113547" cy="313932"/>
          </a:xfrm>
          <a:prstGeom prst="rect">
            <a:avLst/>
          </a:prstGeom>
          <a:noFill/>
        </p:spPr>
        <p:txBody>
          <a:bodyPr vert="horz" wrap="square" lIns="91440" tIns="45720" rIns="91440" bIns="45720" rtlCol="0" anchor="ctr">
            <a:spAutoFit/>
          </a:bodyPr>
          <a:lstStyle>
            <a:defPPr>
              <a:defRPr lang="en-US"/>
            </a:defPPr>
            <a:lvl1pPr marR="0" lvl="0" indent="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Global Copper Sulphate Manufacturing Process Overview</a:t>
            </a:r>
            <a:endParaRPr lang="en-US" dirty="0"/>
          </a:p>
        </p:txBody>
      </p:sp>
    </p:spTree>
    <p:extLst>
      <p:ext uri="{BB962C8B-B14F-4D97-AF65-F5344CB8AC3E}">
        <p14:creationId xmlns:p14="http://schemas.microsoft.com/office/powerpoint/2010/main" val="228441204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BF2ED12-3E68-42E8-8190-5947AFFB5396}"/>
              </a:ext>
            </a:extLst>
          </p:cNvPr>
          <p:cNvSpPr txBox="1"/>
          <p:nvPr/>
        </p:nvSpPr>
        <p:spPr>
          <a:xfrm>
            <a:off x="145775" y="783712"/>
            <a:ext cx="4002155" cy="246221"/>
          </a:xfrm>
          <a:prstGeom prst="rect">
            <a:avLst/>
          </a:prstGeom>
          <a:solidFill>
            <a:schemeClr val="accent2">
              <a:lumMod val="40000"/>
              <a:lumOff val="60000"/>
            </a:schemeClr>
          </a:solidFill>
        </p:spPr>
        <p:txBody>
          <a:bodyPr wrap="square" rtlCol="0">
            <a:spAutoFit/>
          </a:bodyPr>
          <a:lstStyle/>
          <a:p>
            <a:pPr algn="ctr"/>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PROCESS DETAILS</a:t>
            </a:r>
            <a:endParaRPr lang="en-IN" sz="1000" b="1" dirty="0">
              <a:solidFill>
                <a:schemeClr val="dk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extBox 3">
            <a:extLst>
              <a:ext uri="{FF2B5EF4-FFF2-40B4-BE49-F238E27FC236}">
                <a16:creationId xmlns:a16="http://schemas.microsoft.com/office/drawing/2014/main" id="{CC0C6420-E433-45B3-A4FD-CF322EA910DD}"/>
              </a:ext>
            </a:extLst>
          </p:cNvPr>
          <p:cNvSpPr txBox="1"/>
          <p:nvPr/>
        </p:nvSpPr>
        <p:spPr>
          <a:xfrm>
            <a:off x="131260" y="1492125"/>
            <a:ext cx="4002155" cy="4581703"/>
          </a:xfrm>
          <a:prstGeom prst="rect">
            <a:avLst/>
          </a:prstGeom>
          <a:noFill/>
        </p:spPr>
        <p:txBody>
          <a:bodyPr wrap="square" rtlCol="0">
            <a:spAutoFit/>
          </a:bodyPr>
          <a:lstStyle/>
          <a:p>
            <a:pPr marL="285750" indent="-285750">
              <a:buFont typeface="Wingdings" panose="05000000000000000000" pitchFamily="2" charset="2"/>
              <a:buChar char="Ø"/>
            </a:pPr>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Reaction of Copper Scrap with </a:t>
            </a:r>
            <a:r>
              <a:rPr lang="en-US" sz="1000" b="1"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ic</a:t>
            </a:r>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 Acid</a:t>
            </a:r>
          </a:p>
          <a:p>
            <a:pPr algn="just">
              <a:lnSpc>
                <a:spcPct val="200000"/>
              </a:lnSpc>
            </a:pP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The most common industrial method for the production of copper sulphate involves the heating of copper scrap with dilute </a:t>
            </a:r>
            <a:r>
              <a:rPr lang="en-US" sz="10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ic</a:t>
            </a: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 acid to form a saturated solution which is allowed to undergo gradual cooling under the influence of cooling vats to get the crystalline form of copper sulphate. In order to obtain the granulated crystal grades of copper sulphate, the cooling process is accelerated through agitation of the reaction mixture in the cooled vessels. Metallic copper scrap is generated in copious amounts from the ore refinement techniques, making it the most abundant source for copper sulphate generation. </a:t>
            </a:r>
            <a:r>
              <a:rPr lang="en-US" sz="1000" dirty="0">
                <a:latin typeface="Verdana" panose="020B0604030504040204" pitchFamily="34" charset="0"/>
                <a:ea typeface="Verdana" panose="020B0604030504040204" pitchFamily="34" charset="0"/>
                <a:cs typeface="Verdana" panose="020B0604030504040204" pitchFamily="34" charset="0"/>
              </a:rPr>
              <a:t>Active carbon treatment is often treated with acidic solution of copper scrap</a:t>
            </a: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 in order to obtain highly pure (&gt;98%) copper sulphate inorganic salts.</a:t>
            </a:r>
          </a:p>
        </p:txBody>
      </p:sp>
      <p:sp>
        <p:nvSpPr>
          <p:cNvPr id="9" name="Title 1">
            <a:extLst>
              <a:ext uri="{FF2B5EF4-FFF2-40B4-BE49-F238E27FC236}">
                <a16:creationId xmlns:a16="http://schemas.microsoft.com/office/drawing/2014/main" id="{21726F31-1D21-493A-A420-D6A440548730}"/>
              </a:ext>
            </a:extLst>
          </p:cNvPr>
          <p:cNvSpPr txBox="1">
            <a:spLocks/>
          </p:cNvSpPr>
          <p:nvPr/>
        </p:nvSpPr>
        <p:spPr>
          <a:xfrm>
            <a:off x="222070" y="198056"/>
            <a:ext cx="8113547" cy="313932"/>
          </a:xfrm>
          <a:prstGeom prst="rect">
            <a:avLst/>
          </a:prstGeom>
          <a:noFill/>
        </p:spPr>
        <p:txBody>
          <a:bodyPr vert="horz" wrap="square" lIns="91440" tIns="45720" rIns="91440" bIns="45720" rtlCol="0" anchor="ctr">
            <a:spAutoFit/>
          </a:bodyPr>
          <a:lstStyle>
            <a:defPPr>
              <a:defRPr lang="en-US"/>
            </a:defPPr>
            <a:lvl1pPr marR="0" lvl="0" indent="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Global Copper Sulphate Manufacturing Process Overview</a:t>
            </a:r>
            <a:endParaRPr lang="en-US" dirty="0"/>
          </a:p>
        </p:txBody>
      </p:sp>
      <p:grpSp>
        <p:nvGrpSpPr>
          <p:cNvPr id="8" name="Group 7">
            <a:extLst>
              <a:ext uri="{FF2B5EF4-FFF2-40B4-BE49-F238E27FC236}">
                <a16:creationId xmlns:a16="http://schemas.microsoft.com/office/drawing/2014/main" id="{27B89598-11AA-445A-854A-BFCC53848720}"/>
              </a:ext>
            </a:extLst>
          </p:cNvPr>
          <p:cNvGrpSpPr/>
          <p:nvPr/>
        </p:nvGrpSpPr>
        <p:grpSpPr>
          <a:xfrm>
            <a:off x="4147930" y="1128214"/>
            <a:ext cx="4780724" cy="5276249"/>
            <a:chOff x="4217501" y="810840"/>
            <a:chExt cx="4780724" cy="5620751"/>
          </a:xfrm>
        </p:grpSpPr>
        <p:sp>
          <p:nvSpPr>
            <p:cNvPr id="10" name="Rectangle 9">
              <a:extLst>
                <a:ext uri="{FF2B5EF4-FFF2-40B4-BE49-F238E27FC236}">
                  <a16:creationId xmlns:a16="http://schemas.microsoft.com/office/drawing/2014/main" id="{731A0CCD-467A-4A35-9E8F-42AA2B755478}"/>
                </a:ext>
              </a:extLst>
            </p:cNvPr>
            <p:cNvSpPr/>
            <p:nvPr/>
          </p:nvSpPr>
          <p:spPr>
            <a:xfrm>
              <a:off x="4323519" y="817464"/>
              <a:ext cx="940905" cy="622852"/>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Copper Metal</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1" name="Straight Arrow Connector 10">
              <a:extLst>
                <a:ext uri="{FF2B5EF4-FFF2-40B4-BE49-F238E27FC236}">
                  <a16:creationId xmlns:a16="http://schemas.microsoft.com/office/drawing/2014/main" id="{28E3A13D-D814-4417-89F5-02260E6BCEB0}"/>
                </a:ext>
              </a:extLst>
            </p:cNvPr>
            <p:cNvCxnSpPr>
              <a:stCxn id="10" idx="3"/>
            </p:cNvCxnSpPr>
            <p:nvPr/>
          </p:nvCxnSpPr>
          <p:spPr>
            <a:xfrm>
              <a:off x="5264424" y="1128890"/>
              <a:ext cx="59634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6AC7E306-E491-4210-9BD1-2B61E961BA4F}"/>
                </a:ext>
              </a:extLst>
            </p:cNvPr>
            <p:cNvSpPr/>
            <p:nvPr/>
          </p:nvSpPr>
          <p:spPr>
            <a:xfrm>
              <a:off x="5860771" y="828365"/>
              <a:ext cx="940905" cy="622852"/>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Sorting</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3" name="Straight Arrow Connector 12">
              <a:extLst>
                <a:ext uri="{FF2B5EF4-FFF2-40B4-BE49-F238E27FC236}">
                  <a16:creationId xmlns:a16="http://schemas.microsoft.com/office/drawing/2014/main" id="{632D4BE1-8CCD-4E1D-922C-1BB0FB6233AE}"/>
                </a:ext>
              </a:extLst>
            </p:cNvPr>
            <p:cNvCxnSpPr>
              <a:cxnSpLocks/>
              <a:endCxn id="23" idx="1"/>
            </p:cNvCxnSpPr>
            <p:nvPr/>
          </p:nvCxnSpPr>
          <p:spPr>
            <a:xfrm>
              <a:off x="6808301" y="1122266"/>
              <a:ext cx="78850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9F5D3F90-8572-4DF8-9B53-18B3EAB52C4F}"/>
                </a:ext>
              </a:extLst>
            </p:cNvPr>
            <p:cNvSpPr/>
            <p:nvPr/>
          </p:nvSpPr>
          <p:spPr>
            <a:xfrm>
              <a:off x="4323519" y="2210664"/>
              <a:ext cx="940905" cy="622852"/>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Supplier</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5" name="Straight Arrow Connector 14">
              <a:extLst>
                <a:ext uri="{FF2B5EF4-FFF2-40B4-BE49-F238E27FC236}">
                  <a16:creationId xmlns:a16="http://schemas.microsoft.com/office/drawing/2014/main" id="{CACF8207-3C07-4A5E-8DD5-91D684DC8EE0}"/>
                </a:ext>
              </a:extLst>
            </p:cNvPr>
            <p:cNvCxnSpPr>
              <a:cxnSpLocks/>
              <a:endCxn id="14" idx="3"/>
            </p:cNvCxnSpPr>
            <p:nvPr/>
          </p:nvCxnSpPr>
          <p:spPr>
            <a:xfrm flipH="1">
              <a:off x="5264424" y="2515465"/>
              <a:ext cx="1066799" cy="662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DC52FB46-96CB-4D85-A24B-D098ED6808B3}"/>
                </a:ext>
              </a:extLst>
            </p:cNvPr>
            <p:cNvCxnSpPr>
              <a:cxnSpLocks/>
              <a:stCxn id="14" idx="0"/>
              <a:endCxn id="10" idx="2"/>
            </p:cNvCxnSpPr>
            <p:nvPr/>
          </p:nvCxnSpPr>
          <p:spPr>
            <a:xfrm flipV="1">
              <a:off x="4793972" y="1440316"/>
              <a:ext cx="0" cy="7703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834F4CE-C082-4DBE-B3C8-93FFB82E4B21}"/>
                </a:ext>
              </a:extLst>
            </p:cNvPr>
            <p:cNvCxnSpPr>
              <a:stCxn id="12" idx="2"/>
            </p:cNvCxnSpPr>
            <p:nvPr/>
          </p:nvCxnSpPr>
          <p:spPr>
            <a:xfrm flipH="1">
              <a:off x="6331223" y="1451217"/>
              <a:ext cx="1" cy="106424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58C66597-476E-41FC-B2D8-4D82FD7B4816}"/>
                </a:ext>
              </a:extLst>
            </p:cNvPr>
            <p:cNvCxnSpPr>
              <a:cxnSpLocks/>
            </p:cNvCxnSpPr>
            <p:nvPr/>
          </p:nvCxnSpPr>
          <p:spPr>
            <a:xfrm>
              <a:off x="8312425" y="1437965"/>
              <a:ext cx="0" cy="7703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02F3F0AE-5257-4E3A-8184-5112DC3574F5}"/>
                </a:ext>
              </a:extLst>
            </p:cNvPr>
            <p:cNvCxnSpPr>
              <a:cxnSpLocks/>
            </p:cNvCxnSpPr>
            <p:nvPr/>
          </p:nvCxnSpPr>
          <p:spPr>
            <a:xfrm flipH="1">
              <a:off x="5264424" y="5907607"/>
              <a:ext cx="63445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BD554FA0-6A35-4F18-8DFA-17E66542199F}"/>
                </a:ext>
              </a:extLst>
            </p:cNvPr>
            <p:cNvSpPr/>
            <p:nvPr/>
          </p:nvSpPr>
          <p:spPr>
            <a:xfrm>
              <a:off x="4217501" y="5383623"/>
              <a:ext cx="1046923" cy="1047968"/>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Weighing and Packing</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1" name="TextBox 20">
              <a:extLst>
                <a:ext uri="{FF2B5EF4-FFF2-40B4-BE49-F238E27FC236}">
                  <a16:creationId xmlns:a16="http://schemas.microsoft.com/office/drawing/2014/main" id="{B1302EC6-7D6C-4C27-9128-5DB6910BA8AF}"/>
                </a:ext>
              </a:extLst>
            </p:cNvPr>
            <p:cNvSpPr txBox="1"/>
            <p:nvPr/>
          </p:nvSpPr>
          <p:spPr>
            <a:xfrm>
              <a:off x="5396943" y="2141951"/>
              <a:ext cx="940906" cy="246221"/>
            </a:xfrm>
            <a:prstGeom prst="rect">
              <a:avLst/>
            </a:prstGeom>
            <a:noFill/>
          </p:spPr>
          <p:txBody>
            <a:bodyPr wrap="square" rtlCol="0">
              <a:spAutoFit/>
            </a:bodyPr>
            <a:lstStyle/>
            <a:p>
              <a:r>
                <a:rPr lang="en-US" sz="1000" dirty="0">
                  <a:latin typeface="Verdana" panose="020B0604030504040204" pitchFamily="34" charset="0"/>
                  <a:ea typeface="Verdana" panose="020B0604030504040204" pitchFamily="34" charset="0"/>
                  <a:cs typeface="Verdana" panose="020B0604030504040204" pitchFamily="34" charset="0"/>
                </a:rPr>
                <a:t>Rejected</a:t>
              </a:r>
              <a:endParaRPr lang="en-IN" sz="1000" dirty="0">
                <a:latin typeface="Verdana" panose="020B0604030504040204" pitchFamily="34" charset="0"/>
                <a:ea typeface="Verdana" panose="020B0604030504040204" pitchFamily="34" charset="0"/>
                <a:cs typeface="Verdana" panose="020B0604030504040204" pitchFamily="34" charset="0"/>
              </a:endParaRPr>
            </a:p>
          </p:txBody>
        </p:sp>
        <p:sp>
          <p:nvSpPr>
            <p:cNvPr id="22" name="TextBox 21">
              <a:extLst>
                <a:ext uri="{FF2B5EF4-FFF2-40B4-BE49-F238E27FC236}">
                  <a16:creationId xmlns:a16="http://schemas.microsoft.com/office/drawing/2014/main" id="{7E8E1426-6D1E-4F20-91C7-9EF4D9A42EB3}"/>
                </a:ext>
              </a:extLst>
            </p:cNvPr>
            <p:cNvSpPr txBox="1"/>
            <p:nvPr/>
          </p:nvSpPr>
          <p:spPr>
            <a:xfrm>
              <a:off x="6763580" y="1106668"/>
              <a:ext cx="940906" cy="246221"/>
            </a:xfrm>
            <a:prstGeom prst="rect">
              <a:avLst/>
            </a:prstGeom>
            <a:noFill/>
          </p:spPr>
          <p:txBody>
            <a:bodyPr wrap="square" rtlCol="0">
              <a:spAutoFit/>
            </a:bodyPr>
            <a:lstStyle/>
            <a:p>
              <a:r>
                <a:rPr lang="en-US" sz="1000" dirty="0">
                  <a:latin typeface="Verdana" panose="020B0604030504040204" pitchFamily="34" charset="0"/>
                  <a:ea typeface="Verdana" panose="020B0604030504040204" pitchFamily="34" charset="0"/>
                  <a:cs typeface="Verdana" panose="020B0604030504040204" pitchFamily="34" charset="0"/>
                </a:rPr>
                <a:t>Accepted</a:t>
              </a:r>
              <a:endParaRPr lang="en-IN" sz="1000" dirty="0">
                <a:latin typeface="Verdana" panose="020B0604030504040204" pitchFamily="34" charset="0"/>
                <a:ea typeface="Verdana" panose="020B0604030504040204" pitchFamily="34" charset="0"/>
                <a:cs typeface="Verdana" panose="020B0604030504040204" pitchFamily="34" charset="0"/>
              </a:endParaRPr>
            </a:p>
          </p:txBody>
        </p:sp>
        <p:sp>
          <p:nvSpPr>
            <p:cNvPr id="23" name="Rectangle 22">
              <a:extLst>
                <a:ext uri="{FF2B5EF4-FFF2-40B4-BE49-F238E27FC236}">
                  <a16:creationId xmlns:a16="http://schemas.microsoft.com/office/drawing/2014/main" id="{DD337A61-30A3-4ED2-B7FC-8B4E2B68B919}"/>
                </a:ext>
              </a:extLst>
            </p:cNvPr>
            <p:cNvSpPr/>
            <p:nvPr/>
          </p:nvSpPr>
          <p:spPr>
            <a:xfrm>
              <a:off x="7596807" y="810840"/>
              <a:ext cx="1371600" cy="622852"/>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Dissolution in Acid</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4" name="Rectangle 23">
              <a:extLst>
                <a:ext uri="{FF2B5EF4-FFF2-40B4-BE49-F238E27FC236}">
                  <a16:creationId xmlns:a16="http://schemas.microsoft.com/office/drawing/2014/main" id="{5C6F7F91-F32C-47D0-8C31-9D7A1BFB037F}"/>
                </a:ext>
              </a:extLst>
            </p:cNvPr>
            <p:cNvSpPr/>
            <p:nvPr/>
          </p:nvSpPr>
          <p:spPr>
            <a:xfrm>
              <a:off x="7626625" y="2205295"/>
              <a:ext cx="1371600" cy="123291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Refinement (Solvent Extraction/ Active Carbon Treatment)</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5" name="Straight Arrow Connector 24">
              <a:extLst>
                <a:ext uri="{FF2B5EF4-FFF2-40B4-BE49-F238E27FC236}">
                  <a16:creationId xmlns:a16="http://schemas.microsoft.com/office/drawing/2014/main" id="{1A463F43-6BA1-4B29-86C5-81019FC17DF4}"/>
                </a:ext>
              </a:extLst>
            </p:cNvPr>
            <p:cNvCxnSpPr>
              <a:cxnSpLocks/>
            </p:cNvCxnSpPr>
            <p:nvPr/>
          </p:nvCxnSpPr>
          <p:spPr>
            <a:xfrm>
              <a:off x="8312425" y="3443116"/>
              <a:ext cx="0" cy="7703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8501310C-B0DB-413F-88D3-B91EEB013F0E}"/>
                </a:ext>
              </a:extLst>
            </p:cNvPr>
            <p:cNvSpPr/>
            <p:nvPr/>
          </p:nvSpPr>
          <p:spPr>
            <a:xfrm>
              <a:off x="7626625" y="4209814"/>
              <a:ext cx="1371600" cy="622852"/>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Crystallization</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7" name="Straight Arrow Connector 26">
              <a:extLst>
                <a:ext uri="{FF2B5EF4-FFF2-40B4-BE49-F238E27FC236}">
                  <a16:creationId xmlns:a16="http://schemas.microsoft.com/office/drawing/2014/main" id="{A4143A29-5B24-43F9-B9FB-94A78A073B52}"/>
                </a:ext>
              </a:extLst>
            </p:cNvPr>
            <p:cNvCxnSpPr>
              <a:cxnSpLocks/>
            </p:cNvCxnSpPr>
            <p:nvPr/>
          </p:nvCxnSpPr>
          <p:spPr>
            <a:xfrm>
              <a:off x="8312425" y="4832666"/>
              <a:ext cx="0" cy="7703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FBAF34FC-5F8A-4185-BC01-79075A9535F5}"/>
                </a:ext>
              </a:extLst>
            </p:cNvPr>
            <p:cNvSpPr/>
            <p:nvPr/>
          </p:nvSpPr>
          <p:spPr>
            <a:xfrm>
              <a:off x="7626625" y="5599364"/>
              <a:ext cx="1371600" cy="622852"/>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Drying</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9" name="Rectangle 28">
              <a:extLst>
                <a:ext uri="{FF2B5EF4-FFF2-40B4-BE49-F238E27FC236}">
                  <a16:creationId xmlns:a16="http://schemas.microsoft.com/office/drawing/2014/main" id="{F7E66B24-5C59-4205-90BA-FC518E823EEE}"/>
                </a:ext>
              </a:extLst>
            </p:cNvPr>
            <p:cNvSpPr/>
            <p:nvPr/>
          </p:nvSpPr>
          <p:spPr>
            <a:xfrm>
              <a:off x="5905502" y="5599364"/>
              <a:ext cx="940905" cy="622852"/>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Sieving</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30" name="Straight Arrow Connector 29">
              <a:extLst>
                <a:ext uri="{FF2B5EF4-FFF2-40B4-BE49-F238E27FC236}">
                  <a16:creationId xmlns:a16="http://schemas.microsoft.com/office/drawing/2014/main" id="{24BC9C57-F0AE-437F-B375-7F24F3CEF9A1}"/>
                </a:ext>
              </a:extLst>
            </p:cNvPr>
            <p:cNvCxnSpPr>
              <a:cxnSpLocks/>
            </p:cNvCxnSpPr>
            <p:nvPr/>
          </p:nvCxnSpPr>
          <p:spPr>
            <a:xfrm flipH="1">
              <a:off x="6839780" y="5893265"/>
              <a:ext cx="78850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0D86DDF0-6066-48A0-9B9B-2207C48D91CE}"/>
                </a:ext>
              </a:extLst>
            </p:cNvPr>
            <p:cNvSpPr txBox="1"/>
            <p:nvPr/>
          </p:nvSpPr>
          <p:spPr>
            <a:xfrm>
              <a:off x="6001576" y="4732555"/>
              <a:ext cx="748755" cy="400110"/>
            </a:xfrm>
            <a:prstGeom prst="rect">
              <a:avLst/>
            </a:prstGeom>
            <a:noFill/>
          </p:spPr>
          <p:txBody>
            <a:bodyPr wrap="square" rtlCol="0">
              <a:spAutoFit/>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Course Solid</a:t>
              </a:r>
              <a:endParaRPr lang="en-IN" sz="1000" dirty="0">
                <a:latin typeface="Verdana" panose="020B0604030504040204" pitchFamily="34" charset="0"/>
                <a:ea typeface="Verdana" panose="020B0604030504040204" pitchFamily="34" charset="0"/>
                <a:cs typeface="Verdana" panose="020B0604030504040204" pitchFamily="34" charset="0"/>
              </a:endParaRPr>
            </a:p>
          </p:txBody>
        </p:sp>
        <p:cxnSp>
          <p:nvCxnSpPr>
            <p:cNvPr id="32" name="Straight Connector 31">
              <a:extLst>
                <a:ext uri="{FF2B5EF4-FFF2-40B4-BE49-F238E27FC236}">
                  <a16:creationId xmlns:a16="http://schemas.microsoft.com/office/drawing/2014/main" id="{AA0DF930-EB0E-4F84-AB28-C52A13545837}"/>
                </a:ext>
              </a:extLst>
            </p:cNvPr>
            <p:cNvCxnSpPr/>
            <p:nvPr/>
          </p:nvCxnSpPr>
          <p:spPr>
            <a:xfrm flipV="1">
              <a:off x="6629398" y="1983341"/>
              <a:ext cx="0" cy="36160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2E8A454-B4F2-40D3-AE56-88A1F8CB7BF3}"/>
                </a:ext>
              </a:extLst>
            </p:cNvPr>
            <p:cNvCxnSpPr>
              <a:cxnSpLocks/>
            </p:cNvCxnSpPr>
            <p:nvPr/>
          </p:nvCxnSpPr>
          <p:spPr>
            <a:xfrm>
              <a:off x="6629398" y="1983341"/>
              <a:ext cx="1075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817A7E0E-355B-413C-8C13-5B21C12F7C70}"/>
                </a:ext>
              </a:extLst>
            </p:cNvPr>
            <p:cNvCxnSpPr/>
            <p:nvPr/>
          </p:nvCxnSpPr>
          <p:spPr>
            <a:xfrm flipV="1">
              <a:off x="7704486" y="1414445"/>
              <a:ext cx="0" cy="56889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6" name="TextBox 35">
            <a:extLst>
              <a:ext uri="{FF2B5EF4-FFF2-40B4-BE49-F238E27FC236}">
                <a16:creationId xmlns:a16="http://schemas.microsoft.com/office/drawing/2014/main" id="{C06D0583-092E-4A1E-AF38-7FB8353BAA5F}"/>
              </a:ext>
            </a:extLst>
          </p:cNvPr>
          <p:cNvSpPr txBox="1"/>
          <p:nvPr/>
        </p:nvSpPr>
        <p:spPr>
          <a:xfrm>
            <a:off x="4151244" y="781452"/>
            <a:ext cx="4091610"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39: Copper Sulphate Manufacturing Process</a:t>
            </a:r>
          </a:p>
        </p:txBody>
      </p:sp>
    </p:spTree>
    <p:extLst>
      <p:ext uri="{BB962C8B-B14F-4D97-AF65-F5344CB8AC3E}">
        <p14:creationId xmlns:p14="http://schemas.microsoft.com/office/powerpoint/2010/main" val="1481496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81B3F9A-D11C-4F4A-BB54-136331A1E78D}"/>
              </a:ext>
            </a:extLst>
          </p:cNvPr>
          <p:cNvSpPr txBox="1"/>
          <p:nvPr/>
        </p:nvSpPr>
        <p:spPr>
          <a:xfrm>
            <a:off x="169061" y="3429000"/>
            <a:ext cx="8772940" cy="2350323"/>
          </a:xfrm>
          <a:prstGeom prst="rect">
            <a:avLst/>
          </a:prstGeom>
          <a:noFill/>
        </p:spPr>
        <p:txBody>
          <a:bodyPr wrap="square">
            <a:spAutoFit/>
          </a:bodyPr>
          <a:lstStyle/>
          <a:p>
            <a:pPr marL="342900" indent="-342900" algn="just">
              <a:buFont typeface="Wingdings" panose="05000000000000000000" pitchFamily="2" charset="2"/>
              <a:buChar char="Ø"/>
            </a:pPr>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Electrochemical Oxidation of Metallic Copper</a:t>
            </a:r>
          </a:p>
          <a:p>
            <a:pPr algn="just">
              <a:lnSpc>
                <a:spcPct val="200000"/>
              </a:lnSpc>
            </a:pP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The electrochemical oxidation of metallic copper in </a:t>
            </a:r>
            <a:r>
              <a:rPr lang="en-US" sz="10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ic</a:t>
            </a: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 acid is also an efficient method to produce copper sulphate. Copper wires are used as anode and cathode in an electrochemical cell containing dilute </a:t>
            </a:r>
            <a:r>
              <a:rPr lang="en-US" sz="10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ic</a:t>
            </a: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 acid. On applying the electrical potential to the system, copper from the anode side oxidizes to its (+2) oxidation state and goes into the </a:t>
            </a:r>
            <a:r>
              <a:rPr lang="en-US" sz="10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ic</a:t>
            </a: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 acid solution, eventually reacting with it to form copper sulphate that gives blue color to the solution. The blue colored acidic solution is boiled and allowed to cool slowly for precipitating out the copper sulphate powder. This method is very efficient in producing copper sulphate in high yields. Furthermore, this process is advantageous in the recycling of copper wire as waste copper wires are used as electrodes for the electrochemical generation of Cu2+ ions that react sulphate ions to produce copper sulphate. </a:t>
            </a:r>
          </a:p>
        </p:txBody>
      </p:sp>
      <p:sp>
        <p:nvSpPr>
          <p:cNvPr id="3" name="TextBox 2">
            <a:extLst>
              <a:ext uri="{FF2B5EF4-FFF2-40B4-BE49-F238E27FC236}">
                <a16:creationId xmlns:a16="http://schemas.microsoft.com/office/drawing/2014/main" id="{7B0DC963-EAB9-450F-AD60-0CD52E97B72A}"/>
              </a:ext>
            </a:extLst>
          </p:cNvPr>
          <p:cNvSpPr txBox="1"/>
          <p:nvPr/>
        </p:nvSpPr>
        <p:spPr>
          <a:xfrm>
            <a:off x="185530" y="751344"/>
            <a:ext cx="8772940" cy="2677656"/>
          </a:xfrm>
          <a:prstGeom prst="rect">
            <a:avLst/>
          </a:prstGeom>
          <a:noFill/>
        </p:spPr>
        <p:txBody>
          <a:bodyPr wrap="square" rtlCol="0">
            <a:spAutoFit/>
          </a:bodyPr>
          <a:lstStyle/>
          <a:p>
            <a:pPr marL="342900" indent="-342900" algn="just">
              <a:buFont typeface="Wingdings" panose="05000000000000000000" pitchFamily="2" charset="2"/>
              <a:buChar char="Ø"/>
            </a:pPr>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Reaction of Copper Scrap with Sulphur </a:t>
            </a:r>
          </a:p>
          <a:p>
            <a:pPr algn="just"/>
            <a:endPar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endParaRPr>
          </a:p>
          <a:p>
            <a:pPr algn="just">
              <a:lnSpc>
                <a:spcPct val="200000"/>
              </a:lnSpc>
            </a:pP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An indirect method of synthesizing copper sulphate involves heating of copper scrap with </a:t>
            </a:r>
            <a:r>
              <a:rPr lang="en-US" sz="10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a:t>
            </a: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 to form copper </a:t>
            </a:r>
            <a:r>
              <a:rPr lang="en-US" sz="10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ide</a:t>
            </a: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 followed by its oxidation to generate copper sulphate.</a:t>
            </a:r>
          </a:p>
          <a:p>
            <a:endPar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endParaRPr>
          </a:p>
          <a:p>
            <a:pPr marL="342900" indent="-342900" algn="just">
              <a:buFont typeface="Wingdings" panose="05000000000000000000" pitchFamily="2" charset="2"/>
              <a:buChar char="Ø"/>
            </a:pPr>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Ammonia Leaching Process</a:t>
            </a:r>
          </a:p>
          <a:p>
            <a:pPr marL="342900" indent="-342900" algn="just">
              <a:buFont typeface="Wingdings" panose="05000000000000000000" pitchFamily="2" charset="2"/>
              <a:buChar char="Ø"/>
            </a:pPr>
            <a:endPar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endParaRPr>
          </a:p>
          <a:p>
            <a:pPr algn="just">
              <a:lnSpc>
                <a:spcPct val="200000"/>
              </a:lnSpc>
            </a:pP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Slow leaching of malachite ore using saturated ammonia is performed under heating conditions to obtain cupric ammine complex. This complex is treated with dilute </a:t>
            </a:r>
            <a:r>
              <a:rPr lang="en-US" sz="10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ic</a:t>
            </a: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 acid which results into the formation of copper sulphate. This process involves the steps of ore leaching, solvent extraction (for the removal of intermediates and impurities) and crystallization.</a:t>
            </a:r>
          </a:p>
          <a:p>
            <a:endParaRPr lang="en-IN" dirty="0"/>
          </a:p>
        </p:txBody>
      </p:sp>
      <p:sp>
        <p:nvSpPr>
          <p:cNvPr id="5" name="Title 1">
            <a:extLst>
              <a:ext uri="{FF2B5EF4-FFF2-40B4-BE49-F238E27FC236}">
                <a16:creationId xmlns:a16="http://schemas.microsoft.com/office/drawing/2014/main" id="{CE2B24F6-BBB9-4A93-982C-F09BC00AE5F1}"/>
              </a:ext>
            </a:extLst>
          </p:cNvPr>
          <p:cNvSpPr txBox="1">
            <a:spLocks/>
          </p:cNvSpPr>
          <p:nvPr/>
        </p:nvSpPr>
        <p:spPr>
          <a:xfrm>
            <a:off x="222070" y="198056"/>
            <a:ext cx="8113547" cy="313932"/>
          </a:xfrm>
          <a:prstGeom prst="rect">
            <a:avLst/>
          </a:prstGeom>
          <a:noFill/>
        </p:spPr>
        <p:txBody>
          <a:bodyPr vert="horz" wrap="square" lIns="91440" tIns="45720" rIns="91440" bIns="45720" rtlCol="0" anchor="ctr">
            <a:spAutoFit/>
          </a:bodyPr>
          <a:lstStyle>
            <a:defPPr>
              <a:defRPr lang="en-US"/>
            </a:defPPr>
            <a:lvl1pPr marR="0" lvl="0" indent="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Global Copper Sulphate Manufacturing Process Overview</a:t>
            </a:r>
            <a:endParaRPr lang="en-US" dirty="0"/>
          </a:p>
        </p:txBody>
      </p:sp>
    </p:spTree>
    <p:extLst>
      <p:ext uri="{BB962C8B-B14F-4D97-AF65-F5344CB8AC3E}">
        <p14:creationId xmlns:p14="http://schemas.microsoft.com/office/powerpoint/2010/main" val="208292794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ED77BA2-9623-40A2-8FE1-E517C449D42E}"/>
              </a:ext>
            </a:extLst>
          </p:cNvPr>
          <p:cNvSpPr txBox="1"/>
          <p:nvPr/>
        </p:nvSpPr>
        <p:spPr>
          <a:xfrm>
            <a:off x="145774" y="796725"/>
            <a:ext cx="4002155" cy="246221"/>
          </a:xfrm>
          <a:prstGeom prst="rect">
            <a:avLst/>
          </a:prstGeom>
          <a:solidFill>
            <a:schemeClr val="accent2">
              <a:lumMod val="60000"/>
              <a:lumOff val="40000"/>
            </a:schemeClr>
          </a:solidFill>
        </p:spPr>
        <p:txBody>
          <a:bodyPr wrap="square" rtlCol="0">
            <a:spAutoFit/>
          </a:bodyPr>
          <a:lstStyle/>
          <a:p>
            <a:pPr algn="ctr"/>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TECHNOLOGICAL MATURITIES</a:t>
            </a:r>
            <a:endParaRPr lang="en-IN" sz="1000" b="1" dirty="0">
              <a:solidFill>
                <a:schemeClr val="dk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4" name="Table 4">
            <a:extLst>
              <a:ext uri="{FF2B5EF4-FFF2-40B4-BE49-F238E27FC236}">
                <a16:creationId xmlns:a16="http://schemas.microsoft.com/office/drawing/2014/main" id="{B759981A-F536-4E6C-A7C1-731101AA434D}"/>
              </a:ext>
            </a:extLst>
          </p:cNvPr>
          <p:cNvGraphicFramePr>
            <a:graphicFrameLocks noGrp="1"/>
          </p:cNvGraphicFramePr>
          <p:nvPr>
            <p:extLst>
              <p:ext uri="{D42A27DB-BD31-4B8C-83A1-F6EECF244321}">
                <p14:modId xmlns:p14="http://schemas.microsoft.com/office/powerpoint/2010/main" val="1392249188"/>
              </p:ext>
            </p:extLst>
          </p:nvPr>
        </p:nvGraphicFramePr>
        <p:xfrm>
          <a:off x="145774" y="1192696"/>
          <a:ext cx="8693425" cy="5327374"/>
        </p:xfrm>
        <a:graphic>
          <a:graphicData uri="http://schemas.openxmlformats.org/drawingml/2006/table">
            <a:tbl>
              <a:tblPr firstRow="1" bandRow="1">
                <a:tableStyleId>{073A0DAA-6AF3-43AB-8588-CEC1D06C72B9}</a:tableStyleId>
              </a:tblPr>
              <a:tblGrid>
                <a:gridCol w="4333214">
                  <a:extLst>
                    <a:ext uri="{9D8B030D-6E8A-4147-A177-3AD203B41FA5}">
                      <a16:colId xmlns:a16="http://schemas.microsoft.com/office/drawing/2014/main" val="595782644"/>
                    </a:ext>
                  </a:extLst>
                </a:gridCol>
                <a:gridCol w="4360211">
                  <a:extLst>
                    <a:ext uri="{9D8B030D-6E8A-4147-A177-3AD203B41FA5}">
                      <a16:colId xmlns:a16="http://schemas.microsoft.com/office/drawing/2014/main" val="1235797094"/>
                    </a:ext>
                  </a:extLst>
                </a:gridCol>
              </a:tblGrid>
              <a:tr h="742691">
                <a:tc>
                  <a:txBody>
                    <a:bodyPr/>
                    <a:lstStyle/>
                    <a:p>
                      <a:pPr algn="ctr"/>
                      <a:r>
                        <a:rPr lang="en-US" sz="1000" kern="1200" dirty="0">
                          <a:solidFill>
                            <a:schemeClr val="bg1"/>
                          </a:solidFill>
                          <a:latin typeface="Verdana" panose="020B0604030504040204" pitchFamily="34" charset="0"/>
                          <a:ea typeface="Verdana" panose="020B0604030504040204" pitchFamily="34" charset="0"/>
                          <a:cs typeface="Verdana" panose="020B0604030504040204" pitchFamily="34" charset="0"/>
                        </a:rPr>
                        <a:t>Technology</a:t>
                      </a:r>
                      <a:endParaRPr lang="en-IN" sz="1000" kern="1200"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lang="en-US" sz="1000" kern="1200" dirty="0">
                          <a:solidFill>
                            <a:schemeClr val="bg1"/>
                          </a:solidFill>
                          <a:latin typeface="Verdana" panose="020B0604030504040204" pitchFamily="34" charset="0"/>
                          <a:ea typeface="Verdana" panose="020B0604030504040204" pitchFamily="34" charset="0"/>
                          <a:cs typeface="Verdana" panose="020B0604030504040204" pitchFamily="34" charset="0"/>
                        </a:rPr>
                        <a:t>Status</a:t>
                      </a:r>
                      <a:endParaRPr lang="en-IN" sz="1000" kern="1200"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2720399928"/>
                  </a:ext>
                </a:extLst>
              </a:tr>
              <a:tr h="1259208">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Reaction of copper scrap with </a:t>
                      </a:r>
                      <a:r>
                        <a:rPr lang="en-US" sz="1000" kern="12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ic</a:t>
                      </a: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 acid</a:t>
                      </a:r>
                    </a:p>
                  </a:txBody>
                  <a:tcPr anchor="ctr"/>
                </a:tc>
                <a:tc>
                  <a:txBody>
                    <a:bodyPr/>
                    <a:lstStyle/>
                    <a:p>
                      <a:pPr algn="ct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Widely used commercial method</a:t>
                      </a:r>
                      <a:endParaRPr lang="en-IN" sz="1000" kern="1200" dirty="0">
                        <a:solidFill>
                          <a:schemeClr val="dk1"/>
                        </a:solidFill>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3383070131"/>
                  </a:ext>
                </a:extLst>
              </a:tr>
              <a:tr h="1215859">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Reaction of copper scrap with </a:t>
                      </a:r>
                      <a:r>
                        <a:rPr lang="en-US" sz="1000" kern="12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a:t>
                      </a: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 </a:t>
                      </a:r>
                    </a:p>
                  </a:txBody>
                  <a:tcPr anchor="ctr"/>
                </a:tc>
                <a:tc>
                  <a:txBody>
                    <a:bodyPr/>
                    <a:lstStyle/>
                    <a:p>
                      <a:pPr algn="ct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Widely used commercial method</a:t>
                      </a:r>
                      <a:endParaRPr lang="en-IN" sz="1000" kern="1200" dirty="0">
                        <a:solidFill>
                          <a:schemeClr val="dk1"/>
                        </a:solidFill>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3017163082"/>
                  </a:ext>
                </a:extLst>
              </a:tr>
              <a:tr h="1136023">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Ammonia leaching process</a:t>
                      </a:r>
                    </a:p>
                  </a:txBody>
                  <a:tcPr anchor="ctr"/>
                </a:tc>
                <a:tc>
                  <a:txBody>
                    <a:bodyPr/>
                    <a:lstStyle/>
                    <a:p>
                      <a:pPr algn="ct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Patented method  (Pilot Scale)</a:t>
                      </a:r>
                      <a:endParaRPr lang="en-IN" sz="1000" kern="1200" dirty="0">
                        <a:solidFill>
                          <a:schemeClr val="dk1"/>
                        </a:solidFill>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1851434964"/>
                  </a:ext>
                </a:extLst>
              </a:tr>
              <a:tr h="973593">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Electrochemical oxidation of metallic copper</a:t>
                      </a:r>
                    </a:p>
                  </a:txBody>
                  <a:tcPr anchor="ctr"/>
                </a:tc>
                <a:tc>
                  <a:txBody>
                    <a:bodyPr/>
                    <a:lstStyle/>
                    <a:p>
                      <a:pPr algn="ct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Pilot scale method</a:t>
                      </a:r>
                      <a:endParaRPr lang="en-IN" sz="1000" kern="1200" dirty="0">
                        <a:solidFill>
                          <a:schemeClr val="dk1"/>
                        </a:solidFill>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777656898"/>
                  </a:ext>
                </a:extLst>
              </a:tr>
            </a:tbl>
          </a:graphicData>
        </a:graphic>
      </p:graphicFrame>
      <p:sp>
        <p:nvSpPr>
          <p:cNvPr id="5" name="Title 1">
            <a:extLst>
              <a:ext uri="{FF2B5EF4-FFF2-40B4-BE49-F238E27FC236}">
                <a16:creationId xmlns:a16="http://schemas.microsoft.com/office/drawing/2014/main" id="{2C4F019F-127B-4E88-9D67-83147594EAE5}"/>
              </a:ext>
            </a:extLst>
          </p:cNvPr>
          <p:cNvSpPr txBox="1">
            <a:spLocks/>
          </p:cNvSpPr>
          <p:nvPr/>
        </p:nvSpPr>
        <p:spPr>
          <a:xfrm>
            <a:off x="222070" y="198056"/>
            <a:ext cx="8113547" cy="313932"/>
          </a:xfrm>
          <a:prstGeom prst="rect">
            <a:avLst/>
          </a:prstGeom>
          <a:noFill/>
        </p:spPr>
        <p:txBody>
          <a:bodyPr vert="horz" wrap="square" lIns="91440" tIns="45720" rIns="91440" bIns="45720" rtlCol="0" anchor="ctr">
            <a:spAutoFit/>
          </a:bodyPr>
          <a:lstStyle>
            <a:defPPr>
              <a:defRPr lang="en-US"/>
            </a:defPPr>
            <a:lvl1pPr marR="0" lvl="0" indent="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Global Copper Sulphate Manufacturing Process Overview</a:t>
            </a:r>
            <a:endParaRPr lang="en-US" dirty="0"/>
          </a:p>
        </p:txBody>
      </p:sp>
    </p:spTree>
    <p:extLst>
      <p:ext uri="{BB962C8B-B14F-4D97-AF65-F5344CB8AC3E}">
        <p14:creationId xmlns:p14="http://schemas.microsoft.com/office/powerpoint/2010/main" val="253830201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0FD5ACB-2B2D-4E8F-A84E-C635B58084CA}"/>
              </a:ext>
            </a:extLst>
          </p:cNvPr>
          <p:cNvSpPr/>
          <p:nvPr/>
        </p:nvSpPr>
        <p:spPr>
          <a:xfrm>
            <a:off x="211977" y="5433391"/>
            <a:ext cx="8668581" cy="1083641"/>
          </a:xfrm>
          <a:prstGeom prst="rect">
            <a:avLst/>
          </a:prstGeom>
          <a:solidFill>
            <a:schemeClr val="bg1">
              <a:lumMod val="95000"/>
            </a:schemeClr>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50000"/>
              </a:lnSpc>
            </a:pPr>
            <a:r>
              <a:rPr lang="en-US" sz="1000" dirty="0">
                <a:solidFill>
                  <a:schemeClr val="tx1"/>
                </a:solidFill>
                <a:latin typeface="Verdana" panose="020B0604030504040204" pitchFamily="34" charset="0"/>
                <a:ea typeface="Verdana" panose="020B0604030504040204" pitchFamily="34" charset="0"/>
                <a:cs typeface="Verdana" panose="020B0604030504040204" pitchFamily="34" charset="0"/>
              </a:rPr>
              <a:t>The increasing demand of copper sulphate from agricultural and animal husbandry industry as a fungicide, herbicide or pesticide drives the overall South-east Asia market. The profit margin varies in different countries due to the availability of raw material, demand from the end-user industries, and presence of coal mines as copper is produced from mining operations, therefore Indonesia and Malaysia are the two major countries where higher profit margins occur.</a:t>
            </a:r>
          </a:p>
        </p:txBody>
      </p:sp>
      <p:sp>
        <p:nvSpPr>
          <p:cNvPr id="12" name="Rectangle 11">
            <a:extLst>
              <a:ext uri="{FF2B5EF4-FFF2-40B4-BE49-F238E27FC236}">
                <a16:creationId xmlns:a16="http://schemas.microsoft.com/office/drawing/2014/main" id="{DB7A789A-118B-40F0-A564-D37CB5CA07E2}"/>
              </a:ext>
            </a:extLst>
          </p:cNvPr>
          <p:cNvSpPr/>
          <p:nvPr/>
        </p:nvSpPr>
        <p:spPr>
          <a:xfrm>
            <a:off x="239071" y="5124145"/>
            <a:ext cx="8668581" cy="14930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50000"/>
              </a:lnSpc>
            </a:pPr>
            <a:endParaRPr lang="en-US" sz="100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extBox 3">
            <a:extLst>
              <a:ext uri="{FF2B5EF4-FFF2-40B4-BE49-F238E27FC236}">
                <a16:creationId xmlns:a16="http://schemas.microsoft.com/office/drawing/2014/main" id="{1C6A5C98-8C05-4EB4-9B62-41F3B5A7C14B}"/>
              </a:ext>
            </a:extLst>
          </p:cNvPr>
          <p:cNvSpPr txBox="1"/>
          <p:nvPr/>
        </p:nvSpPr>
        <p:spPr>
          <a:xfrm>
            <a:off x="159025" y="705943"/>
            <a:ext cx="8809041" cy="299313"/>
          </a:xfrm>
          <a:prstGeom prst="rect">
            <a:avLst/>
          </a:prstGeom>
          <a:noFill/>
        </p:spPr>
        <p:txBody>
          <a:bodyPr wrap="square" rtlCol="0">
            <a:spAutoFit/>
          </a:bodyPr>
          <a:lstStyle/>
          <a:p>
            <a:pPr>
              <a:lnSpc>
                <a:spcPct val="150000"/>
              </a:lnSpc>
            </a:pPr>
            <a:r>
              <a:rPr lang="en-US" sz="1000" b="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Figure 40: Copper Sulphate Margin Analysis, 2016-2030F</a:t>
            </a:r>
          </a:p>
        </p:txBody>
      </p:sp>
      <p:sp>
        <p:nvSpPr>
          <p:cNvPr id="5" name="TextBox 4">
            <a:extLst>
              <a:ext uri="{FF2B5EF4-FFF2-40B4-BE49-F238E27FC236}">
                <a16:creationId xmlns:a16="http://schemas.microsoft.com/office/drawing/2014/main" id="{4A5918F9-6C80-4680-BC8E-EDD2C8CED321}"/>
              </a:ext>
            </a:extLst>
          </p:cNvPr>
          <p:cNvSpPr txBox="1"/>
          <p:nvPr/>
        </p:nvSpPr>
        <p:spPr>
          <a:xfrm>
            <a:off x="5477946" y="4673528"/>
            <a:ext cx="3498574" cy="215444"/>
          </a:xfrm>
          <a:prstGeom prst="rect">
            <a:avLst/>
          </a:prstGeom>
          <a:noFill/>
        </p:spPr>
        <p:txBody>
          <a:bodyPr wrap="square" rtlCol="0">
            <a:spAutoFit/>
          </a:bodyPr>
          <a:lstStyle/>
          <a:p>
            <a:pPr algn="r"/>
            <a:r>
              <a:rPr lang="en-IN" sz="800" i="1" dirty="0">
                <a:solidFill>
                  <a:srgbClr val="7F7F7F"/>
                </a:solidFill>
                <a:latin typeface="Verdana" panose="020B0604030504040204" pitchFamily="34" charset="0"/>
                <a:ea typeface="Verdana" panose="020B0604030504040204" pitchFamily="34" charset="0"/>
                <a:cs typeface="Verdana" panose="020B0604030504040204" pitchFamily="34" charset="0"/>
              </a:rPr>
              <a:t>Source: </a:t>
            </a:r>
            <a:r>
              <a:rPr lang="en-IN" sz="800" i="1" dirty="0" err="1">
                <a:solidFill>
                  <a:srgbClr val="7F7F7F"/>
                </a:solidFill>
                <a:latin typeface="Verdana" panose="020B0604030504040204" pitchFamily="34" charset="0"/>
                <a:ea typeface="Verdana" panose="020B0604030504040204" pitchFamily="34" charset="0"/>
                <a:cs typeface="Verdana" panose="020B0604030504040204" pitchFamily="34" charset="0"/>
              </a:rPr>
              <a:t>ChemAnalyst</a:t>
            </a:r>
            <a:r>
              <a:rPr lang="en-IN" sz="800" i="1" dirty="0">
                <a:solidFill>
                  <a:srgbClr val="7F7F7F"/>
                </a:solidFill>
                <a:latin typeface="Verdana" panose="020B0604030504040204" pitchFamily="34" charset="0"/>
                <a:ea typeface="Verdana" panose="020B0604030504040204" pitchFamily="34" charset="0"/>
                <a:cs typeface="Verdana" panose="020B0604030504040204" pitchFamily="34" charset="0"/>
              </a:rPr>
              <a:t> </a:t>
            </a:r>
            <a:endParaRPr lang="en-US" sz="800" i="1" dirty="0">
              <a:solidFill>
                <a:srgbClr val="7F7F7F"/>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7" name="Chart 6">
            <a:extLst>
              <a:ext uri="{FF2B5EF4-FFF2-40B4-BE49-F238E27FC236}">
                <a16:creationId xmlns:a16="http://schemas.microsoft.com/office/drawing/2014/main" id="{39FA05FF-F264-42D7-B6C2-D5AC1AD14920}"/>
              </a:ext>
            </a:extLst>
          </p:cNvPr>
          <p:cNvGraphicFramePr/>
          <p:nvPr>
            <p:extLst>
              <p:ext uri="{D42A27DB-BD31-4B8C-83A1-F6EECF244321}">
                <p14:modId xmlns:p14="http://schemas.microsoft.com/office/powerpoint/2010/main" val="1108026780"/>
              </p:ext>
            </p:extLst>
          </p:nvPr>
        </p:nvGraphicFramePr>
        <p:xfrm>
          <a:off x="79517" y="950865"/>
          <a:ext cx="4863547" cy="4474204"/>
        </p:xfrm>
        <a:graphic>
          <a:graphicData uri="http://schemas.openxmlformats.org/drawingml/2006/chart">
            <c:chart xmlns:c="http://schemas.openxmlformats.org/drawingml/2006/chart" xmlns:r="http://schemas.openxmlformats.org/officeDocument/2006/relationships" r:id="rId3"/>
          </a:graphicData>
        </a:graphic>
      </p:graphicFrame>
      <p:cxnSp>
        <p:nvCxnSpPr>
          <p:cNvPr id="10" name="Straight Arrow Connector 9">
            <a:extLst>
              <a:ext uri="{FF2B5EF4-FFF2-40B4-BE49-F238E27FC236}">
                <a16:creationId xmlns:a16="http://schemas.microsoft.com/office/drawing/2014/main" id="{077F066C-D475-4B14-A434-BD325F2508F7}"/>
              </a:ext>
            </a:extLst>
          </p:cNvPr>
          <p:cNvCxnSpPr>
            <a:cxnSpLocks/>
          </p:cNvCxnSpPr>
          <p:nvPr/>
        </p:nvCxnSpPr>
        <p:spPr>
          <a:xfrm>
            <a:off x="3385932" y="1630017"/>
            <a:ext cx="1027044" cy="0"/>
          </a:xfrm>
          <a:prstGeom prst="straightConnector1">
            <a:avLst/>
          </a:prstGeom>
          <a:ln w="76200">
            <a:tailEnd type="triangle"/>
          </a:ln>
        </p:spPr>
        <p:style>
          <a:lnRef idx="1">
            <a:schemeClr val="dk1"/>
          </a:lnRef>
          <a:fillRef idx="0">
            <a:schemeClr val="dk1"/>
          </a:fillRef>
          <a:effectRef idx="0">
            <a:schemeClr val="dk1"/>
          </a:effectRef>
          <a:fontRef idx="minor">
            <a:schemeClr val="tx1"/>
          </a:fontRef>
        </p:style>
      </p:cxnSp>
      <p:cxnSp>
        <p:nvCxnSpPr>
          <p:cNvPr id="17" name="Straight Arrow Connector 16">
            <a:extLst>
              <a:ext uri="{FF2B5EF4-FFF2-40B4-BE49-F238E27FC236}">
                <a16:creationId xmlns:a16="http://schemas.microsoft.com/office/drawing/2014/main" id="{D0F7C7B5-96FE-4596-8EC3-CC434E212CFA}"/>
              </a:ext>
            </a:extLst>
          </p:cNvPr>
          <p:cNvCxnSpPr>
            <a:cxnSpLocks/>
          </p:cNvCxnSpPr>
          <p:nvPr/>
        </p:nvCxnSpPr>
        <p:spPr>
          <a:xfrm>
            <a:off x="3392558" y="4121426"/>
            <a:ext cx="1000540" cy="0"/>
          </a:xfrm>
          <a:prstGeom prst="straightConnector1">
            <a:avLst/>
          </a:prstGeom>
          <a:ln w="76200">
            <a:tailEnd type="triangle"/>
          </a:ln>
        </p:spPr>
        <p:style>
          <a:lnRef idx="1">
            <a:schemeClr val="dk1"/>
          </a:lnRef>
          <a:fillRef idx="0">
            <a:schemeClr val="dk1"/>
          </a:fillRef>
          <a:effectRef idx="0">
            <a:schemeClr val="dk1"/>
          </a:effectRef>
          <a:fontRef idx="minor">
            <a:schemeClr val="tx1"/>
          </a:fontRef>
        </p:style>
      </p:cxnSp>
      <p:cxnSp>
        <p:nvCxnSpPr>
          <p:cNvPr id="18" name="Straight Arrow Connector 17">
            <a:extLst>
              <a:ext uri="{FF2B5EF4-FFF2-40B4-BE49-F238E27FC236}">
                <a16:creationId xmlns:a16="http://schemas.microsoft.com/office/drawing/2014/main" id="{25A3C808-1EA4-47CA-9251-1392EE6ADC91}"/>
              </a:ext>
            </a:extLst>
          </p:cNvPr>
          <p:cNvCxnSpPr>
            <a:cxnSpLocks/>
          </p:cNvCxnSpPr>
          <p:nvPr/>
        </p:nvCxnSpPr>
        <p:spPr>
          <a:xfrm>
            <a:off x="3412436" y="2519861"/>
            <a:ext cx="1000540" cy="0"/>
          </a:xfrm>
          <a:prstGeom prst="straightConnector1">
            <a:avLst/>
          </a:prstGeom>
          <a:ln w="76200">
            <a:tailEnd type="triangle"/>
          </a:ln>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89526A9A-B9FC-4A99-8946-D26110905056}"/>
              </a:ext>
            </a:extLst>
          </p:cNvPr>
          <p:cNvCxnSpPr>
            <a:cxnSpLocks/>
          </p:cNvCxnSpPr>
          <p:nvPr/>
        </p:nvCxnSpPr>
        <p:spPr>
          <a:xfrm>
            <a:off x="543341" y="1260110"/>
            <a:ext cx="0" cy="128016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53C27E4-6154-4216-B121-171061D03030}"/>
              </a:ext>
            </a:extLst>
          </p:cNvPr>
          <p:cNvCxnSpPr>
            <a:cxnSpLocks/>
          </p:cNvCxnSpPr>
          <p:nvPr/>
        </p:nvCxnSpPr>
        <p:spPr>
          <a:xfrm>
            <a:off x="556594" y="3138136"/>
            <a:ext cx="0" cy="1463040"/>
          </a:xfrm>
          <a:prstGeom prst="line">
            <a:avLst/>
          </a:prstGeom>
        </p:spPr>
        <p:style>
          <a:lnRef idx="1">
            <a:schemeClr val="accent1"/>
          </a:lnRef>
          <a:fillRef idx="0">
            <a:schemeClr val="accent1"/>
          </a:fillRef>
          <a:effectRef idx="0">
            <a:schemeClr val="accent1"/>
          </a:effectRef>
          <a:fontRef idx="minor">
            <a:schemeClr val="tx1"/>
          </a:fontRef>
        </p:style>
      </p:cxnSp>
      <p:sp>
        <p:nvSpPr>
          <p:cNvPr id="22" name="Rectangle: Diagonal Corners Rounded 21">
            <a:extLst>
              <a:ext uri="{FF2B5EF4-FFF2-40B4-BE49-F238E27FC236}">
                <a16:creationId xmlns:a16="http://schemas.microsoft.com/office/drawing/2014/main" id="{7E594ACE-B7AF-4A6D-856F-EECD2672776E}"/>
              </a:ext>
            </a:extLst>
          </p:cNvPr>
          <p:cNvSpPr/>
          <p:nvPr/>
        </p:nvSpPr>
        <p:spPr>
          <a:xfrm>
            <a:off x="4452731" y="992809"/>
            <a:ext cx="4558747" cy="968514"/>
          </a:xfrm>
          <a:prstGeom prst="round2Diag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457200" rtl="0" eaLnBrk="1" fontAlgn="auto" latinLnBrk="0" hangingPunct="1">
              <a:spcBef>
                <a:spcPts val="0"/>
              </a:spcBef>
              <a:spcAft>
                <a:spcPts val="0"/>
              </a:spcAft>
              <a:buClrTx/>
              <a:buSzTx/>
              <a:tabLst/>
              <a:defRPr/>
            </a:pPr>
            <a:r>
              <a:rPr lang="en-US" sz="1000" dirty="0">
                <a:solidFill>
                  <a:schemeClr val="tx1"/>
                </a:solidFill>
                <a:latin typeface="Verdana" panose="020B0604030504040204" pitchFamily="34" charset="0"/>
                <a:ea typeface="Verdana" panose="020B0604030504040204" pitchFamily="34" charset="0"/>
                <a:cs typeface="Verdana" panose="020B0604030504040204" pitchFamily="34" charset="0"/>
              </a:rPr>
              <a:t>The profit margins generally range from 10-15% of the actual selling price of the copper sulphate. The profit margin varies with the amount of order quantity which generally increases with the increase in the quantity ordered. The margin varies depending on the type of purity level and the specification of copper sulphate.</a:t>
            </a:r>
            <a:endPar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23" name="Rectangle: Diagonal Corners Rounded 22">
            <a:extLst>
              <a:ext uri="{FF2B5EF4-FFF2-40B4-BE49-F238E27FC236}">
                <a16:creationId xmlns:a16="http://schemas.microsoft.com/office/drawing/2014/main" id="{992BE010-2DD1-498D-B50E-BFED6FEFD800}"/>
              </a:ext>
            </a:extLst>
          </p:cNvPr>
          <p:cNvSpPr/>
          <p:nvPr/>
        </p:nvSpPr>
        <p:spPr>
          <a:xfrm>
            <a:off x="4452730" y="2092259"/>
            <a:ext cx="4558747" cy="1495839"/>
          </a:xfrm>
          <a:prstGeom prst="round2Diag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457200" rtl="0" eaLnBrk="1" fontAlgn="auto" latinLnBrk="0" hangingPunct="1">
              <a:spcBef>
                <a:spcPts val="0"/>
              </a:spcBef>
              <a:spcAft>
                <a:spcPts val="0"/>
              </a:spcAft>
              <a:buClrTx/>
              <a:buSzTx/>
              <a:tabLst/>
              <a:defRPr/>
            </a:pPr>
            <a:r>
              <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rPr>
              <a:t>The variable cost generally varies from 15-20%. Distributors play an important role in copper sulphate value chain due to presence of large number of unorganized copper sulphate players in the industry. The variable cost generally works on the principle of economies of scale. With higher operating rate, cost associated with it reduces per unit and thus the likelihoods to earn more margin increases. This</a:t>
            </a:r>
            <a:r>
              <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cost generally includes the machinery operability cost, electricity, etc.</a:t>
            </a:r>
            <a:endParaRPr kumimoji="0" lang="en-US"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p>
            <a:pPr marR="0" lvl="0" algn="just" defTabSz="457200" rtl="0" eaLnBrk="1" fontAlgn="auto" latinLnBrk="0" hangingPunct="1">
              <a:spcBef>
                <a:spcPts val="0"/>
              </a:spcBef>
              <a:spcAft>
                <a:spcPts val="0"/>
              </a:spcAft>
              <a:buClrTx/>
              <a:buSzTx/>
              <a:tabLst/>
              <a:defRPr/>
            </a:pPr>
            <a:endPar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24" name="Rectangle: Diagonal Corners Rounded 23">
            <a:extLst>
              <a:ext uri="{FF2B5EF4-FFF2-40B4-BE49-F238E27FC236}">
                <a16:creationId xmlns:a16="http://schemas.microsoft.com/office/drawing/2014/main" id="{B12A696A-BEE9-4F6B-B652-83D7017ABB5F}"/>
              </a:ext>
            </a:extLst>
          </p:cNvPr>
          <p:cNvSpPr/>
          <p:nvPr/>
        </p:nvSpPr>
        <p:spPr>
          <a:xfrm>
            <a:off x="4448944" y="3720701"/>
            <a:ext cx="4562533" cy="845169"/>
          </a:xfrm>
          <a:prstGeom prst="round2Diag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just" defTabSz="457200" rtl="0" eaLnBrk="1" fontAlgn="auto" latinLnBrk="0" hangingPunct="1">
              <a:spcBef>
                <a:spcPts val="0"/>
              </a:spcBef>
              <a:spcAft>
                <a:spcPts val="0"/>
              </a:spcAft>
              <a:buClrTx/>
              <a:buSzTx/>
              <a:tabLst/>
              <a:defRPr/>
            </a:pPr>
            <a:r>
              <a:rPr lang="en-US" sz="1000" dirty="0">
                <a:solidFill>
                  <a:schemeClr val="tx1"/>
                </a:solidFill>
                <a:latin typeface="Verdana" panose="020B0604030504040204" pitchFamily="34" charset="0"/>
                <a:ea typeface="Verdana" panose="020B0604030504040204" pitchFamily="34" charset="0"/>
                <a:cs typeface="Verdana" panose="020B0604030504040204" pitchFamily="34" charset="0"/>
              </a:rPr>
              <a:t>The raw material costs may vary from grade to grade and complexity of system insulation. The raw material cost generally lies  around 65-70%. This cost includes the cost of raw material, labelling, manpower, etc.  </a:t>
            </a:r>
            <a:endPar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26" name="TextBox 25">
            <a:extLst>
              <a:ext uri="{FF2B5EF4-FFF2-40B4-BE49-F238E27FC236}">
                <a16:creationId xmlns:a16="http://schemas.microsoft.com/office/drawing/2014/main" id="{C2CBC967-F4E4-47F4-B500-EC7AB3FA9EE9}"/>
              </a:ext>
            </a:extLst>
          </p:cNvPr>
          <p:cNvSpPr txBox="1"/>
          <p:nvPr/>
        </p:nvSpPr>
        <p:spPr>
          <a:xfrm>
            <a:off x="3528394" y="1260110"/>
            <a:ext cx="626163" cy="246221"/>
          </a:xfrm>
          <a:prstGeom prst="rect">
            <a:avLst/>
          </a:prstGeom>
          <a:noFill/>
          <a:ln>
            <a:solidFill>
              <a:schemeClr val="tx1"/>
            </a:solidFill>
            <a:prstDash val="sysDot"/>
          </a:ln>
        </p:spPr>
        <p:txBody>
          <a:bodyPr wrap="square" rtlCol="0">
            <a:spAutoFit/>
          </a:bodyPr>
          <a:lstStyle/>
          <a:p>
            <a:pPr algn="ctr"/>
            <a:r>
              <a:rPr lang="en-US" sz="1000" dirty="0"/>
              <a:t>10-15%</a:t>
            </a:r>
          </a:p>
        </p:txBody>
      </p:sp>
      <p:sp>
        <p:nvSpPr>
          <p:cNvPr id="28" name="TextBox 27">
            <a:extLst>
              <a:ext uri="{FF2B5EF4-FFF2-40B4-BE49-F238E27FC236}">
                <a16:creationId xmlns:a16="http://schemas.microsoft.com/office/drawing/2014/main" id="{87D623C9-8BBE-47F2-9196-99B6E45CB9E4}"/>
              </a:ext>
            </a:extLst>
          </p:cNvPr>
          <p:cNvSpPr txBox="1"/>
          <p:nvPr/>
        </p:nvSpPr>
        <p:spPr>
          <a:xfrm>
            <a:off x="3485327" y="3769453"/>
            <a:ext cx="669230" cy="246221"/>
          </a:xfrm>
          <a:prstGeom prst="rect">
            <a:avLst/>
          </a:prstGeom>
          <a:noFill/>
          <a:ln>
            <a:solidFill>
              <a:schemeClr val="tx1"/>
            </a:solidFill>
            <a:prstDash val="sysDot"/>
          </a:ln>
        </p:spPr>
        <p:txBody>
          <a:bodyPr wrap="square" rtlCol="0">
            <a:spAutoFit/>
          </a:bodyPr>
          <a:lstStyle/>
          <a:p>
            <a:pPr algn="ctr"/>
            <a:r>
              <a:rPr lang="en-US" sz="1000" dirty="0"/>
              <a:t>65-70%</a:t>
            </a:r>
          </a:p>
        </p:txBody>
      </p:sp>
      <p:sp>
        <p:nvSpPr>
          <p:cNvPr id="30" name="TextBox 29">
            <a:extLst>
              <a:ext uri="{FF2B5EF4-FFF2-40B4-BE49-F238E27FC236}">
                <a16:creationId xmlns:a16="http://schemas.microsoft.com/office/drawing/2014/main" id="{9DCE1E19-2970-4198-AE3D-1297457BF5B3}"/>
              </a:ext>
            </a:extLst>
          </p:cNvPr>
          <p:cNvSpPr txBox="1"/>
          <p:nvPr/>
        </p:nvSpPr>
        <p:spPr>
          <a:xfrm>
            <a:off x="3528394" y="2116757"/>
            <a:ext cx="626163" cy="246221"/>
          </a:xfrm>
          <a:prstGeom prst="rect">
            <a:avLst/>
          </a:prstGeom>
          <a:noFill/>
          <a:ln>
            <a:solidFill>
              <a:schemeClr val="tx1"/>
            </a:solidFill>
            <a:prstDash val="sysDot"/>
          </a:ln>
        </p:spPr>
        <p:txBody>
          <a:bodyPr wrap="square" rtlCol="0">
            <a:spAutoFit/>
          </a:bodyPr>
          <a:lstStyle/>
          <a:p>
            <a:pPr algn="ctr"/>
            <a:r>
              <a:rPr lang="en-US" sz="1000" dirty="0"/>
              <a:t>15-20%</a:t>
            </a:r>
          </a:p>
        </p:txBody>
      </p:sp>
      <p:sp>
        <p:nvSpPr>
          <p:cNvPr id="27" name="Text Placeholder 2">
            <a:extLst>
              <a:ext uri="{FF2B5EF4-FFF2-40B4-BE49-F238E27FC236}">
                <a16:creationId xmlns:a16="http://schemas.microsoft.com/office/drawing/2014/main" id="{06D31BCF-8E47-4C84-9B33-A73F7A3092E8}"/>
              </a:ext>
            </a:extLst>
          </p:cNvPr>
          <p:cNvSpPr txBox="1">
            <a:spLocks/>
          </p:cNvSpPr>
          <p:nvPr/>
        </p:nvSpPr>
        <p:spPr>
          <a:xfrm>
            <a:off x="164830" y="232384"/>
            <a:ext cx="7863840" cy="457200"/>
          </a:xfrm>
          <a:prstGeom prst="rect">
            <a:avLst/>
          </a:prstGeom>
          <a:noFill/>
          <a:ln>
            <a:noFill/>
          </a:ln>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lang="en-US" sz="1600" b="1" kern="1200" spc="0" dirty="0">
                <a:solidFill>
                  <a:schemeClr val="bg2">
                    <a:lumMod val="25000"/>
                  </a:schemeClr>
                </a:solidFill>
                <a:latin typeface="Montserrat" panose="02000505000000020004"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solidFill>
                  <a:schemeClr val="tx1"/>
                </a:solidFill>
                <a:latin typeface="Arial" panose="020B0604020202020204" pitchFamily="34" charset="0"/>
                <a:ea typeface="Verdana" panose="020B0604030504040204" pitchFamily="34" charset="0"/>
              </a:rPr>
              <a:t>Copper Sulphate Margin Analysis, 2016-2030F </a:t>
            </a:r>
          </a:p>
        </p:txBody>
      </p:sp>
    </p:spTree>
    <p:extLst>
      <p:ext uri="{BB962C8B-B14F-4D97-AF65-F5344CB8AC3E}">
        <p14:creationId xmlns:p14="http://schemas.microsoft.com/office/powerpoint/2010/main" val="70178776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03DA7C-5A2C-4BE7-A3E0-D6B5A88DBBBF}"/>
              </a:ext>
            </a:extLst>
          </p:cNvPr>
          <p:cNvSpPr>
            <a:spLocks noGrp="1"/>
          </p:cNvSpPr>
          <p:nvPr>
            <p:ph type="ctrTitle" idx="4294967295"/>
          </p:nvPr>
        </p:nvSpPr>
        <p:spPr>
          <a:xfrm>
            <a:off x="173936" y="305546"/>
            <a:ext cx="8187669" cy="296684"/>
          </a:xfrm>
          <a:prstGeom prst="rect">
            <a:avLst/>
          </a:prstGeom>
          <a:noFill/>
          <a:ln>
            <a:noFill/>
          </a:ln>
        </p:spPr>
        <p:txBody>
          <a:bodyPr vert="horz" wrap="square" lIns="91440" tIns="45720" rIns="91440" bIns="45720" rtlCol="0" anchor="ctr">
            <a:spAutoFit/>
          </a:bodyPr>
          <a:lstStyle/>
          <a:p>
            <a:pPr defTabSz="457200">
              <a:lnSpc>
                <a:spcPts val="1700"/>
              </a:lnSpc>
            </a:pPr>
            <a:r>
              <a:rPr lang="en-IN" sz="1400" b="1" dirty="0">
                <a:solidFill>
                  <a:prstClr val="black"/>
                </a:solidFill>
                <a:latin typeface="Arial" panose="020B0604020202020204" pitchFamily="34" charset="0"/>
                <a:cs typeface="Arial" panose="020B0604020202020204" pitchFamily="34" charset="0"/>
              </a:rPr>
              <a:t>Product Benchmarking, By Supplier</a:t>
            </a:r>
          </a:p>
        </p:txBody>
      </p:sp>
      <p:graphicFrame>
        <p:nvGraphicFramePr>
          <p:cNvPr id="4" name="Table 4">
            <a:extLst>
              <a:ext uri="{FF2B5EF4-FFF2-40B4-BE49-F238E27FC236}">
                <a16:creationId xmlns:a16="http://schemas.microsoft.com/office/drawing/2014/main" id="{DFA6F027-D2A6-4602-B41A-15E3F6683DBF}"/>
              </a:ext>
            </a:extLst>
          </p:cNvPr>
          <p:cNvGraphicFramePr>
            <a:graphicFrameLocks noGrp="1"/>
          </p:cNvGraphicFramePr>
          <p:nvPr/>
        </p:nvGraphicFramePr>
        <p:xfrm>
          <a:off x="266700" y="954157"/>
          <a:ext cx="8458200" cy="5314120"/>
        </p:xfrm>
        <a:graphic>
          <a:graphicData uri="http://schemas.openxmlformats.org/drawingml/2006/table">
            <a:tbl>
              <a:tblPr firstRow="1" bandRow="1">
                <a:tableStyleId>{74C1A8A3-306A-4EB7-A6B1-4F7E0EB9C5D6}</a:tableStyleId>
              </a:tblPr>
              <a:tblGrid>
                <a:gridCol w="2819399">
                  <a:extLst>
                    <a:ext uri="{9D8B030D-6E8A-4147-A177-3AD203B41FA5}">
                      <a16:colId xmlns:a16="http://schemas.microsoft.com/office/drawing/2014/main" val="1778903140"/>
                    </a:ext>
                  </a:extLst>
                </a:gridCol>
                <a:gridCol w="3033821">
                  <a:extLst>
                    <a:ext uri="{9D8B030D-6E8A-4147-A177-3AD203B41FA5}">
                      <a16:colId xmlns:a16="http://schemas.microsoft.com/office/drawing/2014/main" val="214587424"/>
                    </a:ext>
                  </a:extLst>
                </a:gridCol>
                <a:gridCol w="2604980">
                  <a:extLst>
                    <a:ext uri="{9D8B030D-6E8A-4147-A177-3AD203B41FA5}">
                      <a16:colId xmlns:a16="http://schemas.microsoft.com/office/drawing/2014/main" val="791290639"/>
                    </a:ext>
                  </a:extLst>
                </a:gridCol>
              </a:tblGrid>
              <a:tr h="997709">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Company Nam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Industrial Grad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Reagent Grad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91369632"/>
                  </a:ext>
                </a:extLst>
              </a:tr>
              <a:tr h="1092729">
                <a:tc>
                  <a:txBody>
                    <a:bodyPr/>
                    <a:lstStyle/>
                    <a:p>
                      <a:pPr algn="ctr"/>
                      <a:r>
                        <a:rPr kumimoji="0" lang="en-IN" sz="1000" b="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Pt. Lam Seng Hang Indonesia</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00" dirty="0">
                          <a:latin typeface="Verdana" panose="020B0604030504040204" pitchFamily="34" charset="0"/>
                          <a:ea typeface="Verdana" panose="020B0604030504040204" pitchFamily="34" charset="0"/>
                          <a:cs typeface="Verdana" panose="020B0604030504040204" pitchFamily="34" charset="0"/>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7362644"/>
                  </a:ext>
                </a:extLst>
              </a:tr>
              <a:tr h="658145">
                <a:tc>
                  <a:txBody>
                    <a:bodyPr/>
                    <a:lstStyle/>
                    <a:p>
                      <a:pPr algn="ctr"/>
                      <a:r>
                        <a:rPr kumimoji="0" lang="en-IN" sz="1000" b="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Chemtronic</a:t>
                      </a:r>
                      <a:r>
                        <a:rPr kumimoji="0" lang="en-IN" sz="1000" b="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Technology (Thailand) Co Ltd</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08193126"/>
                  </a:ext>
                </a:extLst>
              </a:tr>
              <a:tr h="855179">
                <a:tc>
                  <a:txBody>
                    <a:bodyPr/>
                    <a:lstStyle/>
                    <a:p>
                      <a:pPr algn="ctr"/>
                      <a:r>
                        <a:rPr kumimoji="0" lang="en-IN" sz="1000" b="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Buildmore</a:t>
                      </a:r>
                      <a:r>
                        <a:rPr kumimoji="0" lang="en-IN" sz="1000" b="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Enterprise Co., Ltd, </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26346400"/>
                  </a:ext>
                </a:extLst>
              </a:tr>
              <a:tr h="855179">
                <a:tc>
                  <a:txBody>
                    <a:bodyPr/>
                    <a:lstStyle/>
                    <a:p>
                      <a:pPr algn="ctr"/>
                      <a:r>
                        <a:rPr kumimoji="0" lang="en-IN" sz="1000" b="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Fajar</a:t>
                      </a:r>
                      <a:r>
                        <a:rPr kumimoji="0" lang="en-IN" sz="1000" b="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IN" sz="1000" b="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Zippindo</a:t>
                      </a:r>
                      <a:r>
                        <a:rPr kumimoji="0" lang="en-IN" sz="1000" b="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Pt</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99410211"/>
                  </a:ext>
                </a:extLst>
              </a:tr>
              <a:tr h="855179">
                <a:tc>
                  <a:txBody>
                    <a:bodyPr/>
                    <a:lstStyle/>
                    <a:p>
                      <a:pPr algn="ctr"/>
                      <a:r>
                        <a:rPr lang="fr-FR" sz="1000" b="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fr-FR" sz="1000" b="0" dirty="0" err="1">
                          <a:solidFill>
                            <a:prstClr val="black"/>
                          </a:solidFill>
                          <a:latin typeface="Verdana" panose="020B0604030504040204" pitchFamily="34" charset="0"/>
                          <a:ea typeface="Verdana" panose="020B0604030504040204" pitchFamily="34" charset="0"/>
                          <a:cs typeface="Verdana" panose="020B0604030504040204" pitchFamily="34" charset="0"/>
                        </a:rPr>
                        <a:t>Resilient</a:t>
                      </a:r>
                      <a:r>
                        <a:rPr lang="fr-FR" sz="1000" b="0" dirty="0">
                          <a:solidFill>
                            <a:prstClr val="black"/>
                          </a:solidFill>
                          <a:latin typeface="Verdana" panose="020B0604030504040204" pitchFamily="34" charset="0"/>
                          <a:ea typeface="Verdana" panose="020B0604030504040204" pitchFamily="34" charset="0"/>
                          <a:cs typeface="Verdana" panose="020B0604030504040204" pitchFamily="34" charset="0"/>
                        </a:rPr>
                        <a:t> Mix </a:t>
                      </a:r>
                      <a:r>
                        <a:rPr lang="fr-FR" sz="1000" b="0" dirty="0" err="1">
                          <a:solidFill>
                            <a:prstClr val="black"/>
                          </a:solidFill>
                          <a:latin typeface="Verdana" panose="020B0604030504040204" pitchFamily="34" charset="0"/>
                          <a:ea typeface="Verdana" panose="020B0604030504040204" pitchFamily="34" charset="0"/>
                          <a:cs typeface="Verdana" panose="020B0604030504040204" pitchFamily="34" charset="0"/>
                        </a:rPr>
                        <a:t>Sdn</a:t>
                      </a:r>
                      <a:r>
                        <a:rPr lang="fr-FR" sz="1000" b="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fr-FR" sz="1000" b="0" dirty="0" err="1">
                          <a:solidFill>
                            <a:prstClr val="black"/>
                          </a:solidFill>
                          <a:latin typeface="Verdana" panose="020B0604030504040204" pitchFamily="34" charset="0"/>
                          <a:ea typeface="Verdana" panose="020B0604030504040204" pitchFamily="34" charset="0"/>
                          <a:cs typeface="Verdana" panose="020B0604030504040204" pitchFamily="34" charset="0"/>
                        </a:rPr>
                        <a:t>Bhd</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39956742"/>
                  </a:ext>
                </a:extLst>
              </a:tr>
            </a:tbl>
          </a:graphicData>
        </a:graphic>
      </p:graphicFrame>
    </p:spTree>
    <p:extLst>
      <p:ext uri="{BB962C8B-B14F-4D97-AF65-F5344CB8AC3E}">
        <p14:creationId xmlns:p14="http://schemas.microsoft.com/office/powerpoint/2010/main" val="191377591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ADB759-53DB-4812-B923-404C5C5E32BB}"/>
              </a:ext>
            </a:extLst>
          </p:cNvPr>
          <p:cNvSpPr>
            <a:spLocks noGrp="1"/>
          </p:cNvSpPr>
          <p:nvPr>
            <p:ph type="title" idx="4294967295"/>
          </p:nvPr>
        </p:nvSpPr>
        <p:spPr>
          <a:xfrm>
            <a:off x="185533" y="326518"/>
            <a:ext cx="8091281" cy="296684"/>
          </a:xfrm>
          <a:noFill/>
          <a:ln>
            <a:noFill/>
          </a:ln>
        </p:spPr>
        <p:txBody>
          <a:bodyPr vert="horz" wrap="square" lIns="91440" tIns="45720" rIns="91440" bIns="45720" rtlCol="0" anchor="ctr">
            <a:spAutoFit/>
          </a:bodyPr>
          <a:lstStyle/>
          <a:p>
            <a:pPr defTabSz="457200">
              <a:lnSpc>
                <a:spcPts val="1700"/>
              </a:lnSpc>
            </a:pPr>
            <a:r>
              <a:rPr lang="en-IN" sz="1400" b="1" dirty="0">
                <a:solidFill>
                  <a:prstClr val="black"/>
                </a:solidFill>
                <a:latin typeface="Arial" panose="020B0604020202020204" pitchFamily="34" charset="0"/>
                <a:cs typeface="Arial" panose="020B0604020202020204" pitchFamily="34" charset="0"/>
              </a:rPr>
              <a:t>Product Benchmarking, By Grade </a:t>
            </a:r>
          </a:p>
        </p:txBody>
      </p:sp>
      <p:graphicFrame>
        <p:nvGraphicFramePr>
          <p:cNvPr id="4" name="Table 4">
            <a:extLst>
              <a:ext uri="{FF2B5EF4-FFF2-40B4-BE49-F238E27FC236}">
                <a16:creationId xmlns:a16="http://schemas.microsoft.com/office/drawing/2014/main" id="{166D4889-5787-4539-994B-E93AA238390F}"/>
              </a:ext>
            </a:extLst>
          </p:cNvPr>
          <p:cNvGraphicFramePr>
            <a:graphicFrameLocks noGrp="1"/>
          </p:cNvGraphicFramePr>
          <p:nvPr>
            <p:ph idx="4294967295"/>
          </p:nvPr>
        </p:nvGraphicFramePr>
        <p:xfrm>
          <a:off x="291549" y="954156"/>
          <a:ext cx="8454886" cy="5115339"/>
        </p:xfrm>
        <a:graphic>
          <a:graphicData uri="http://schemas.openxmlformats.org/drawingml/2006/table">
            <a:tbl>
              <a:tblPr firstRow="1" bandRow="1">
                <a:tableStyleId>{BDBED569-4797-4DF1-A0F4-6AAB3CD982D8}</a:tableStyleId>
              </a:tblPr>
              <a:tblGrid>
                <a:gridCol w="1613371">
                  <a:extLst>
                    <a:ext uri="{9D8B030D-6E8A-4147-A177-3AD203B41FA5}">
                      <a16:colId xmlns:a16="http://schemas.microsoft.com/office/drawing/2014/main" val="975580350"/>
                    </a:ext>
                  </a:extLst>
                </a:gridCol>
                <a:gridCol w="1204923">
                  <a:extLst>
                    <a:ext uri="{9D8B030D-6E8A-4147-A177-3AD203B41FA5}">
                      <a16:colId xmlns:a16="http://schemas.microsoft.com/office/drawing/2014/main" val="2072704165"/>
                    </a:ext>
                  </a:extLst>
                </a:gridCol>
                <a:gridCol w="1409148">
                  <a:extLst>
                    <a:ext uri="{9D8B030D-6E8A-4147-A177-3AD203B41FA5}">
                      <a16:colId xmlns:a16="http://schemas.microsoft.com/office/drawing/2014/main" val="2864529620"/>
                    </a:ext>
                  </a:extLst>
                </a:gridCol>
                <a:gridCol w="1409148">
                  <a:extLst>
                    <a:ext uri="{9D8B030D-6E8A-4147-A177-3AD203B41FA5}">
                      <a16:colId xmlns:a16="http://schemas.microsoft.com/office/drawing/2014/main" val="1107843597"/>
                    </a:ext>
                  </a:extLst>
                </a:gridCol>
                <a:gridCol w="1409148">
                  <a:extLst>
                    <a:ext uri="{9D8B030D-6E8A-4147-A177-3AD203B41FA5}">
                      <a16:colId xmlns:a16="http://schemas.microsoft.com/office/drawing/2014/main" val="2984901705"/>
                    </a:ext>
                  </a:extLst>
                </a:gridCol>
                <a:gridCol w="1409148">
                  <a:extLst>
                    <a:ext uri="{9D8B030D-6E8A-4147-A177-3AD203B41FA5}">
                      <a16:colId xmlns:a16="http://schemas.microsoft.com/office/drawing/2014/main" val="3823478578"/>
                    </a:ext>
                  </a:extLst>
                </a:gridCol>
              </a:tblGrid>
              <a:tr h="1085586">
                <a:tc>
                  <a:txBody>
                    <a:bodyPr/>
                    <a:lstStyle/>
                    <a:p>
                      <a:pPr algn="ctr"/>
                      <a:r>
                        <a:rPr lang="en-IN" sz="1000" b="1" dirty="0">
                          <a:solidFill>
                            <a:schemeClr val="bg1"/>
                          </a:solidFill>
                          <a:latin typeface="Verdana" panose="020B0604030504040204" pitchFamily="34" charset="0"/>
                          <a:ea typeface="Verdana" panose="020B0604030504040204" pitchFamily="34" charset="0"/>
                          <a:cs typeface="Verdana" panose="020B0604030504040204" pitchFamily="34" charset="0"/>
                        </a:rPr>
                        <a:t>Grade Name</a:t>
                      </a:r>
                    </a:p>
                  </a:txBody>
                  <a:tcPr anchor="ctr">
                    <a:solidFill>
                      <a:srgbClr val="0070C0"/>
                    </a:solidFill>
                  </a:tcPr>
                </a:tc>
                <a:tc>
                  <a:txBody>
                    <a:bodyPr/>
                    <a:lstStyle/>
                    <a:p>
                      <a:pPr algn="ctr"/>
                      <a:r>
                        <a:rPr kumimoji="0" lang="en-IN" sz="1000" b="1"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Pt. Lam Seng Hang Indonesia</a:t>
                      </a:r>
                      <a:endParaRPr lang="en-IN" sz="10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solidFill>
                      <a:srgbClr val="0070C0"/>
                    </a:solidFill>
                  </a:tcPr>
                </a:tc>
                <a:tc>
                  <a:txBody>
                    <a:bodyPr/>
                    <a:lstStyle/>
                    <a:p>
                      <a:pPr algn="ctr"/>
                      <a:r>
                        <a:rPr kumimoji="0" lang="en-IN" sz="1000" b="1" u="none" strike="noStrike" kern="1200" cap="none" spc="0" normalizeH="0" baseline="0" noProof="0" dirty="0" err="1">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Chemtronic</a:t>
                      </a:r>
                      <a:r>
                        <a:rPr kumimoji="0" lang="en-IN" sz="1000" b="1"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 Technology (Thailand) Co Ltd</a:t>
                      </a:r>
                      <a:endParaRPr lang="en-IN" sz="10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solidFill>
                      <a:srgbClr val="0070C0"/>
                    </a:solidFill>
                  </a:tcPr>
                </a:tc>
                <a:tc>
                  <a:txBody>
                    <a:bodyPr/>
                    <a:lstStyle/>
                    <a:p>
                      <a:pPr algn="ctr"/>
                      <a:r>
                        <a:rPr kumimoji="0" lang="en-IN" sz="1000" b="1" u="none" strike="noStrike" kern="1200" cap="none" spc="0" normalizeH="0" baseline="0" noProof="0" dirty="0" err="1">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Buildmore</a:t>
                      </a:r>
                      <a:r>
                        <a:rPr kumimoji="0" lang="en-IN" sz="1000" b="1"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 Enterprise Co., Ltd, </a:t>
                      </a:r>
                      <a:endParaRPr lang="en-IN" sz="10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solidFill>
                      <a:srgbClr val="0070C0"/>
                    </a:solidFill>
                  </a:tcPr>
                </a:tc>
                <a:tc>
                  <a:txBody>
                    <a:bodyPr/>
                    <a:lstStyle/>
                    <a:p>
                      <a:pPr algn="ctr"/>
                      <a:r>
                        <a:rPr kumimoji="0" lang="en-IN" sz="1000" b="1" u="none" strike="noStrike" kern="1200" cap="none" spc="0" normalizeH="0" baseline="0" noProof="0" dirty="0" err="1">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Fajar</a:t>
                      </a:r>
                      <a:r>
                        <a:rPr kumimoji="0" lang="en-IN" sz="1000" b="1"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IN" sz="1000" b="1" u="none" strike="noStrike" kern="1200" cap="none" spc="0" normalizeH="0" baseline="0" noProof="0" dirty="0" err="1">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Zippindo</a:t>
                      </a:r>
                      <a:r>
                        <a:rPr kumimoji="0" lang="en-IN" sz="1000" b="1"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 Pt</a:t>
                      </a:r>
                      <a:endParaRPr lang="en-IN" sz="10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solidFill>
                      <a:srgbClr val="0070C0"/>
                    </a:solidFill>
                  </a:tcPr>
                </a:tc>
                <a:tc>
                  <a:txBody>
                    <a:bodyPr/>
                    <a:lstStyle/>
                    <a:p>
                      <a:pPr algn="ctr"/>
                      <a:r>
                        <a:rPr lang="fr-FR" sz="1000" b="1" dirty="0" err="1">
                          <a:solidFill>
                            <a:schemeClr val="bg1"/>
                          </a:solidFill>
                          <a:latin typeface="Verdana" panose="020B0604030504040204" pitchFamily="34" charset="0"/>
                          <a:ea typeface="Verdana" panose="020B0604030504040204" pitchFamily="34" charset="0"/>
                          <a:cs typeface="Verdana" panose="020B0604030504040204" pitchFamily="34" charset="0"/>
                        </a:rPr>
                        <a:t>Resilient</a:t>
                      </a:r>
                      <a:r>
                        <a:rPr lang="fr-FR" sz="1000" b="1" dirty="0">
                          <a:solidFill>
                            <a:schemeClr val="bg1"/>
                          </a:solidFill>
                          <a:latin typeface="Verdana" panose="020B0604030504040204" pitchFamily="34" charset="0"/>
                          <a:ea typeface="Verdana" panose="020B0604030504040204" pitchFamily="34" charset="0"/>
                          <a:cs typeface="Verdana" panose="020B0604030504040204" pitchFamily="34" charset="0"/>
                        </a:rPr>
                        <a:t> Mix </a:t>
                      </a:r>
                      <a:r>
                        <a:rPr lang="fr-FR" sz="1000" b="1" dirty="0" err="1">
                          <a:solidFill>
                            <a:schemeClr val="bg1"/>
                          </a:solidFill>
                          <a:latin typeface="Verdana" panose="020B0604030504040204" pitchFamily="34" charset="0"/>
                          <a:ea typeface="Verdana" panose="020B0604030504040204" pitchFamily="34" charset="0"/>
                          <a:cs typeface="Verdana" panose="020B0604030504040204" pitchFamily="34" charset="0"/>
                        </a:rPr>
                        <a:t>Sdn</a:t>
                      </a:r>
                      <a:r>
                        <a:rPr lang="fr-FR" sz="1000" b="1" dirty="0">
                          <a:solidFill>
                            <a:schemeClr val="bg1"/>
                          </a:solidFill>
                          <a:latin typeface="Verdana" panose="020B0604030504040204" pitchFamily="34" charset="0"/>
                          <a:ea typeface="Verdana" panose="020B0604030504040204" pitchFamily="34" charset="0"/>
                          <a:cs typeface="Verdana" panose="020B0604030504040204" pitchFamily="34" charset="0"/>
                        </a:rPr>
                        <a:t>. </a:t>
                      </a:r>
                      <a:r>
                        <a:rPr lang="fr-FR" sz="1000" b="1" dirty="0" err="1">
                          <a:solidFill>
                            <a:schemeClr val="bg1"/>
                          </a:solidFill>
                          <a:latin typeface="Verdana" panose="020B0604030504040204" pitchFamily="34" charset="0"/>
                          <a:ea typeface="Verdana" panose="020B0604030504040204" pitchFamily="34" charset="0"/>
                          <a:cs typeface="Verdana" panose="020B0604030504040204" pitchFamily="34" charset="0"/>
                        </a:rPr>
                        <a:t>Bhd</a:t>
                      </a:r>
                      <a:endParaRPr lang="en-IN" sz="10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solidFill>
                      <a:srgbClr val="0070C0"/>
                    </a:solidFill>
                  </a:tcPr>
                </a:tc>
                <a:extLst>
                  <a:ext uri="{0D108BD9-81ED-4DB2-BD59-A6C34878D82A}">
                    <a16:rowId xmlns:a16="http://schemas.microsoft.com/office/drawing/2014/main" val="1429903133"/>
                  </a:ext>
                </a:extLst>
              </a:tr>
              <a:tr h="149671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Industrial (25%)</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2069324696"/>
                  </a:ext>
                </a:extLst>
              </a:tr>
              <a:tr h="1266517">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Feed Grade(23%)</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2622632177"/>
                  </a:ext>
                </a:extLst>
              </a:tr>
              <a:tr h="1266517">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Feed Grade(24.5%)</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644579175"/>
                  </a:ext>
                </a:extLst>
              </a:tr>
            </a:tbl>
          </a:graphicData>
        </a:graphic>
      </p:graphicFrame>
    </p:spTree>
    <p:extLst>
      <p:ext uri="{BB962C8B-B14F-4D97-AF65-F5344CB8AC3E}">
        <p14:creationId xmlns:p14="http://schemas.microsoft.com/office/powerpoint/2010/main" val="164590894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3A7F4A6B-3C27-4472-AAA2-6AE0B8B7BB99}"/>
              </a:ext>
            </a:extLst>
          </p:cNvPr>
          <p:cNvSpPr>
            <a:spLocks noGrp="1"/>
          </p:cNvSpPr>
          <p:nvPr>
            <p:ph type="body" sz="quarter" idx="14"/>
          </p:nvPr>
        </p:nvSpPr>
        <p:spPr>
          <a:xfrm>
            <a:off x="0" y="186472"/>
            <a:ext cx="6109252" cy="456400"/>
          </a:xfrm>
        </p:spPr>
        <p:txBody>
          <a:bodyPr>
            <a:normAutofit/>
          </a:bodyPr>
          <a:lstStyle/>
          <a:p>
            <a:r>
              <a:rPr lang="en-IN" dirty="0">
                <a:solidFill>
                  <a:schemeClr val="tx1"/>
                </a:solidFill>
              </a:rPr>
              <a:t>Global Copper Sulphate Demand Supply Overview</a:t>
            </a:r>
            <a:endParaRPr lang="en-US" dirty="0">
              <a:solidFill>
                <a:schemeClr val="tx1"/>
              </a:solidFill>
            </a:endParaRPr>
          </a:p>
        </p:txBody>
      </p:sp>
      <p:graphicFrame>
        <p:nvGraphicFramePr>
          <p:cNvPr id="2" name="Table 1">
            <a:extLst>
              <a:ext uri="{FF2B5EF4-FFF2-40B4-BE49-F238E27FC236}">
                <a16:creationId xmlns:a16="http://schemas.microsoft.com/office/drawing/2014/main" id="{54804A7B-C379-4A2E-B0FB-D1FFAD5896BC}"/>
              </a:ext>
            </a:extLst>
          </p:cNvPr>
          <p:cNvGraphicFramePr>
            <a:graphicFrameLocks noGrp="1"/>
          </p:cNvGraphicFramePr>
          <p:nvPr/>
        </p:nvGraphicFramePr>
        <p:xfrm>
          <a:off x="135221" y="1099929"/>
          <a:ext cx="8024812" cy="1943898"/>
        </p:xfrm>
        <a:graphic>
          <a:graphicData uri="http://schemas.openxmlformats.org/drawingml/2006/table">
            <a:tbl>
              <a:tblPr>
                <a:tableStyleId>{5C22544A-7EE6-4342-B048-85BDC9FD1C3A}</a:tableStyleId>
              </a:tblPr>
              <a:tblGrid>
                <a:gridCol w="3038986">
                  <a:extLst>
                    <a:ext uri="{9D8B030D-6E8A-4147-A177-3AD203B41FA5}">
                      <a16:colId xmlns:a16="http://schemas.microsoft.com/office/drawing/2014/main" val="1611981692"/>
                    </a:ext>
                  </a:extLst>
                </a:gridCol>
                <a:gridCol w="830971">
                  <a:extLst>
                    <a:ext uri="{9D8B030D-6E8A-4147-A177-3AD203B41FA5}">
                      <a16:colId xmlns:a16="http://schemas.microsoft.com/office/drawing/2014/main" val="3462637515"/>
                    </a:ext>
                  </a:extLst>
                </a:gridCol>
                <a:gridCol w="830971">
                  <a:extLst>
                    <a:ext uri="{9D8B030D-6E8A-4147-A177-3AD203B41FA5}">
                      <a16:colId xmlns:a16="http://schemas.microsoft.com/office/drawing/2014/main" val="1912165851"/>
                    </a:ext>
                  </a:extLst>
                </a:gridCol>
                <a:gridCol w="830971">
                  <a:extLst>
                    <a:ext uri="{9D8B030D-6E8A-4147-A177-3AD203B41FA5}">
                      <a16:colId xmlns:a16="http://schemas.microsoft.com/office/drawing/2014/main" val="4226174903"/>
                    </a:ext>
                  </a:extLst>
                </a:gridCol>
                <a:gridCol w="830971">
                  <a:extLst>
                    <a:ext uri="{9D8B030D-6E8A-4147-A177-3AD203B41FA5}">
                      <a16:colId xmlns:a16="http://schemas.microsoft.com/office/drawing/2014/main" val="172123759"/>
                    </a:ext>
                  </a:extLst>
                </a:gridCol>
                <a:gridCol w="830971">
                  <a:extLst>
                    <a:ext uri="{9D8B030D-6E8A-4147-A177-3AD203B41FA5}">
                      <a16:colId xmlns:a16="http://schemas.microsoft.com/office/drawing/2014/main" val="727718315"/>
                    </a:ext>
                  </a:extLst>
                </a:gridCol>
                <a:gridCol w="830971">
                  <a:extLst>
                    <a:ext uri="{9D8B030D-6E8A-4147-A177-3AD203B41FA5}">
                      <a16:colId xmlns:a16="http://schemas.microsoft.com/office/drawing/2014/main" val="663543773"/>
                    </a:ext>
                  </a:extLst>
                </a:gridCol>
              </a:tblGrid>
              <a:tr h="300506">
                <a:tc>
                  <a:txBody>
                    <a:bodyPr/>
                    <a:lstStyle/>
                    <a:p>
                      <a:pPr marL="91440" algn="l" fontAlgn="ctr"/>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Parameters </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2017</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2018</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2019</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2020</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2025E</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2030E</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0387211"/>
                  </a:ext>
                </a:extLst>
              </a:tr>
              <a:tr h="300506">
                <a:tc>
                  <a:txBody>
                    <a:bodyPr/>
                    <a:lstStyle/>
                    <a:p>
                      <a:pPr marL="91440" algn="l" fontAlgn="b"/>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Global Copper Sulphate Capacity</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95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15</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4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13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25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28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44150505"/>
                  </a:ext>
                </a:extLst>
              </a:tr>
              <a:tr h="300506">
                <a:tc>
                  <a:txBody>
                    <a:bodyPr/>
                    <a:lstStyle/>
                    <a:p>
                      <a:pPr marL="91440" algn="l" fontAlgn="b"/>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Global Copper Sulphate Production</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74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764</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793</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74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8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15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12299399"/>
                  </a:ext>
                </a:extLst>
              </a:tr>
              <a:tr h="300506">
                <a:tc>
                  <a:txBody>
                    <a:bodyPr/>
                    <a:lstStyle/>
                    <a:p>
                      <a:pPr marL="91440" algn="l" fontAlgn="b"/>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Global Copper Sulphate Demand</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725</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75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78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71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915</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55370871"/>
                  </a:ext>
                </a:extLst>
              </a:tr>
              <a:tr h="370937">
                <a:tc>
                  <a:txBody>
                    <a:bodyPr/>
                    <a:lstStyle/>
                    <a:p>
                      <a:pPr marL="91440" algn="l" fontAlgn="b"/>
                      <a:r>
                        <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Demand-Supply Gap</a:t>
                      </a: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65</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2710080"/>
                  </a:ext>
                </a:extLst>
              </a:tr>
              <a:tr h="370937">
                <a:tc>
                  <a:txBody>
                    <a:bodyPr/>
                    <a:lstStyle/>
                    <a:p>
                      <a:pPr marL="91440" algn="l" fontAlgn="b"/>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Global Copper Sulphate Demand (Y-O-Y Growth Rate, %)</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ea typeface="+mn-ea"/>
                          <a:cs typeface="+mn-cs"/>
                        </a:rPr>
                        <a:t>4.06%</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ea typeface="+mn-ea"/>
                          <a:cs typeface="+mn-cs"/>
                        </a:rPr>
                        <a:t>2.73%</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ea typeface="+mn-ea"/>
                          <a:cs typeface="+mn-cs"/>
                        </a:rPr>
                        <a:t>-7.27%</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74275942"/>
                  </a:ext>
                </a:extLst>
              </a:tr>
            </a:tbl>
          </a:graphicData>
        </a:graphic>
      </p:graphicFrame>
      <p:sp>
        <p:nvSpPr>
          <p:cNvPr id="5" name="TextBox 4">
            <a:extLst>
              <a:ext uri="{FF2B5EF4-FFF2-40B4-BE49-F238E27FC236}">
                <a16:creationId xmlns:a16="http://schemas.microsoft.com/office/drawing/2014/main" id="{7FCF46BB-1059-460E-AD77-CAF114B950D9}"/>
              </a:ext>
            </a:extLst>
          </p:cNvPr>
          <p:cNvSpPr txBox="1"/>
          <p:nvPr/>
        </p:nvSpPr>
        <p:spPr>
          <a:xfrm>
            <a:off x="4760066" y="3487940"/>
            <a:ext cx="4137328" cy="522900"/>
          </a:xfrm>
          <a:prstGeom prst="rect">
            <a:avLst/>
          </a:prstGeom>
          <a:noFill/>
        </p:spPr>
        <p:txBody>
          <a:bodyPr wrap="square" rtlCol="0">
            <a:spAutoFit/>
          </a:bodyPr>
          <a:lstStyle/>
          <a:p>
            <a:pPr lvl="0" defTabSz="9144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Global</a:t>
            </a: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Copper Sulphate Demand </a:t>
            </a: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Market</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Share, </a:t>
            </a:r>
          </a:p>
          <a:p>
            <a:pPr lvl="0" defTabSz="9144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2020</a:t>
            </a:r>
          </a:p>
        </p:txBody>
      </p:sp>
      <p:graphicFrame>
        <p:nvGraphicFramePr>
          <p:cNvPr id="7" name="Chart 6">
            <a:extLst>
              <a:ext uri="{FF2B5EF4-FFF2-40B4-BE49-F238E27FC236}">
                <a16:creationId xmlns:a16="http://schemas.microsoft.com/office/drawing/2014/main" id="{82C9CBEA-675A-4FC1-AF3D-989359880B93}"/>
              </a:ext>
            </a:extLst>
          </p:cNvPr>
          <p:cNvGraphicFramePr/>
          <p:nvPr/>
        </p:nvGraphicFramePr>
        <p:xfrm>
          <a:off x="4760066" y="4065087"/>
          <a:ext cx="4000679" cy="2196819"/>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D608C4CE-6ED9-4172-A268-FD8EB4993FE0}"/>
              </a:ext>
            </a:extLst>
          </p:cNvPr>
          <p:cNvSpPr txBox="1"/>
          <p:nvPr/>
        </p:nvSpPr>
        <p:spPr>
          <a:xfrm>
            <a:off x="5475349" y="3238884"/>
            <a:ext cx="3095493" cy="200055"/>
          </a:xfrm>
          <a:prstGeom prst="rect">
            <a:avLst/>
          </a:prstGeom>
          <a:noFill/>
        </p:spPr>
        <p:txBody>
          <a:bodyPr wrap="square" rtlCol="0">
            <a:spAutoFit/>
          </a:bodyPr>
          <a:lstStyle>
            <a:defPPr>
              <a:defRPr lang="en-US"/>
            </a:defPPr>
            <a:lvl1pPr algn="r">
              <a:defRPr sz="800" i="1">
                <a:solidFill>
                  <a:srgbClr val="7F7F7F"/>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7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 </a:t>
            </a:r>
          </a:p>
        </p:txBody>
      </p:sp>
      <p:sp>
        <p:nvSpPr>
          <p:cNvPr id="13" name="TextBox 12">
            <a:extLst>
              <a:ext uri="{FF2B5EF4-FFF2-40B4-BE49-F238E27FC236}">
                <a16:creationId xmlns:a16="http://schemas.microsoft.com/office/drawing/2014/main" id="{4C869681-4118-48D3-8DD2-00109ECA740C}"/>
              </a:ext>
            </a:extLst>
          </p:cNvPr>
          <p:cNvSpPr txBox="1"/>
          <p:nvPr/>
        </p:nvSpPr>
        <p:spPr>
          <a:xfrm>
            <a:off x="5601245" y="6253754"/>
            <a:ext cx="3095493" cy="200055"/>
          </a:xfrm>
          <a:prstGeom prst="rect">
            <a:avLst/>
          </a:prstGeom>
          <a:noFill/>
        </p:spPr>
        <p:txBody>
          <a:bodyPr wrap="square" rtlCol="0">
            <a:spAutoFit/>
          </a:bodyPr>
          <a:lstStyle>
            <a:defPPr>
              <a:defRPr lang="en-US"/>
            </a:defPPr>
            <a:lvl1pPr algn="r">
              <a:defRPr sz="800" i="1">
                <a:solidFill>
                  <a:srgbClr val="7F7F7F"/>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7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 </a:t>
            </a:r>
          </a:p>
        </p:txBody>
      </p:sp>
      <p:sp>
        <p:nvSpPr>
          <p:cNvPr id="14" name="Text Placeholder 3">
            <a:extLst>
              <a:ext uri="{FF2B5EF4-FFF2-40B4-BE49-F238E27FC236}">
                <a16:creationId xmlns:a16="http://schemas.microsoft.com/office/drawing/2014/main" id="{D4C8815D-6B5C-455E-85C4-4FC618D188A2}"/>
              </a:ext>
            </a:extLst>
          </p:cNvPr>
          <p:cNvSpPr txBox="1">
            <a:spLocks/>
          </p:cNvSpPr>
          <p:nvPr/>
        </p:nvSpPr>
        <p:spPr>
          <a:xfrm>
            <a:off x="53008" y="703308"/>
            <a:ext cx="6626087" cy="292068"/>
          </a:xfrm>
          <a:prstGeom prst="rect">
            <a:avLst/>
          </a:prstGeom>
          <a:noFill/>
        </p:spPr>
        <p:txBody>
          <a:bodyPr wrap="square" rtlCol="0">
            <a:spAutoFit/>
          </a:bodyPr>
          <a:lstStyle>
            <a:defPPr>
              <a:defRPr lang="en-US"/>
            </a:defPPr>
            <a:lvl1pPr lvl="0" defTabSz="914400">
              <a:lnSpc>
                <a:spcPct val="150000"/>
              </a:lnSpc>
              <a:defRPr sz="1000" b="1">
                <a:solidFill>
                  <a:prstClr val="black"/>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dirty="0"/>
              <a:t>Global Copper Sulphate Demand-Supply Scenario, 2017-2030E (000’ Tonnes)</a:t>
            </a:r>
          </a:p>
        </p:txBody>
      </p:sp>
      <p:sp>
        <p:nvSpPr>
          <p:cNvPr id="17" name="TextBox 16">
            <a:extLst>
              <a:ext uri="{FF2B5EF4-FFF2-40B4-BE49-F238E27FC236}">
                <a16:creationId xmlns:a16="http://schemas.microsoft.com/office/drawing/2014/main" id="{1703F135-396A-4211-9A55-729BB0E97389}"/>
              </a:ext>
            </a:extLst>
          </p:cNvPr>
          <p:cNvSpPr txBox="1"/>
          <p:nvPr/>
        </p:nvSpPr>
        <p:spPr>
          <a:xfrm>
            <a:off x="246606" y="3235731"/>
            <a:ext cx="4513460" cy="3427541"/>
          </a:xfrm>
          <a:prstGeom prst="rect">
            <a:avLst/>
          </a:prstGeom>
          <a:noFill/>
        </p:spPr>
        <p:txBody>
          <a:bodyPr wrap="square" rtlCol="0">
            <a:spAutoFit/>
          </a:bodyPr>
          <a:lstStyle/>
          <a:p>
            <a:pPr algn="just">
              <a:lnSpc>
                <a:spcPct val="200000"/>
              </a:lnSpc>
            </a:pPr>
            <a:r>
              <a:rPr lang="en-US" sz="1000" dirty="0">
                <a:latin typeface="Verdana" panose="020B0604030504040204" pitchFamily="34" charset="0"/>
                <a:ea typeface="Verdana" panose="020B0604030504040204" pitchFamily="34" charset="0"/>
                <a:cs typeface="Verdana" panose="020B0604030504040204" pitchFamily="34" charset="0"/>
              </a:rPr>
              <a:t>Global Copper Sulphate demand is anticipated to be at around 1.71 million </a:t>
            </a:r>
            <a:r>
              <a:rPr lang="en-US" sz="1000" dirty="0" err="1">
                <a:latin typeface="Verdana" panose="020B0604030504040204" pitchFamily="34" charset="0"/>
                <a:ea typeface="Verdana" panose="020B0604030504040204" pitchFamily="34" charset="0"/>
                <a:cs typeface="Verdana" panose="020B0604030504040204" pitchFamily="34" charset="0"/>
              </a:rPr>
              <a:t>tonnes</a:t>
            </a:r>
            <a:r>
              <a:rPr lang="en-US" sz="1000" dirty="0">
                <a:latin typeface="Verdana" panose="020B0604030504040204" pitchFamily="34" charset="0"/>
                <a:ea typeface="Verdana" panose="020B0604030504040204" pitchFamily="34" charset="0"/>
                <a:cs typeface="Verdana" panose="020B0604030504040204" pitchFamily="34" charset="0"/>
              </a:rPr>
              <a:t> in 2020 on account of sluggish demand due to the COVID-19 pandemic. The industry witnessed a degrowth of around 7.27% compared to 2019. Copper Sulphate is majorly used in agriculture and animal feed application. The demand from construction and automotive sector has shown decline due to the lockdown situation in major economies. China, Taiwan, Italy and USA are having major Copper Sulphate producing capacities across the globe. Furthermore, these capacities are expected to be commissioned in the Asia Pacific region to meet the ongoing demand of Copper </a:t>
            </a:r>
            <a:r>
              <a:rPr lang="en-US" sz="1000" dirty="0" err="1">
                <a:latin typeface="Verdana" panose="020B0604030504040204" pitchFamily="34" charset="0"/>
                <a:ea typeface="Verdana" panose="020B0604030504040204" pitchFamily="34" charset="0"/>
                <a:cs typeface="Verdana" panose="020B0604030504040204" pitchFamily="34" charset="0"/>
              </a:rPr>
              <a:t>Salphate</a:t>
            </a:r>
            <a:r>
              <a:rPr lang="en-US" sz="1000" dirty="0">
                <a:latin typeface="Verdana" panose="020B0604030504040204" pitchFamily="34" charset="0"/>
                <a:ea typeface="Verdana" panose="020B0604030504040204" pitchFamily="34" charset="0"/>
                <a:cs typeface="Verdana" panose="020B0604030504040204" pitchFamily="34" charset="0"/>
              </a:rPr>
              <a:t> across the globe. </a:t>
            </a:r>
          </a:p>
        </p:txBody>
      </p:sp>
    </p:spTree>
    <p:extLst>
      <p:ext uri="{BB962C8B-B14F-4D97-AF65-F5344CB8AC3E}">
        <p14:creationId xmlns:p14="http://schemas.microsoft.com/office/powerpoint/2010/main" val="15297387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
            <a:extLst>
              <a:ext uri="{FF2B5EF4-FFF2-40B4-BE49-F238E27FC236}">
                <a16:creationId xmlns:a16="http://schemas.microsoft.com/office/drawing/2014/main" id="{7A723762-FF80-4333-8355-0B25B76B2E40}"/>
              </a:ext>
            </a:extLst>
          </p:cNvPr>
          <p:cNvSpPr txBox="1">
            <a:spLocks/>
          </p:cNvSpPr>
          <p:nvPr/>
        </p:nvSpPr>
        <p:spPr>
          <a:xfrm>
            <a:off x="298236" y="234066"/>
            <a:ext cx="7863840" cy="296684"/>
          </a:xfrm>
          <a:prstGeom prst="rect">
            <a:avLst/>
          </a:prstGeom>
          <a:noFill/>
        </p:spPr>
        <p:txBody>
          <a:bodyPr vert="horz" wrap="square" lIns="91440" tIns="45720" rIns="91440" bIns="45720" rtlCol="0" anchor="ctr">
            <a:spAutoFit/>
          </a:bodyPr>
          <a:lstStyle>
            <a:defPPr>
              <a:defRPr lang="en-US"/>
            </a:defPPr>
            <a:lvl1pPr lvl="0">
              <a:lnSpc>
                <a:spcPts val="1700"/>
              </a:lnSpc>
              <a:spcBef>
                <a:spcPct val="0"/>
              </a:spcBef>
              <a:buNone/>
              <a:defRPr sz="1400" b="1">
                <a:solidFill>
                  <a:prstClr val="black"/>
                </a:solidFill>
                <a:latin typeface="Arial" panose="020B0604020202020204" pitchFamily="34" charset="0"/>
                <a:ea typeface="+mj-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1700"/>
              </a:lnSpc>
              <a:spcBef>
                <a:spcPct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Research Methodology</a:t>
            </a:r>
          </a:p>
        </p:txBody>
      </p:sp>
      <p:grpSp>
        <p:nvGrpSpPr>
          <p:cNvPr id="33" name="Group 32">
            <a:extLst>
              <a:ext uri="{FF2B5EF4-FFF2-40B4-BE49-F238E27FC236}">
                <a16:creationId xmlns:a16="http://schemas.microsoft.com/office/drawing/2014/main" id="{F7A1EAEA-1147-4070-BDDB-557CFB2BB411}"/>
              </a:ext>
            </a:extLst>
          </p:cNvPr>
          <p:cNvGrpSpPr/>
          <p:nvPr/>
        </p:nvGrpSpPr>
        <p:grpSpPr>
          <a:xfrm>
            <a:off x="188301" y="1146668"/>
            <a:ext cx="8941629" cy="5150166"/>
            <a:chOff x="155333" y="1118533"/>
            <a:chExt cx="8924910" cy="5150166"/>
          </a:xfrm>
        </p:grpSpPr>
        <p:pic>
          <p:nvPicPr>
            <p:cNvPr id="34" name="Picture 33" descr="A person in a suit and tie&#10;&#10;Description generated with very high confidence">
              <a:extLst>
                <a:ext uri="{FF2B5EF4-FFF2-40B4-BE49-F238E27FC236}">
                  <a16:creationId xmlns:a16="http://schemas.microsoft.com/office/drawing/2014/main" id="{82063D9D-C9E3-4528-82CF-2FB36051ABBD}"/>
                </a:ext>
              </a:extLst>
            </p:cNvPr>
            <p:cNvPicPr>
              <a:picLocks noChangeAspect="1"/>
            </p:cNvPicPr>
            <p:nvPr/>
          </p:nvPicPr>
          <p:blipFill rotWithShape="1">
            <a:blip r:embed="rId2">
              <a:extLst>
                <a:ext uri="{BEBA8EAE-BF5A-486C-A8C5-ECC9F3942E4B}">
                  <a14:imgProps xmlns:a14="http://schemas.microsoft.com/office/drawing/2010/main">
                    <a14:imgLayer r:embed="rId3">
                      <a14:imgEffect>
                        <a14:colorTemperature colorTemp="11200"/>
                      </a14:imgEffect>
                    </a14:imgLayer>
                  </a14:imgProps>
                </a:ext>
                <a:ext uri="{28A0092B-C50C-407E-A947-70E740481C1C}">
                  <a14:useLocalDpi xmlns:a14="http://schemas.microsoft.com/office/drawing/2010/main" val="0"/>
                </a:ext>
              </a:extLst>
            </a:blip>
            <a:srcRect l="15871" t="10263" r="24116" b="43101"/>
            <a:stretch/>
          </p:blipFill>
          <p:spPr>
            <a:xfrm>
              <a:off x="155333" y="2975446"/>
              <a:ext cx="3708704" cy="2535009"/>
            </a:xfrm>
            <a:prstGeom prst="rect">
              <a:avLst/>
            </a:prstGeom>
          </p:spPr>
        </p:pic>
        <p:sp>
          <p:nvSpPr>
            <p:cNvPr id="35" name="Rectangle 62">
              <a:extLst>
                <a:ext uri="{FF2B5EF4-FFF2-40B4-BE49-F238E27FC236}">
                  <a16:creationId xmlns:a16="http://schemas.microsoft.com/office/drawing/2014/main" id="{DA4208FF-D2D0-4C4D-85E3-AD08BEAE0BDC}"/>
                </a:ext>
              </a:extLst>
            </p:cNvPr>
            <p:cNvSpPr>
              <a:spLocks noChangeArrowheads="1"/>
            </p:cNvSpPr>
            <p:nvPr/>
          </p:nvSpPr>
          <p:spPr bwMode="gray">
            <a:xfrm>
              <a:off x="4272289" y="3646557"/>
              <a:ext cx="1436528" cy="593432"/>
            </a:xfrm>
            <a:prstGeom prst="rect">
              <a:avLst/>
            </a:prstGeom>
            <a:noFill/>
            <a:ln w="9525">
              <a:noFill/>
              <a:miter lim="800000"/>
              <a:headEnd/>
              <a:tailEnd/>
            </a:ln>
          </p:spPr>
          <p:txBody>
            <a:bodyPr wrap="square" lIns="0" tIns="0" rIns="0" bIns="0" anchor="ctr">
              <a:spAutoFit/>
            </a:bodyPr>
            <a:lstStyle/>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Identifying Key Opinion Leaders</a:t>
              </a:r>
            </a:p>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Questionnaire Design</a:t>
              </a:r>
            </a:p>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In-depth Interviews</a:t>
              </a:r>
            </a:p>
          </p:txBody>
        </p:sp>
        <p:sp>
          <p:nvSpPr>
            <p:cNvPr id="36" name="Chevron 1">
              <a:extLst>
                <a:ext uri="{FF2B5EF4-FFF2-40B4-BE49-F238E27FC236}">
                  <a16:creationId xmlns:a16="http://schemas.microsoft.com/office/drawing/2014/main" id="{03E1ECE4-A66B-469C-A0BD-372BC020A4B0}"/>
                </a:ext>
              </a:extLst>
            </p:cNvPr>
            <p:cNvSpPr/>
            <p:nvPr/>
          </p:nvSpPr>
          <p:spPr>
            <a:xfrm rot="10800000" flipH="1">
              <a:off x="4384886" y="1126702"/>
              <a:ext cx="1450878" cy="658791"/>
            </a:xfrm>
            <a:prstGeom prst="chevron">
              <a:avLst/>
            </a:prstGeom>
            <a:solidFill>
              <a:schemeClr val="bg1"/>
            </a:solidFill>
            <a:ln w="762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lumMod val="65000"/>
                    <a:lumOff val="35000"/>
                  </a:prstClr>
                </a:solidFill>
                <a:effectLst/>
                <a:uLnTx/>
                <a:uFillTx/>
                <a:latin typeface="Calibri" panose="020F0502020204030204"/>
                <a:ea typeface="맑은 고딕" panose="020B0503020000020004" pitchFamily="34" charset="-127"/>
                <a:cs typeface="+mn-cs"/>
              </a:endParaRPr>
            </a:p>
          </p:txBody>
        </p:sp>
        <p:sp>
          <p:nvSpPr>
            <p:cNvPr id="37" name="Chevron 2">
              <a:extLst>
                <a:ext uri="{FF2B5EF4-FFF2-40B4-BE49-F238E27FC236}">
                  <a16:creationId xmlns:a16="http://schemas.microsoft.com/office/drawing/2014/main" id="{AA1B6F0A-374B-4277-958B-A27BF7F3B4A1}"/>
                </a:ext>
              </a:extLst>
            </p:cNvPr>
            <p:cNvSpPr/>
            <p:nvPr/>
          </p:nvSpPr>
          <p:spPr>
            <a:xfrm rot="10800000" flipH="1">
              <a:off x="3046546" y="1126702"/>
              <a:ext cx="1450878" cy="658791"/>
            </a:xfrm>
            <a:prstGeom prst="chevron">
              <a:avLst/>
            </a:prstGeom>
            <a:solidFill>
              <a:schemeClr val="bg1"/>
            </a:solidFill>
            <a:ln w="76200">
              <a:solidFill>
                <a:srgbClr val="8BC1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lumMod val="65000"/>
                    <a:lumOff val="35000"/>
                  </a:prstClr>
                </a:solidFill>
                <a:effectLst/>
                <a:uLnTx/>
                <a:uFillTx/>
                <a:latin typeface="Calibri" panose="020F0502020204030204"/>
                <a:ea typeface="맑은 고딕" panose="020B0503020000020004" pitchFamily="34" charset="-127"/>
                <a:cs typeface="+mn-cs"/>
              </a:endParaRPr>
            </a:p>
          </p:txBody>
        </p:sp>
        <p:sp>
          <p:nvSpPr>
            <p:cNvPr id="38" name="Chevron 3">
              <a:extLst>
                <a:ext uri="{FF2B5EF4-FFF2-40B4-BE49-F238E27FC236}">
                  <a16:creationId xmlns:a16="http://schemas.microsoft.com/office/drawing/2014/main" id="{5C54FDAC-7CD4-4BD1-9E20-012EDF61A9BB}"/>
                </a:ext>
              </a:extLst>
            </p:cNvPr>
            <p:cNvSpPr/>
            <p:nvPr/>
          </p:nvSpPr>
          <p:spPr>
            <a:xfrm rot="10800000" flipH="1">
              <a:off x="1708207" y="1126702"/>
              <a:ext cx="1450878" cy="658791"/>
            </a:xfrm>
            <a:prstGeom prst="chevron">
              <a:avLst/>
            </a:prstGeom>
            <a:solidFill>
              <a:schemeClr val="bg1"/>
            </a:solidFill>
            <a:ln w="76200">
              <a:solidFill>
                <a:srgbClr val="6094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lumMod val="65000"/>
                    <a:lumOff val="35000"/>
                  </a:prstClr>
                </a:solidFill>
                <a:effectLst/>
                <a:uLnTx/>
                <a:uFillTx/>
                <a:latin typeface="Calibri" panose="020F0502020204030204"/>
                <a:ea typeface="맑은 고딕" panose="020B0503020000020004" pitchFamily="34" charset="-127"/>
                <a:cs typeface="+mn-cs"/>
              </a:endParaRPr>
            </a:p>
          </p:txBody>
        </p:sp>
        <p:sp>
          <p:nvSpPr>
            <p:cNvPr id="39" name="Chevron 4">
              <a:extLst>
                <a:ext uri="{FF2B5EF4-FFF2-40B4-BE49-F238E27FC236}">
                  <a16:creationId xmlns:a16="http://schemas.microsoft.com/office/drawing/2014/main" id="{9A1D6CF4-973F-4CF0-8211-2F3B162059BC}"/>
                </a:ext>
              </a:extLst>
            </p:cNvPr>
            <p:cNvSpPr/>
            <p:nvPr/>
          </p:nvSpPr>
          <p:spPr>
            <a:xfrm rot="10800000" flipH="1">
              <a:off x="369867" y="1118533"/>
              <a:ext cx="1450878" cy="658791"/>
            </a:xfrm>
            <a:prstGeom prst="chevron">
              <a:avLst/>
            </a:prstGeom>
            <a:solidFill>
              <a:schemeClr val="bg1"/>
            </a:solidFill>
            <a:ln w="762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lumMod val="65000"/>
                    <a:lumOff val="35000"/>
                  </a:prstClr>
                </a:solidFill>
                <a:effectLst/>
                <a:uLnTx/>
                <a:uFillTx/>
                <a:latin typeface="Calibri" panose="020F0502020204030204"/>
                <a:ea typeface="맑은 고딕" panose="020B0503020000020004" pitchFamily="34" charset="-127"/>
                <a:cs typeface="+mn-cs"/>
              </a:endParaRPr>
            </a:p>
          </p:txBody>
        </p:sp>
        <p:sp>
          <p:nvSpPr>
            <p:cNvPr id="40" name="TextBox 39">
              <a:extLst>
                <a:ext uri="{FF2B5EF4-FFF2-40B4-BE49-F238E27FC236}">
                  <a16:creationId xmlns:a16="http://schemas.microsoft.com/office/drawing/2014/main" id="{F4D46BAC-1ED0-4D3D-8D9F-DB65BE8F784F}"/>
                </a:ext>
              </a:extLst>
            </p:cNvPr>
            <p:cNvSpPr txBox="1"/>
            <p:nvPr/>
          </p:nvSpPr>
          <p:spPr>
            <a:xfrm>
              <a:off x="4780330" y="1257733"/>
              <a:ext cx="742821"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Data Collection</a:t>
              </a:r>
            </a:p>
          </p:txBody>
        </p:sp>
        <p:sp>
          <p:nvSpPr>
            <p:cNvPr id="41" name="TextBox 40">
              <a:extLst>
                <a:ext uri="{FF2B5EF4-FFF2-40B4-BE49-F238E27FC236}">
                  <a16:creationId xmlns:a16="http://schemas.microsoft.com/office/drawing/2014/main" id="{65131A8D-D080-4EE0-9082-9768493021D1}"/>
                </a:ext>
              </a:extLst>
            </p:cNvPr>
            <p:cNvSpPr txBox="1"/>
            <p:nvPr/>
          </p:nvSpPr>
          <p:spPr>
            <a:xfrm>
              <a:off x="3351865" y="1248356"/>
              <a:ext cx="101244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Developing List of Respondents</a:t>
              </a:r>
            </a:p>
          </p:txBody>
        </p:sp>
        <p:sp>
          <p:nvSpPr>
            <p:cNvPr id="42" name="TextBox 41">
              <a:extLst>
                <a:ext uri="{FF2B5EF4-FFF2-40B4-BE49-F238E27FC236}">
                  <a16:creationId xmlns:a16="http://schemas.microsoft.com/office/drawing/2014/main" id="{8DF7ADDB-1B20-4DA9-8E06-9EBD12960D4E}"/>
                </a:ext>
              </a:extLst>
            </p:cNvPr>
            <p:cNvSpPr txBox="1"/>
            <p:nvPr/>
          </p:nvSpPr>
          <p:spPr>
            <a:xfrm>
              <a:off x="2000048" y="1250017"/>
              <a:ext cx="95413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Formulating Questionnaire</a:t>
              </a:r>
            </a:p>
          </p:txBody>
        </p:sp>
        <p:sp>
          <p:nvSpPr>
            <p:cNvPr id="43" name="TextBox 42">
              <a:extLst>
                <a:ext uri="{FF2B5EF4-FFF2-40B4-BE49-F238E27FC236}">
                  <a16:creationId xmlns:a16="http://schemas.microsoft.com/office/drawing/2014/main" id="{0DDBB79B-A8EB-440E-82FB-3FE2FA738C4D}"/>
                </a:ext>
              </a:extLst>
            </p:cNvPr>
            <p:cNvSpPr txBox="1"/>
            <p:nvPr/>
          </p:nvSpPr>
          <p:spPr>
            <a:xfrm>
              <a:off x="752030" y="1231840"/>
              <a:ext cx="68655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Market Profiling</a:t>
              </a:r>
            </a:p>
          </p:txBody>
        </p:sp>
        <p:sp>
          <p:nvSpPr>
            <p:cNvPr id="44" name="Chevron 1">
              <a:extLst>
                <a:ext uri="{FF2B5EF4-FFF2-40B4-BE49-F238E27FC236}">
                  <a16:creationId xmlns:a16="http://schemas.microsoft.com/office/drawing/2014/main" id="{DCC0B366-33B0-4319-86D9-CDAA72784AA2}"/>
                </a:ext>
              </a:extLst>
            </p:cNvPr>
            <p:cNvSpPr/>
            <p:nvPr/>
          </p:nvSpPr>
          <p:spPr>
            <a:xfrm rot="10800000" flipH="1">
              <a:off x="5723225" y="1126702"/>
              <a:ext cx="1450878" cy="658791"/>
            </a:xfrm>
            <a:prstGeom prst="chevron">
              <a:avLst/>
            </a:prstGeom>
            <a:solidFill>
              <a:schemeClr val="bg1"/>
            </a:solidFill>
            <a:ln w="76200">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lumMod val="65000"/>
                    <a:lumOff val="35000"/>
                  </a:prstClr>
                </a:solidFill>
                <a:effectLst/>
                <a:uLnTx/>
                <a:uFillTx/>
                <a:latin typeface="Calibri" panose="020F0502020204030204"/>
                <a:ea typeface="맑은 고딕" panose="020B0503020000020004" pitchFamily="34" charset="-127"/>
                <a:cs typeface="+mn-cs"/>
              </a:endParaRPr>
            </a:p>
          </p:txBody>
        </p:sp>
        <p:sp>
          <p:nvSpPr>
            <p:cNvPr id="45" name="Chevron 1">
              <a:extLst>
                <a:ext uri="{FF2B5EF4-FFF2-40B4-BE49-F238E27FC236}">
                  <a16:creationId xmlns:a16="http://schemas.microsoft.com/office/drawing/2014/main" id="{551EB9EF-7D8F-47D3-B964-FBB7AEAEAE13}"/>
                </a:ext>
              </a:extLst>
            </p:cNvPr>
            <p:cNvSpPr/>
            <p:nvPr/>
          </p:nvSpPr>
          <p:spPr>
            <a:xfrm rot="10800000" flipH="1">
              <a:off x="7061565" y="1126702"/>
              <a:ext cx="1450878" cy="658791"/>
            </a:xfrm>
            <a:prstGeom prst="chevron">
              <a:avLst/>
            </a:prstGeom>
            <a:solidFill>
              <a:schemeClr val="bg1"/>
            </a:solidFill>
            <a:ln w="7620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lumMod val="65000"/>
                    <a:lumOff val="35000"/>
                  </a:prstClr>
                </a:solidFill>
                <a:effectLst/>
                <a:uLnTx/>
                <a:uFillTx/>
                <a:latin typeface="Calibri" panose="020F0502020204030204"/>
                <a:ea typeface="맑은 고딕" panose="020B0503020000020004" pitchFamily="34" charset="-127"/>
                <a:cs typeface="+mn-cs"/>
              </a:endParaRPr>
            </a:p>
          </p:txBody>
        </p:sp>
        <p:sp>
          <p:nvSpPr>
            <p:cNvPr id="46" name="TextBox 45">
              <a:extLst>
                <a:ext uri="{FF2B5EF4-FFF2-40B4-BE49-F238E27FC236}">
                  <a16:creationId xmlns:a16="http://schemas.microsoft.com/office/drawing/2014/main" id="{3CCD5927-B9CE-410F-9035-6F699EBDA6DF}"/>
                </a:ext>
              </a:extLst>
            </p:cNvPr>
            <p:cNvSpPr txBox="1"/>
            <p:nvPr/>
          </p:nvSpPr>
          <p:spPr>
            <a:xfrm>
              <a:off x="6071045" y="1252101"/>
              <a:ext cx="750983"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Data Validation</a:t>
              </a:r>
            </a:p>
          </p:txBody>
        </p:sp>
        <p:sp>
          <p:nvSpPr>
            <p:cNvPr id="47" name="TextBox 46">
              <a:extLst>
                <a:ext uri="{FF2B5EF4-FFF2-40B4-BE49-F238E27FC236}">
                  <a16:creationId xmlns:a16="http://schemas.microsoft.com/office/drawing/2014/main" id="{F85E9DC1-5B4C-4554-9A78-454067BBECBE}"/>
                </a:ext>
              </a:extLst>
            </p:cNvPr>
            <p:cNvSpPr txBox="1"/>
            <p:nvPr/>
          </p:nvSpPr>
          <p:spPr>
            <a:xfrm>
              <a:off x="7441682" y="1245092"/>
              <a:ext cx="68655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Data Analysis</a:t>
              </a:r>
            </a:p>
          </p:txBody>
        </p:sp>
        <p:sp>
          <p:nvSpPr>
            <p:cNvPr id="48" name="TextBox 47">
              <a:extLst>
                <a:ext uri="{FF2B5EF4-FFF2-40B4-BE49-F238E27FC236}">
                  <a16:creationId xmlns:a16="http://schemas.microsoft.com/office/drawing/2014/main" id="{E18365A8-26F4-4751-ACF4-390C1EEEDFEE}"/>
                </a:ext>
              </a:extLst>
            </p:cNvPr>
            <p:cNvSpPr txBox="1"/>
            <p:nvPr/>
          </p:nvSpPr>
          <p:spPr>
            <a:xfrm>
              <a:off x="396164" y="1836372"/>
              <a:ext cx="1166846" cy="1200329"/>
            </a:xfrm>
            <a:prstGeom prst="rect">
              <a:avLst/>
            </a:prstGeom>
            <a:noFill/>
          </p:spPr>
          <p:txBody>
            <a:bodyPr wrap="square" rtlCol="0">
              <a:spAutoFit/>
            </a:bodyPr>
            <a:lstStyle/>
            <a:p>
              <a:pPr lvl="0" algn="ctr">
                <a:defRPr/>
              </a:pPr>
              <a:r>
                <a:rPr kumimoji="0" lang="en-US" altLang="ko-KR" sz="800" b="1" i="0" u="none" strike="noStrike" kern="1200" cap="none" spc="0" normalizeH="0" baseline="0" noProof="0" dirty="0">
                  <a:ln>
                    <a:noFill/>
                  </a:ln>
                  <a:solidFill>
                    <a:srgbClr val="E7E6E6">
                      <a:lumMod val="25000"/>
                    </a:srgbClr>
                  </a:solidFill>
                  <a:effectLst/>
                  <a:uLnTx/>
                  <a:uFillTx/>
                  <a:latin typeface="Calibri" panose="020F0502020204030204"/>
                  <a:ea typeface="맑은 고딕" panose="020B0503020000020004" pitchFamily="34" charset="-127"/>
                  <a:cs typeface="Arial" pitchFamily="34" charset="0"/>
                </a:rPr>
                <a:t>In-depth secondary research was conducted to determine top players in South-East </a:t>
              </a:r>
              <a:r>
                <a:rPr lang="en-US" altLang="ko-KR" sz="800" b="1" dirty="0">
                  <a:solidFill>
                    <a:srgbClr val="E7E6E6">
                      <a:lumMod val="25000"/>
                    </a:srgbClr>
                  </a:solidFill>
                  <a:cs typeface="Arial" pitchFamily="34" charset="0"/>
                </a:rPr>
                <a:t>Asia Copper Sulphate market, </a:t>
              </a:r>
              <a:r>
                <a:rPr kumimoji="0" lang="en-US" altLang="ko-KR" sz="800" b="1" i="0" u="none" strike="noStrike" kern="1200" cap="none" spc="0" normalizeH="0" baseline="0" noProof="0" dirty="0">
                  <a:ln>
                    <a:noFill/>
                  </a:ln>
                  <a:solidFill>
                    <a:srgbClr val="E7E6E6">
                      <a:lumMod val="25000"/>
                    </a:srgbClr>
                  </a:solidFill>
                  <a:effectLst/>
                  <a:uLnTx/>
                  <a:uFillTx/>
                  <a:latin typeface="Calibri" panose="020F0502020204030204"/>
                  <a:ea typeface="맑은 고딕" panose="020B0503020000020004" pitchFamily="34" charset="-127"/>
                  <a:cs typeface="Arial" pitchFamily="34" charset="0"/>
                </a:rPr>
                <a:t>overall market size and segmental market size.</a:t>
              </a:r>
            </a:p>
          </p:txBody>
        </p:sp>
        <p:sp>
          <p:nvSpPr>
            <p:cNvPr id="49" name="TextBox 48">
              <a:extLst>
                <a:ext uri="{FF2B5EF4-FFF2-40B4-BE49-F238E27FC236}">
                  <a16:creationId xmlns:a16="http://schemas.microsoft.com/office/drawing/2014/main" id="{8FB27B63-608C-4994-B435-E639005450E9}"/>
                </a:ext>
              </a:extLst>
            </p:cNvPr>
            <p:cNvSpPr txBox="1"/>
            <p:nvPr/>
          </p:nvSpPr>
          <p:spPr>
            <a:xfrm>
              <a:off x="1824080" y="1908809"/>
              <a:ext cx="1157298"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800" b="1" i="0" u="none" strike="noStrike" kern="1200" cap="none" spc="0" normalizeH="0" baseline="0" noProof="0" dirty="0">
                  <a:ln>
                    <a:noFill/>
                  </a:ln>
                  <a:solidFill>
                    <a:srgbClr val="E7E6E6">
                      <a:lumMod val="25000"/>
                    </a:srgbClr>
                  </a:solidFill>
                  <a:effectLst/>
                  <a:uLnTx/>
                  <a:uFillTx/>
                  <a:latin typeface="Calibri" panose="020F0502020204030204"/>
                  <a:ea typeface="맑은 고딕" panose="020B0503020000020004" pitchFamily="34" charset="-127"/>
                  <a:cs typeface="Arial" pitchFamily="34" charset="0"/>
                </a:rPr>
                <a:t>In order to conduct industry experts’ interviews, ChemAnalyst formulated a detailed discussion guid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ko-KR" sz="800" b="1" i="0" u="none" strike="noStrike" kern="1200" cap="none" spc="0" normalizeH="0" baseline="0" noProof="0" dirty="0">
                <a:ln>
                  <a:noFill/>
                </a:ln>
                <a:solidFill>
                  <a:srgbClr val="E7E6E6">
                    <a:lumMod val="25000"/>
                  </a:srgbClr>
                </a:solidFill>
                <a:effectLst/>
                <a:uLnTx/>
                <a:uFillTx/>
                <a:latin typeface="Calibri" panose="020F0502020204030204"/>
                <a:ea typeface="맑은 고딕" panose="020B0503020000020004" pitchFamily="34" charset="-127"/>
                <a:cs typeface="Arial" pitchFamily="34" charset="0"/>
              </a:endParaRPr>
            </a:p>
          </p:txBody>
        </p:sp>
        <p:sp>
          <p:nvSpPr>
            <p:cNvPr id="50" name="TextBox 49">
              <a:extLst>
                <a:ext uri="{FF2B5EF4-FFF2-40B4-BE49-F238E27FC236}">
                  <a16:creationId xmlns:a16="http://schemas.microsoft.com/office/drawing/2014/main" id="{379D73F3-A275-4E03-957D-CBD95C74AA86}"/>
                </a:ext>
              </a:extLst>
            </p:cNvPr>
            <p:cNvSpPr txBox="1"/>
            <p:nvPr/>
          </p:nvSpPr>
          <p:spPr>
            <a:xfrm>
              <a:off x="3158705" y="1908809"/>
              <a:ext cx="108842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800" b="1" i="0" u="none" strike="noStrike" kern="1200" cap="none" spc="0" normalizeH="0" baseline="0" noProof="0" dirty="0">
                  <a:ln>
                    <a:noFill/>
                  </a:ln>
                  <a:solidFill>
                    <a:srgbClr val="E7E6E6">
                      <a:lumMod val="25000"/>
                    </a:srgbClr>
                  </a:solidFill>
                  <a:effectLst/>
                  <a:uLnTx/>
                  <a:uFillTx/>
                  <a:latin typeface="Calibri" panose="020F0502020204030204"/>
                  <a:ea typeface="맑은 고딕" panose="020B0503020000020004" pitchFamily="34" charset="-127"/>
                  <a:cs typeface="Arial" pitchFamily="34" charset="0"/>
                </a:rPr>
                <a:t>List of industry players and industry specialists was developed.</a:t>
              </a:r>
            </a:p>
          </p:txBody>
        </p:sp>
        <p:sp>
          <p:nvSpPr>
            <p:cNvPr id="51" name="TextBox 50">
              <a:extLst>
                <a:ext uri="{FF2B5EF4-FFF2-40B4-BE49-F238E27FC236}">
                  <a16:creationId xmlns:a16="http://schemas.microsoft.com/office/drawing/2014/main" id="{46FC9C2B-48C5-44D4-A78B-BAF43E2965D6}"/>
                </a:ext>
              </a:extLst>
            </p:cNvPr>
            <p:cNvSpPr txBox="1"/>
            <p:nvPr/>
          </p:nvSpPr>
          <p:spPr>
            <a:xfrm>
              <a:off x="4384886" y="1872092"/>
              <a:ext cx="1166846" cy="8432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800" b="1" i="0" u="none" strike="noStrike" kern="1200" cap="none" spc="0" normalizeH="0" baseline="0" noProof="0" dirty="0">
                  <a:ln>
                    <a:noFill/>
                  </a:ln>
                  <a:solidFill>
                    <a:srgbClr val="E7E6E6">
                      <a:lumMod val="25000"/>
                    </a:srgbClr>
                  </a:solidFill>
                  <a:effectLst/>
                  <a:uLnTx/>
                  <a:uFillTx/>
                  <a:latin typeface="Calibri" panose="020F0502020204030204"/>
                  <a:ea typeface="맑은 고딕" panose="020B0503020000020004" pitchFamily="34" charset="-127"/>
                  <a:cs typeface="Arial" pitchFamily="34" charset="0"/>
                </a:rPr>
                <a:t>ChemAnalyst conducted interviews with industry experts and industry players for data collection and verification.</a:t>
              </a:r>
            </a:p>
          </p:txBody>
        </p:sp>
        <p:sp>
          <p:nvSpPr>
            <p:cNvPr id="52" name="TextBox 51">
              <a:extLst>
                <a:ext uri="{FF2B5EF4-FFF2-40B4-BE49-F238E27FC236}">
                  <a16:creationId xmlns:a16="http://schemas.microsoft.com/office/drawing/2014/main" id="{3E208729-532A-411F-B541-64E9B6E54BBE}"/>
                </a:ext>
              </a:extLst>
            </p:cNvPr>
            <p:cNvSpPr txBox="1"/>
            <p:nvPr/>
          </p:nvSpPr>
          <p:spPr>
            <a:xfrm>
              <a:off x="5759285" y="1862559"/>
              <a:ext cx="1054308"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800" b="1" i="0" u="none" strike="noStrike" kern="1200" cap="none" spc="0" normalizeH="0" baseline="0" noProof="0" dirty="0">
                  <a:ln>
                    <a:noFill/>
                  </a:ln>
                  <a:solidFill>
                    <a:srgbClr val="E7E6E6">
                      <a:lumMod val="25000"/>
                    </a:srgbClr>
                  </a:solidFill>
                  <a:effectLst/>
                  <a:uLnTx/>
                  <a:uFillTx/>
                  <a:latin typeface="Calibri" panose="020F0502020204030204"/>
                  <a:ea typeface="맑은 고딕" panose="020B0503020000020004" pitchFamily="34" charset="-127"/>
                  <a:cs typeface="Arial" pitchFamily="34" charset="0"/>
                </a:rPr>
                <a:t>Data obtained as a result of primary and secondary research was validated through rigorous triangulation.</a:t>
              </a:r>
            </a:p>
          </p:txBody>
        </p:sp>
        <p:sp>
          <p:nvSpPr>
            <p:cNvPr id="53" name="TextBox 52">
              <a:extLst>
                <a:ext uri="{FF2B5EF4-FFF2-40B4-BE49-F238E27FC236}">
                  <a16:creationId xmlns:a16="http://schemas.microsoft.com/office/drawing/2014/main" id="{A6553399-1D32-4CB5-BAC5-E0B8A412267A}"/>
                </a:ext>
              </a:extLst>
            </p:cNvPr>
            <p:cNvSpPr txBox="1"/>
            <p:nvPr/>
          </p:nvSpPr>
          <p:spPr>
            <a:xfrm>
              <a:off x="7086215" y="1845253"/>
              <a:ext cx="1375266" cy="830997"/>
            </a:xfrm>
            <a:prstGeom prst="rect">
              <a:avLst/>
            </a:prstGeom>
            <a:noFill/>
          </p:spPr>
          <p:txBody>
            <a:bodyPr wrap="square" rtlCol="0">
              <a:spAutoFit/>
            </a:bodyPr>
            <a:lstStyle/>
            <a:p>
              <a:pPr lvl="0" algn="ctr">
                <a:defRPr/>
              </a:pPr>
              <a:r>
                <a:rPr kumimoji="0" lang="en-US" altLang="ko-KR" sz="800" b="1" i="0" u="none" strike="noStrike" kern="1200" cap="none" spc="0" normalizeH="0" baseline="0" noProof="0" dirty="0">
                  <a:ln>
                    <a:noFill/>
                  </a:ln>
                  <a:solidFill>
                    <a:srgbClr val="E7E6E6">
                      <a:lumMod val="25000"/>
                    </a:srgbClr>
                  </a:solidFill>
                  <a:effectLst/>
                  <a:uLnTx/>
                  <a:uFillTx/>
                  <a:latin typeface="Calibri" panose="020F0502020204030204"/>
                  <a:ea typeface="맑은 고딕" panose="020B0503020000020004" pitchFamily="34" charset="-127"/>
                  <a:cs typeface="Arial" pitchFamily="34" charset="0"/>
                </a:rPr>
                <a:t>The data was scrutinized using MS-Excel, statistical tools and internal proprietary database to obtain qualitative and quantitative insights </a:t>
              </a:r>
            </a:p>
          </p:txBody>
        </p:sp>
        <p:grpSp>
          <p:nvGrpSpPr>
            <p:cNvPr id="54" name="Group 53">
              <a:extLst>
                <a:ext uri="{FF2B5EF4-FFF2-40B4-BE49-F238E27FC236}">
                  <a16:creationId xmlns:a16="http://schemas.microsoft.com/office/drawing/2014/main" id="{CBB35144-164C-47E4-94DB-37831211BD7E}"/>
                </a:ext>
              </a:extLst>
            </p:cNvPr>
            <p:cNvGrpSpPr/>
            <p:nvPr/>
          </p:nvGrpSpPr>
          <p:grpSpPr bwMode="gray">
            <a:xfrm>
              <a:off x="313605" y="5178720"/>
              <a:ext cx="3351464" cy="975380"/>
              <a:chOff x="-2150864" y="3258910"/>
              <a:chExt cx="3578561" cy="861868"/>
            </a:xfrm>
            <a:solidFill>
              <a:schemeClr val="bg1"/>
            </a:solidFill>
          </p:grpSpPr>
          <p:sp>
            <p:nvSpPr>
              <p:cNvPr id="73" name="_s1032">
                <a:extLst>
                  <a:ext uri="{FF2B5EF4-FFF2-40B4-BE49-F238E27FC236}">
                    <a16:creationId xmlns:a16="http://schemas.microsoft.com/office/drawing/2014/main" id="{C14D0E12-FBF8-42FC-A82D-97A48B138396}"/>
                  </a:ext>
                </a:extLst>
              </p:cNvPr>
              <p:cNvSpPr>
                <a:spLocks noChangeArrowheads="1" noTextEdit="1"/>
              </p:cNvSpPr>
              <p:nvPr/>
            </p:nvSpPr>
            <p:spPr bwMode="gray">
              <a:xfrm>
                <a:off x="604737" y="3283153"/>
                <a:ext cx="822960" cy="822960"/>
              </a:xfrm>
              <a:prstGeom prst="ellipse">
                <a:avLst/>
              </a:prstGeom>
              <a:grpFill/>
              <a:ln w="4699">
                <a:solidFill>
                  <a:srgbClr val="A79993"/>
                </a:solidFill>
                <a:round/>
                <a:headEnd/>
                <a:tailEnd/>
              </a:ln>
              <a:effectLst>
                <a:outerShdw blurRad="50800" dist="38100" dir="18900000" algn="bl" rotWithShape="0">
                  <a:prstClr val="black">
                    <a:alpha val="40000"/>
                  </a:prstClr>
                </a:outerShdw>
              </a:effectLst>
            </p:spPr>
            <p:txBody>
              <a:bodyPr lIns="0" tIns="0" rIns="0" bIns="0" anchor="ctr"/>
              <a:lstStyle/>
              <a:p>
                <a:pPr marL="0" marR="0" lvl="0" indent="0" algn="l" defTabSz="416966" rtl="0" eaLnBrk="1" fontAlgn="auto" latinLnBrk="0" hangingPunct="1">
                  <a:lnSpc>
                    <a:spcPct val="100000"/>
                  </a:lnSpc>
                  <a:spcBef>
                    <a:spcPts val="0"/>
                  </a:spcBef>
                  <a:spcAft>
                    <a:spcPts val="0"/>
                  </a:spcAft>
                  <a:buClrTx/>
                  <a:buSzTx/>
                  <a:buFontTx/>
                  <a:buNone/>
                  <a:tabLst/>
                  <a:defRPr/>
                </a:pPr>
                <a:endParaRPr kumimoji="0" lang="en-US" sz="1642"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_s1032">
                <a:extLst>
                  <a:ext uri="{FF2B5EF4-FFF2-40B4-BE49-F238E27FC236}">
                    <a16:creationId xmlns:a16="http://schemas.microsoft.com/office/drawing/2014/main" id="{B948544F-E2D4-4B0D-8469-0D2CC725EB6A}"/>
                  </a:ext>
                </a:extLst>
              </p:cNvPr>
              <p:cNvSpPr>
                <a:spLocks noChangeArrowheads="1" noTextEdit="1"/>
              </p:cNvSpPr>
              <p:nvPr/>
            </p:nvSpPr>
            <p:spPr bwMode="gray">
              <a:xfrm>
                <a:off x="-58077" y="3258910"/>
                <a:ext cx="822960" cy="822960"/>
              </a:xfrm>
              <a:prstGeom prst="ellipse">
                <a:avLst/>
              </a:prstGeom>
              <a:grpFill/>
              <a:ln w="4699">
                <a:solidFill>
                  <a:srgbClr val="A79993"/>
                </a:solidFill>
                <a:round/>
                <a:headEnd/>
                <a:tailEnd/>
              </a:ln>
              <a:effectLst>
                <a:outerShdw blurRad="50800" dist="38100" dir="18900000" algn="bl" rotWithShape="0">
                  <a:prstClr val="black">
                    <a:alpha val="40000"/>
                  </a:prstClr>
                </a:outerShdw>
              </a:effectLst>
            </p:spPr>
            <p:txBody>
              <a:bodyPr lIns="0" tIns="0" rIns="0" bIns="0" anchor="ctr"/>
              <a:lstStyle/>
              <a:p>
                <a:pPr marL="0" marR="0" lvl="0" indent="0" algn="l" defTabSz="416966" rtl="0" eaLnBrk="1" fontAlgn="auto" latinLnBrk="0" hangingPunct="1">
                  <a:lnSpc>
                    <a:spcPct val="100000"/>
                  </a:lnSpc>
                  <a:spcBef>
                    <a:spcPts val="0"/>
                  </a:spcBef>
                  <a:spcAft>
                    <a:spcPts val="0"/>
                  </a:spcAft>
                  <a:buClrTx/>
                  <a:buSzTx/>
                  <a:buFontTx/>
                  <a:buNone/>
                  <a:tabLst/>
                  <a:defRPr/>
                </a:pPr>
                <a:endParaRPr kumimoji="0" lang="en-US" sz="1642"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_s1032">
                <a:extLst>
                  <a:ext uri="{FF2B5EF4-FFF2-40B4-BE49-F238E27FC236}">
                    <a16:creationId xmlns:a16="http://schemas.microsoft.com/office/drawing/2014/main" id="{97417AC2-73CD-4CDD-BB43-4C82D79BE862}"/>
                  </a:ext>
                </a:extLst>
              </p:cNvPr>
              <p:cNvSpPr>
                <a:spLocks noChangeArrowheads="1" noTextEdit="1"/>
              </p:cNvSpPr>
              <p:nvPr/>
            </p:nvSpPr>
            <p:spPr bwMode="gray">
              <a:xfrm>
                <a:off x="-778742" y="3283976"/>
                <a:ext cx="822960" cy="822960"/>
              </a:xfrm>
              <a:prstGeom prst="ellipse">
                <a:avLst/>
              </a:prstGeom>
              <a:grpFill/>
              <a:ln w="4699">
                <a:solidFill>
                  <a:srgbClr val="A79993"/>
                </a:solidFill>
                <a:round/>
                <a:headEnd/>
                <a:tailEnd/>
              </a:ln>
              <a:effectLst>
                <a:outerShdw blurRad="50800" dist="38100" dir="18900000" algn="bl" rotWithShape="0">
                  <a:prstClr val="black">
                    <a:alpha val="40000"/>
                  </a:prstClr>
                </a:outerShdw>
              </a:effectLst>
            </p:spPr>
            <p:txBody>
              <a:bodyPr lIns="0" tIns="0" rIns="0" bIns="0" anchor="ctr"/>
              <a:lstStyle/>
              <a:p>
                <a:pPr marL="0" marR="0" lvl="0" indent="0" algn="l" defTabSz="416966" rtl="0" eaLnBrk="1" fontAlgn="auto" latinLnBrk="0" hangingPunct="1">
                  <a:lnSpc>
                    <a:spcPct val="100000"/>
                  </a:lnSpc>
                  <a:spcBef>
                    <a:spcPts val="0"/>
                  </a:spcBef>
                  <a:spcAft>
                    <a:spcPts val="0"/>
                  </a:spcAft>
                  <a:buClrTx/>
                  <a:buSzTx/>
                  <a:buFontTx/>
                  <a:buNone/>
                  <a:tabLst/>
                  <a:defRPr/>
                </a:pPr>
                <a:endParaRPr kumimoji="0" lang="en-US" sz="1642"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_s1032">
                <a:extLst>
                  <a:ext uri="{FF2B5EF4-FFF2-40B4-BE49-F238E27FC236}">
                    <a16:creationId xmlns:a16="http://schemas.microsoft.com/office/drawing/2014/main" id="{94989104-5AD5-4D54-BEAE-CDAF43588215}"/>
                  </a:ext>
                </a:extLst>
              </p:cNvPr>
              <p:cNvSpPr>
                <a:spLocks noChangeArrowheads="1" noTextEdit="1"/>
              </p:cNvSpPr>
              <p:nvPr/>
            </p:nvSpPr>
            <p:spPr bwMode="gray">
              <a:xfrm>
                <a:off x="-1457832" y="3287731"/>
                <a:ext cx="822960" cy="822960"/>
              </a:xfrm>
              <a:prstGeom prst="ellipse">
                <a:avLst/>
              </a:prstGeom>
              <a:grpFill/>
              <a:ln w="4699">
                <a:solidFill>
                  <a:srgbClr val="A79993"/>
                </a:solidFill>
                <a:round/>
                <a:headEnd/>
                <a:tailEnd/>
              </a:ln>
              <a:effectLst>
                <a:outerShdw blurRad="50800" dist="38100" dir="18900000" algn="bl" rotWithShape="0">
                  <a:prstClr val="black">
                    <a:alpha val="40000"/>
                  </a:prstClr>
                </a:outerShdw>
              </a:effectLst>
            </p:spPr>
            <p:txBody>
              <a:bodyPr lIns="0" tIns="0" rIns="0" bIns="0" anchor="ctr"/>
              <a:lstStyle/>
              <a:p>
                <a:pPr marL="0" marR="0" lvl="0" indent="0" algn="l" defTabSz="416966" rtl="0" eaLnBrk="1" fontAlgn="auto" latinLnBrk="0" hangingPunct="1">
                  <a:lnSpc>
                    <a:spcPct val="100000"/>
                  </a:lnSpc>
                  <a:spcBef>
                    <a:spcPts val="0"/>
                  </a:spcBef>
                  <a:spcAft>
                    <a:spcPts val="0"/>
                  </a:spcAft>
                  <a:buClrTx/>
                  <a:buSzTx/>
                  <a:buFontTx/>
                  <a:buNone/>
                  <a:tabLst/>
                  <a:defRPr/>
                </a:pPr>
                <a:endParaRPr kumimoji="0" lang="en-US" sz="1642"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_s1032">
                <a:extLst>
                  <a:ext uri="{FF2B5EF4-FFF2-40B4-BE49-F238E27FC236}">
                    <a16:creationId xmlns:a16="http://schemas.microsoft.com/office/drawing/2014/main" id="{E489EDE1-E15E-4654-8D49-90FB1E6E44C0}"/>
                  </a:ext>
                </a:extLst>
              </p:cNvPr>
              <p:cNvSpPr>
                <a:spLocks noChangeArrowheads="1" noTextEdit="1"/>
              </p:cNvSpPr>
              <p:nvPr/>
            </p:nvSpPr>
            <p:spPr bwMode="gray">
              <a:xfrm>
                <a:off x="-2150864" y="3297818"/>
                <a:ext cx="822960" cy="822960"/>
              </a:xfrm>
              <a:prstGeom prst="ellipse">
                <a:avLst/>
              </a:prstGeom>
              <a:grpFill/>
              <a:ln w="4699">
                <a:solidFill>
                  <a:srgbClr val="A79993"/>
                </a:solidFill>
                <a:round/>
                <a:headEnd/>
                <a:tailEnd/>
              </a:ln>
              <a:effectLst>
                <a:outerShdw blurRad="50800" dist="38100" dir="18900000" algn="bl" rotWithShape="0">
                  <a:prstClr val="black">
                    <a:alpha val="40000"/>
                  </a:prstClr>
                </a:outerShdw>
              </a:effectLst>
            </p:spPr>
            <p:txBody>
              <a:bodyPr lIns="0" tIns="0" rIns="0" bIns="0" anchor="ctr"/>
              <a:lstStyle/>
              <a:p>
                <a:pPr marL="0" marR="0" lvl="0" indent="0" algn="l" defTabSz="416966" rtl="0" eaLnBrk="1" fontAlgn="auto" latinLnBrk="0" hangingPunct="1">
                  <a:lnSpc>
                    <a:spcPct val="100000"/>
                  </a:lnSpc>
                  <a:spcBef>
                    <a:spcPts val="0"/>
                  </a:spcBef>
                  <a:spcAft>
                    <a:spcPts val="0"/>
                  </a:spcAft>
                  <a:buClrTx/>
                  <a:buSzTx/>
                  <a:buFontTx/>
                  <a:buNone/>
                  <a:tabLst/>
                  <a:defRPr/>
                </a:pPr>
                <a:endParaRPr kumimoji="0" lang="en-US" sz="1642"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Text Box 47">
                <a:extLst>
                  <a:ext uri="{FF2B5EF4-FFF2-40B4-BE49-F238E27FC236}">
                    <a16:creationId xmlns:a16="http://schemas.microsoft.com/office/drawing/2014/main" id="{9AE546DC-B720-487D-B7AC-03C5E4269C1B}"/>
                  </a:ext>
                </a:extLst>
              </p:cNvPr>
              <p:cNvSpPr txBox="1">
                <a:spLocks noChangeArrowheads="1"/>
              </p:cNvSpPr>
              <p:nvPr/>
            </p:nvSpPr>
            <p:spPr bwMode="gray">
              <a:xfrm>
                <a:off x="-2066599" y="3557527"/>
                <a:ext cx="650759" cy="299154"/>
              </a:xfrm>
              <a:prstGeom prst="rect">
                <a:avLst/>
              </a:prstGeom>
              <a:grpFill/>
              <a:ln w="9525">
                <a:noFill/>
                <a:miter lim="800000"/>
                <a:headEnd/>
                <a:tailEnd/>
              </a:ln>
            </p:spPr>
            <p:txBody>
              <a:bodyPr wrap="none">
                <a:spAutoFit/>
              </a:bodyPr>
              <a:lstStyle/>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Data </a:t>
                </a:r>
              </a:p>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Collection</a:t>
                </a:r>
              </a:p>
            </p:txBody>
          </p:sp>
          <p:sp>
            <p:nvSpPr>
              <p:cNvPr id="79" name="Text Box 47">
                <a:extLst>
                  <a:ext uri="{FF2B5EF4-FFF2-40B4-BE49-F238E27FC236}">
                    <a16:creationId xmlns:a16="http://schemas.microsoft.com/office/drawing/2014/main" id="{2996C600-7601-46A2-814F-788AB49FB709}"/>
                  </a:ext>
                </a:extLst>
              </p:cNvPr>
              <p:cNvSpPr txBox="1">
                <a:spLocks noChangeArrowheads="1"/>
              </p:cNvSpPr>
              <p:nvPr/>
            </p:nvSpPr>
            <p:spPr bwMode="gray">
              <a:xfrm>
                <a:off x="-1357724" y="3561941"/>
                <a:ext cx="673012" cy="299154"/>
              </a:xfrm>
              <a:prstGeom prst="rect">
                <a:avLst/>
              </a:prstGeom>
              <a:noFill/>
              <a:ln w="9525">
                <a:noFill/>
                <a:miter lim="800000"/>
                <a:headEnd/>
                <a:tailEnd/>
              </a:ln>
            </p:spPr>
            <p:txBody>
              <a:bodyPr wrap="none">
                <a:spAutoFit/>
              </a:bodyPr>
              <a:lstStyle/>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Data Filter</a:t>
                </a:r>
              </a:p>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amp; Analysis</a:t>
                </a:r>
              </a:p>
            </p:txBody>
          </p:sp>
          <p:sp>
            <p:nvSpPr>
              <p:cNvPr id="80" name="Text Box 47">
                <a:extLst>
                  <a:ext uri="{FF2B5EF4-FFF2-40B4-BE49-F238E27FC236}">
                    <a16:creationId xmlns:a16="http://schemas.microsoft.com/office/drawing/2014/main" id="{EDE6A885-E7C6-4267-A87D-B20DBB2412DB}"/>
                  </a:ext>
                </a:extLst>
              </p:cNvPr>
              <p:cNvSpPr txBox="1">
                <a:spLocks noChangeArrowheads="1"/>
              </p:cNvSpPr>
              <p:nvPr/>
            </p:nvSpPr>
            <p:spPr bwMode="gray">
              <a:xfrm>
                <a:off x="-699830" y="3574556"/>
                <a:ext cx="724359" cy="299154"/>
              </a:xfrm>
              <a:prstGeom prst="rect">
                <a:avLst/>
              </a:prstGeom>
              <a:noFill/>
              <a:ln w="9525">
                <a:noFill/>
                <a:miter lim="800000"/>
                <a:headEnd/>
                <a:tailEnd/>
              </a:ln>
            </p:spPr>
            <p:txBody>
              <a:bodyPr wrap="none">
                <a:spAutoFit/>
              </a:bodyPr>
              <a:lstStyle/>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Research &amp;</a:t>
                </a:r>
              </a:p>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Intelligence</a:t>
                </a:r>
              </a:p>
            </p:txBody>
          </p:sp>
          <p:sp>
            <p:nvSpPr>
              <p:cNvPr id="81" name="Text Box 47">
                <a:extLst>
                  <a:ext uri="{FF2B5EF4-FFF2-40B4-BE49-F238E27FC236}">
                    <a16:creationId xmlns:a16="http://schemas.microsoft.com/office/drawing/2014/main" id="{CC75E875-6316-4FF8-B4C6-C79F71161006}"/>
                  </a:ext>
                </a:extLst>
              </p:cNvPr>
              <p:cNvSpPr txBox="1">
                <a:spLocks noChangeArrowheads="1"/>
              </p:cNvSpPr>
              <p:nvPr/>
            </p:nvSpPr>
            <p:spPr bwMode="gray">
              <a:xfrm>
                <a:off x="41043" y="3556770"/>
                <a:ext cx="686705" cy="299154"/>
              </a:xfrm>
              <a:prstGeom prst="rect">
                <a:avLst/>
              </a:prstGeom>
              <a:noFill/>
              <a:ln w="9525">
                <a:noFill/>
                <a:miter lim="800000"/>
                <a:headEnd/>
                <a:tailEnd/>
              </a:ln>
            </p:spPr>
            <p:txBody>
              <a:bodyPr wrap="none">
                <a:spAutoFit/>
              </a:bodyPr>
              <a:lstStyle/>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Actionable</a:t>
                </a:r>
              </a:p>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Insights</a:t>
                </a:r>
              </a:p>
            </p:txBody>
          </p:sp>
          <p:sp>
            <p:nvSpPr>
              <p:cNvPr id="82" name="Text Box 47">
                <a:extLst>
                  <a:ext uri="{FF2B5EF4-FFF2-40B4-BE49-F238E27FC236}">
                    <a16:creationId xmlns:a16="http://schemas.microsoft.com/office/drawing/2014/main" id="{DCE44972-6935-4FCA-A31E-2D3013A1FABC}"/>
                  </a:ext>
                </a:extLst>
              </p:cNvPr>
              <p:cNvSpPr txBox="1">
                <a:spLocks noChangeArrowheads="1"/>
              </p:cNvSpPr>
              <p:nvPr/>
            </p:nvSpPr>
            <p:spPr bwMode="gray">
              <a:xfrm>
                <a:off x="765259" y="3561941"/>
                <a:ext cx="590854" cy="299154"/>
              </a:xfrm>
              <a:prstGeom prst="rect">
                <a:avLst/>
              </a:prstGeom>
              <a:noFill/>
              <a:ln w="9525">
                <a:noFill/>
                <a:miter lim="800000"/>
                <a:headEnd/>
                <a:tailEnd/>
              </a:ln>
            </p:spPr>
            <p:txBody>
              <a:bodyPr wrap="none">
                <a:spAutoFit/>
              </a:bodyPr>
              <a:lstStyle/>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Business</a:t>
                </a:r>
              </a:p>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Solution</a:t>
                </a:r>
              </a:p>
            </p:txBody>
          </p:sp>
        </p:grpSp>
        <p:cxnSp>
          <p:nvCxnSpPr>
            <p:cNvPr id="55" name="Straight Connector 54">
              <a:extLst>
                <a:ext uri="{FF2B5EF4-FFF2-40B4-BE49-F238E27FC236}">
                  <a16:creationId xmlns:a16="http://schemas.microsoft.com/office/drawing/2014/main" id="{818B7C3B-A2A3-4370-8C7B-4AF65ECF8FA3}"/>
                </a:ext>
              </a:extLst>
            </p:cNvPr>
            <p:cNvCxnSpPr>
              <a:cxnSpLocks/>
            </p:cNvCxnSpPr>
            <p:nvPr/>
          </p:nvCxnSpPr>
          <p:spPr>
            <a:xfrm>
              <a:off x="3955742" y="3501431"/>
              <a:ext cx="1587808" cy="0"/>
            </a:xfrm>
            <a:prstGeom prst="line">
              <a:avLst/>
            </a:prstGeom>
            <a:ln>
              <a:solidFill>
                <a:schemeClr val="accent4">
                  <a:lumMod val="40000"/>
                  <a:lumOff val="60000"/>
                </a:schemeClr>
              </a:solidFill>
            </a:ln>
            <a:effectLst>
              <a:outerShdw blurRad="50800" dist="38100" dir="16200000"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9E5556A-1DA8-418E-89CB-7FF9E71665E6}"/>
                </a:ext>
              </a:extLst>
            </p:cNvPr>
            <p:cNvCxnSpPr>
              <a:cxnSpLocks/>
            </p:cNvCxnSpPr>
            <p:nvPr/>
          </p:nvCxnSpPr>
          <p:spPr>
            <a:xfrm flipV="1">
              <a:off x="5620767" y="3501431"/>
              <a:ext cx="1811678" cy="528"/>
            </a:xfrm>
            <a:prstGeom prst="line">
              <a:avLst/>
            </a:prstGeom>
            <a:ln>
              <a:solidFill>
                <a:schemeClr val="accent2">
                  <a:lumMod val="60000"/>
                  <a:lumOff val="40000"/>
                </a:schemeClr>
              </a:solidFill>
            </a:ln>
            <a:effectLst>
              <a:outerShdw blurRad="50800" dist="38100" dir="16200000"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2560DCAF-AF82-4499-913B-019297600EAD}"/>
                </a:ext>
              </a:extLst>
            </p:cNvPr>
            <p:cNvCxnSpPr>
              <a:cxnSpLocks/>
            </p:cNvCxnSpPr>
            <p:nvPr/>
          </p:nvCxnSpPr>
          <p:spPr>
            <a:xfrm flipV="1">
              <a:off x="7319989" y="3501431"/>
              <a:ext cx="1644746" cy="5509"/>
            </a:xfrm>
            <a:prstGeom prst="line">
              <a:avLst/>
            </a:prstGeom>
            <a:ln>
              <a:solidFill>
                <a:schemeClr val="accent6">
                  <a:lumMod val="75000"/>
                </a:schemeClr>
              </a:solidFill>
            </a:ln>
            <a:effectLst>
              <a:outerShdw blurRad="50800" dist="38100" dir="16200000"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C317B91F-9C5C-4AEA-83F9-960126BD8013}"/>
                </a:ext>
              </a:extLst>
            </p:cNvPr>
            <p:cNvSpPr txBox="1"/>
            <p:nvPr/>
          </p:nvSpPr>
          <p:spPr>
            <a:xfrm>
              <a:off x="4036387" y="3260048"/>
              <a:ext cx="132398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Primary Research</a:t>
              </a:r>
            </a:p>
          </p:txBody>
        </p:sp>
        <p:sp>
          <p:nvSpPr>
            <p:cNvPr id="59" name="Oval 58">
              <a:extLst>
                <a:ext uri="{FF2B5EF4-FFF2-40B4-BE49-F238E27FC236}">
                  <a16:creationId xmlns:a16="http://schemas.microsoft.com/office/drawing/2014/main" id="{36D49FA1-5401-4FC8-A1C4-4520FB64B834}"/>
                </a:ext>
              </a:extLst>
            </p:cNvPr>
            <p:cNvSpPr/>
            <p:nvPr/>
          </p:nvSpPr>
          <p:spPr>
            <a:xfrm>
              <a:off x="3883881" y="3315579"/>
              <a:ext cx="246257" cy="267699"/>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Oval 59">
              <a:extLst>
                <a:ext uri="{FF2B5EF4-FFF2-40B4-BE49-F238E27FC236}">
                  <a16:creationId xmlns:a16="http://schemas.microsoft.com/office/drawing/2014/main" id="{B9202DD2-0F0E-4D25-88FA-6AF9FCB56899}"/>
                </a:ext>
              </a:extLst>
            </p:cNvPr>
            <p:cNvSpPr/>
            <p:nvPr/>
          </p:nvSpPr>
          <p:spPr>
            <a:xfrm>
              <a:off x="5528796" y="3303877"/>
              <a:ext cx="246257" cy="267699"/>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a:extLst>
                <a:ext uri="{FF2B5EF4-FFF2-40B4-BE49-F238E27FC236}">
                  <a16:creationId xmlns:a16="http://schemas.microsoft.com/office/drawing/2014/main" id="{4154A14F-5B0A-4AD8-86E5-3D17A8FB695F}"/>
                </a:ext>
              </a:extLst>
            </p:cNvPr>
            <p:cNvSpPr/>
            <p:nvPr/>
          </p:nvSpPr>
          <p:spPr>
            <a:xfrm>
              <a:off x="7208912" y="3322811"/>
              <a:ext cx="246257" cy="267699"/>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2" name="TextBox 61">
              <a:extLst>
                <a:ext uri="{FF2B5EF4-FFF2-40B4-BE49-F238E27FC236}">
                  <a16:creationId xmlns:a16="http://schemas.microsoft.com/office/drawing/2014/main" id="{8B49B2FF-7217-4A6D-BF18-7C35A3A87DE5}"/>
                </a:ext>
              </a:extLst>
            </p:cNvPr>
            <p:cNvSpPr txBox="1"/>
            <p:nvPr/>
          </p:nvSpPr>
          <p:spPr>
            <a:xfrm>
              <a:off x="5013864" y="3270211"/>
              <a:ext cx="2611703"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Desk Research </a:t>
              </a:r>
            </a:p>
          </p:txBody>
        </p:sp>
        <p:sp>
          <p:nvSpPr>
            <p:cNvPr id="63" name="TextBox 62">
              <a:extLst>
                <a:ext uri="{FF2B5EF4-FFF2-40B4-BE49-F238E27FC236}">
                  <a16:creationId xmlns:a16="http://schemas.microsoft.com/office/drawing/2014/main" id="{104B2E44-1B06-4016-A95B-AFF369776C2D}"/>
                </a:ext>
              </a:extLst>
            </p:cNvPr>
            <p:cNvSpPr txBox="1"/>
            <p:nvPr/>
          </p:nvSpPr>
          <p:spPr>
            <a:xfrm>
              <a:off x="7140008" y="3271392"/>
              <a:ext cx="1940235"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Company Analysis</a:t>
              </a:r>
            </a:p>
          </p:txBody>
        </p:sp>
        <p:sp>
          <p:nvSpPr>
            <p:cNvPr id="64" name="Rectangle 62">
              <a:extLst>
                <a:ext uri="{FF2B5EF4-FFF2-40B4-BE49-F238E27FC236}">
                  <a16:creationId xmlns:a16="http://schemas.microsoft.com/office/drawing/2014/main" id="{E9F57192-F833-49C1-8078-516B3CCDAAF1}"/>
                </a:ext>
              </a:extLst>
            </p:cNvPr>
            <p:cNvSpPr>
              <a:spLocks noChangeArrowheads="1"/>
            </p:cNvSpPr>
            <p:nvPr/>
          </p:nvSpPr>
          <p:spPr bwMode="gray">
            <a:xfrm>
              <a:off x="5870231" y="3566997"/>
              <a:ext cx="1599008" cy="897555"/>
            </a:xfrm>
            <a:prstGeom prst="rect">
              <a:avLst/>
            </a:prstGeom>
            <a:noFill/>
            <a:ln w="9525">
              <a:noFill/>
              <a:miter lim="800000"/>
              <a:headEnd/>
              <a:tailEnd/>
            </a:ln>
          </p:spPr>
          <p:txBody>
            <a:bodyPr wrap="square" lIns="0" tIns="0" rIns="0" bIns="0" anchor="ctr">
              <a:spAutoFit/>
            </a:bodyPr>
            <a:lstStyle/>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Recent Developments</a:t>
              </a:r>
            </a:p>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Market Changing Aspects/Dynamics</a:t>
              </a:r>
            </a:p>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Government Policies</a:t>
              </a:r>
            </a:p>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Final Conclusion</a:t>
              </a:r>
            </a:p>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endPar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endParaRPr>
            </a:p>
          </p:txBody>
        </p:sp>
        <p:sp>
          <p:nvSpPr>
            <p:cNvPr id="65" name="Rectangle 62">
              <a:extLst>
                <a:ext uri="{FF2B5EF4-FFF2-40B4-BE49-F238E27FC236}">
                  <a16:creationId xmlns:a16="http://schemas.microsoft.com/office/drawing/2014/main" id="{A37B08A5-09A4-4A4D-B73F-674FE0CB0A22}"/>
                </a:ext>
              </a:extLst>
            </p:cNvPr>
            <p:cNvSpPr>
              <a:spLocks noChangeArrowheads="1"/>
            </p:cNvSpPr>
            <p:nvPr/>
          </p:nvSpPr>
          <p:spPr bwMode="gray">
            <a:xfrm>
              <a:off x="7528207" y="3592595"/>
              <a:ext cx="1436528" cy="291811"/>
            </a:xfrm>
            <a:prstGeom prst="rect">
              <a:avLst/>
            </a:prstGeom>
            <a:noFill/>
            <a:ln w="9525">
              <a:noFill/>
              <a:miter lim="800000"/>
              <a:headEnd/>
              <a:tailEnd/>
            </a:ln>
          </p:spPr>
          <p:txBody>
            <a:bodyPr wrap="square" lIns="0" tIns="0" rIns="0" bIns="0" anchor="ctr">
              <a:spAutoFit/>
            </a:bodyPr>
            <a:lstStyle/>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Market Participants</a:t>
              </a:r>
            </a:p>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Key Strengths</a:t>
              </a:r>
            </a:p>
          </p:txBody>
        </p:sp>
        <p:grpSp>
          <p:nvGrpSpPr>
            <p:cNvPr id="66" name="Group 65">
              <a:extLst>
                <a:ext uri="{FF2B5EF4-FFF2-40B4-BE49-F238E27FC236}">
                  <a16:creationId xmlns:a16="http://schemas.microsoft.com/office/drawing/2014/main" id="{397FCB65-A525-4B3B-AB25-D3075B08257E}"/>
                </a:ext>
              </a:extLst>
            </p:cNvPr>
            <p:cNvGrpSpPr/>
            <p:nvPr/>
          </p:nvGrpSpPr>
          <p:grpSpPr>
            <a:xfrm>
              <a:off x="4285820" y="4838146"/>
              <a:ext cx="4095517" cy="1430553"/>
              <a:chOff x="4186796" y="5781513"/>
              <a:chExt cx="3703350" cy="1293570"/>
            </a:xfrm>
          </p:grpSpPr>
          <p:sp>
            <p:nvSpPr>
              <p:cNvPr id="67" name="TextBox 66">
                <a:extLst>
                  <a:ext uri="{FF2B5EF4-FFF2-40B4-BE49-F238E27FC236}">
                    <a16:creationId xmlns:a16="http://schemas.microsoft.com/office/drawing/2014/main" id="{FEA86E04-8E9D-4413-929F-8A4FD6C747C2}"/>
                  </a:ext>
                </a:extLst>
              </p:cNvPr>
              <p:cNvSpPr txBox="1"/>
              <p:nvPr/>
            </p:nvSpPr>
            <p:spPr bwMode="gray">
              <a:xfrm>
                <a:off x="4186796" y="6114062"/>
                <a:ext cx="1097725" cy="375712"/>
              </a:xfrm>
              <a:prstGeom prst="rect">
                <a:avLst/>
              </a:prstGeom>
              <a:solidFill>
                <a:schemeClr val="bg1"/>
              </a:solidFill>
              <a:effectLst>
                <a:outerShdw blurRad="50800" dist="38100" dir="18900000" algn="bl" rotWithShape="0">
                  <a:prstClr val="black">
                    <a:alpha val="40000"/>
                  </a:prstClr>
                </a:outerShdw>
              </a:effectLst>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LinkedIn</a:t>
                </a:r>
              </a:p>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ChemAnalyst Internal Database</a:t>
                </a:r>
              </a:p>
            </p:txBody>
          </p:sp>
          <p:sp>
            <p:nvSpPr>
              <p:cNvPr id="68" name="TextBox 67">
                <a:extLst>
                  <a:ext uri="{FF2B5EF4-FFF2-40B4-BE49-F238E27FC236}">
                    <a16:creationId xmlns:a16="http://schemas.microsoft.com/office/drawing/2014/main" id="{E419322D-607F-44FE-9C93-2C218B504D4F}"/>
                  </a:ext>
                </a:extLst>
              </p:cNvPr>
              <p:cNvSpPr txBox="1"/>
              <p:nvPr/>
            </p:nvSpPr>
            <p:spPr bwMode="gray">
              <a:xfrm>
                <a:off x="6700895" y="6119258"/>
                <a:ext cx="1189251" cy="278306"/>
              </a:xfrm>
              <a:prstGeom prst="rect">
                <a:avLst/>
              </a:prstGeom>
              <a:solidFill>
                <a:schemeClr val="bg1"/>
              </a:solidFill>
              <a:effectLst>
                <a:outerShdw blurRad="50800" dist="38100" dir="18900000" algn="bl" rotWithShape="0">
                  <a:prstClr val="black">
                    <a:alpha val="40000"/>
                  </a:prstClr>
                </a:outerShdw>
              </a:effectLst>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Factiva</a:t>
                </a:r>
              </a:p>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Hoovers</a:t>
                </a:r>
              </a:p>
            </p:txBody>
          </p:sp>
          <p:sp>
            <p:nvSpPr>
              <p:cNvPr id="69" name="TextBox 68">
                <a:extLst>
                  <a:ext uri="{FF2B5EF4-FFF2-40B4-BE49-F238E27FC236}">
                    <a16:creationId xmlns:a16="http://schemas.microsoft.com/office/drawing/2014/main" id="{FACC8C08-545B-45C7-A5AF-9AF20EDC51AF}"/>
                  </a:ext>
                </a:extLst>
              </p:cNvPr>
              <p:cNvSpPr txBox="1"/>
              <p:nvPr/>
            </p:nvSpPr>
            <p:spPr bwMode="gray">
              <a:xfrm>
                <a:off x="6700896" y="5781517"/>
                <a:ext cx="1189250" cy="194814"/>
              </a:xfrm>
              <a:prstGeom prst="rect">
                <a:avLst/>
              </a:prstGeom>
              <a:solidFill>
                <a:srgbClr val="A9D18E"/>
              </a:solidFill>
              <a:effectLst>
                <a:outerShdw blurRad="50800" dist="38100" dir="18900000" algn="bl" rotWithShape="0">
                  <a:prstClr val="black">
                    <a:alpha val="40000"/>
                  </a:prst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Paid Sources</a:t>
                </a:r>
                <a:endParaRPr kumimoji="0" lang="en-US" sz="8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70" name="TextBox 69">
                <a:extLst>
                  <a:ext uri="{FF2B5EF4-FFF2-40B4-BE49-F238E27FC236}">
                    <a16:creationId xmlns:a16="http://schemas.microsoft.com/office/drawing/2014/main" id="{8AE7427C-EA4F-4621-B1D6-2A2CDF61B1C0}"/>
                  </a:ext>
                </a:extLst>
              </p:cNvPr>
              <p:cNvSpPr txBox="1"/>
              <p:nvPr/>
            </p:nvSpPr>
            <p:spPr bwMode="gray">
              <a:xfrm>
                <a:off x="5396087" y="6114930"/>
                <a:ext cx="1212838" cy="960153"/>
              </a:xfrm>
              <a:prstGeom prst="rect">
                <a:avLst/>
              </a:prstGeom>
              <a:solidFill>
                <a:schemeClr val="bg1"/>
              </a:solidFill>
              <a:effectLst>
                <a:outerShdw blurRad="50800" dist="38100" dir="18900000" algn="bl" rotWithShape="0">
                  <a:prstClr val="black">
                    <a:alpha val="40000"/>
                  </a:prstClr>
                </a:outerShdw>
              </a:effectLst>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Company Websites</a:t>
                </a:r>
              </a:p>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Company Annual Reports</a:t>
                </a:r>
              </a:p>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White Paper Study</a:t>
                </a:r>
              </a:p>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Financial Reports</a:t>
                </a:r>
              </a:p>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Investor Presentations</a:t>
                </a:r>
              </a:p>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Regulatory Body</a:t>
                </a:r>
              </a:p>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Associations, etc.</a:t>
                </a:r>
              </a:p>
            </p:txBody>
          </p:sp>
          <p:sp>
            <p:nvSpPr>
              <p:cNvPr id="71" name="TextBox 70">
                <a:extLst>
                  <a:ext uri="{FF2B5EF4-FFF2-40B4-BE49-F238E27FC236}">
                    <a16:creationId xmlns:a16="http://schemas.microsoft.com/office/drawing/2014/main" id="{8810B3C9-8BF3-43D5-94C0-AD3890236BE7}"/>
                  </a:ext>
                </a:extLst>
              </p:cNvPr>
              <p:cNvSpPr txBox="1"/>
              <p:nvPr/>
            </p:nvSpPr>
            <p:spPr bwMode="gray">
              <a:xfrm>
                <a:off x="5403663" y="5781514"/>
                <a:ext cx="1205262" cy="306136"/>
              </a:xfrm>
              <a:prstGeom prst="rect">
                <a:avLst/>
              </a:prstGeom>
              <a:solidFill>
                <a:srgbClr val="F4B183"/>
              </a:solidFill>
              <a:effectLst>
                <a:outerShdw blurRad="50800" dist="38100" dir="18900000" algn="bl" rotWithShape="0">
                  <a:prstClr val="black">
                    <a:alpha val="40000"/>
                  </a:prst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Secondary Research</a:t>
                </a:r>
              </a:p>
            </p:txBody>
          </p:sp>
          <p:sp>
            <p:nvSpPr>
              <p:cNvPr id="72" name="TextBox 71">
                <a:extLst>
                  <a:ext uri="{FF2B5EF4-FFF2-40B4-BE49-F238E27FC236}">
                    <a16:creationId xmlns:a16="http://schemas.microsoft.com/office/drawing/2014/main" id="{6021834B-EDF7-45AD-95F7-B0166F572324}"/>
                  </a:ext>
                </a:extLst>
              </p:cNvPr>
              <p:cNvSpPr txBox="1"/>
              <p:nvPr/>
            </p:nvSpPr>
            <p:spPr bwMode="gray">
              <a:xfrm>
                <a:off x="4189390" y="5781513"/>
                <a:ext cx="1097280" cy="194814"/>
              </a:xfrm>
              <a:prstGeom prst="rect">
                <a:avLst/>
              </a:prstGeom>
              <a:solidFill>
                <a:srgbClr val="FFD966"/>
              </a:solidFill>
              <a:effectLst>
                <a:outerShdw blurRad="50800" dist="38100" dir="18900000" algn="bl" rotWithShape="0">
                  <a:prstClr val="black">
                    <a:alpha val="40000"/>
                  </a:prst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Primary Research</a:t>
                </a:r>
              </a:p>
            </p:txBody>
          </p:sp>
        </p:grpSp>
      </p:grpSp>
    </p:spTree>
    <p:extLst>
      <p:ext uri="{BB962C8B-B14F-4D97-AF65-F5344CB8AC3E}">
        <p14:creationId xmlns:p14="http://schemas.microsoft.com/office/powerpoint/2010/main" val="143510375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15">
            <a:extLst>
              <a:ext uri="{FF2B5EF4-FFF2-40B4-BE49-F238E27FC236}">
                <a16:creationId xmlns:a16="http://schemas.microsoft.com/office/drawing/2014/main" id="{E1EB5F70-B455-42A1-A362-145D7598E93B}"/>
              </a:ext>
            </a:extLst>
          </p:cNvPr>
          <p:cNvGraphicFramePr>
            <a:graphicFrameLocks noGrp="1"/>
          </p:cNvGraphicFramePr>
          <p:nvPr/>
        </p:nvGraphicFramePr>
        <p:xfrm>
          <a:off x="205725" y="793207"/>
          <a:ext cx="8507894" cy="3739390"/>
        </p:xfrm>
        <a:graphic>
          <a:graphicData uri="http://schemas.openxmlformats.org/drawingml/2006/table">
            <a:tbl>
              <a:tblPr firstRow="1" bandRow="1">
                <a:tableStyleId>{5C22544A-7EE6-4342-B048-85BDC9FD1C3A}</a:tableStyleId>
              </a:tblPr>
              <a:tblGrid>
                <a:gridCol w="867218">
                  <a:extLst>
                    <a:ext uri="{9D8B030D-6E8A-4147-A177-3AD203B41FA5}">
                      <a16:colId xmlns:a16="http://schemas.microsoft.com/office/drawing/2014/main" val="237066176"/>
                    </a:ext>
                  </a:extLst>
                </a:gridCol>
                <a:gridCol w="1850681">
                  <a:extLst>
                    <a:ext uri="{9D8B030D-6E8A-4147-A177-3AD203B41FA5}">
                      <a16:colId xmlns:a16="http://schemas.microsoft.com/office/drawing/2014/main" val="1013597785"/>
                    </a:ext>
                  </a:extLst>
                </a:gridCol>
                <a:gridCol w="1205590">
                  <a:extLst>
                    <a:ext uri="{9D8B030D-6E8A-4147-A177-3AD203B41FA5}">
                      <a16:colId xmlns:a16="http://schemas.microsoft.com/office/drawing/2014/main" val="4290084818"/>
                    </a:ext>
                  </a:extLst>
                </a:gridCol>
                <a:gridCol w="1528135">
                  <a:extLst>
                    <a:ext uri="{9D8B030D-6E8A-4147-A177-3AD203B41FA5}">
                      <a16:colId xmlns:a16="http://schemas.microsoft.com/office/drawing/2014/main" val="1393602992"/>
                    </a:ext>
                  </a:extLst>
                </a:gridCol>
                <a:gridCol w="1528135">
                  <a:extLst>
                    <a:ext uri="{9D8B030D-6E8A-4147-A177-3AD203B41FA5}">
                      <a16:colId xmlns:a16="http://schemas.microsoft.com/office/drawing/2014/main" val="3955557698"/>
                    </a:ext>
                  </a:extLst>
                </a:gridCol>
                <a:gridCol w="1528135">
                  <a:extLst>
                    <a:ext uri="{9D8B030D-6E8A-4147-A177-3AD203B41FA5}">
                      <a16:colId xmlns:a16="http://schemas.microsoft.com/office/drawing/2014/main" val="2529049495"/>
                    </a:ext>
                  </a:extLst>
                </a:gridCol>
              </a:tblGrid>
              <a:tr h="9893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050" dirty="0">
                          <a:latin typeface="Verdana" panose="020B0604030504040204" pitchFamily="34" charset="0"/>
                          <a:ea typeface="Verdana" panose="020B0604030504040204" pitchFamily="34" charset="0"/>
                          <a:cs typeface="Verdana" panose="020B0604030504040204" pitchFamily="34" charset="0"/>
                        </a:rPr>
                        <a:t>S. No</a:t>
                      </a:r>
                    </a:p>
                    <a:p>
                      <a:endParaRPr lang="en-IN" sz="105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50" b="1" dirty="0">
                          <a:latin typeface="Verdana" panose="020B0604030504040204" pitchFamily="34" charset="0"/>
                          <a:ea typeface="Verdana" panose="020B0604030504040204" pitchFamily="34" charset="0"/>
                          <a:cs typeface="Verdana" panose="020B0604030504040204" pitchFamily="34" charset="0"/>
                        </a:rPr>
                        <a:t>Country</a:t>
                      </a:r>
                    </a:p>
                    <a:p>
                      <a:endParaRPr lang="en-IN" sz="1050" dirty="0">
                        <a:latin typeface="Verdana" panose="020B0604030504040204" pitchFamily="34" charset="0"/>
                        <a:ea typeface="Verdana" panose="020B0604030504040204" pitchFamily="34" charset="0"/>
                        <a:cs typeface="Verdana" panose="020B0604030504040204" pitchFamily="34" charset="0"/>
                      </a:endParaRPr>
                    </a:p>
                  </a:txBody>
                  <a:tcPr/>
                </a:tc>
                <a:tc gridSpan="2">
                  <a:txBody>
                    <a:bodyPr/>
                    <a:lstStyle/>
                    <a:p>
                      <a:r>
                        <a:rPr lang="en-IN" sz="1050" dirty="0">
                          <a:latin typeface="Verdana" panose="020B0604030504040204" pitchFamily="34" charset="0"/>
                          <a:ea typeface="Verdana" panose="020B0604030504040204" pitchFamily="34" charset="0"/>
                          <a:cs typeface="Verdana" panose="020B0604030504040204" pitchFamily="34" charset="0"/>
                        </a:rPr>
                        <a:t>                   Import</a:t>
                      </a:r>
                    </a:p>
                    <a:p>
                      <a:endParaRPr lang="en-IN" sz="1050" dirty="0">
                        <a:latin typeface="Verdana" panose="020B0604030504040204" pitchFamily="34" charset="0"/>
                        <a:ea typeface="Verdana" panose="020B0604030504040204" pitchFamily="34" charset="0"/>
                        <a:cs typeface="Verdana" panose="020B0604030504040204" pitchFamily="34" charset="0"/>
                      </a:endParaRPr>
                    </a:p>
                    <a:p>
                      <a:endParaRPr lang="en-IN" sz="1050" dirty="0">
                        <a:latin typeface="Verdana" panose="020B0604030504040204" pitchFamily="34" charset="0"/>
                        <a:ea typeface="Verdana" panose="020B0604030504040204" pitchFamily="34" charset="0"/>
                        <a:cs typeface="Verdana" panose="020B0604030504040204" pitchFamily="34" charset="0"/>
                      </a:endParaRPr>
                    </a:p>
                    <a:p>
                      <a:endParaRPr lang="en-IN" sz="1050" dirty="0">
                        <a:latin typeface="Verdana" panose="020B0604030504040204" pitchFamily="34" charset="0"/>
                        <a:ea typeface="Verdana" panose="020B0604030504040204" pitchFamily="34" charset="0"/>
                        <a:cs typeface="Verdana" panose="020B0604030504040204" pitchFamily="34" charset="0"/>
                      </a:endParaRPr>
                    </a:p>
                    <a:p>
                      <a:r>
                        <a:rPr lang="en-IN" sz="1050" dirty="0">
                          <a:latin typeface="Verdana" panose="020B0604030504040204" pitchFamily="34" charset="0"/>
                          <a:ea typeface="Verdana" panose="020B0604030504040204" pitchFamily="34" charset="0"/>
                          <a:cs typeface="Verdana" panose="020B0604030504040204" pitchFamily="34" charset="0"/>
                        </a:rPr>
                        <a:t>    </a:t>
                      </a:r>
                    </a:p>
                    <a:p>
                      <a:r>
                        <a:rPr lang="en-IN" sz="1050" dirty="0">
                          <a:latin typeface="Verdana" panose="020B0604030504040204" pitchFamily="34" charset="0"/>
                          <a:ea typeface="Verdana" panose="020B0604030504040204" pitchFamily="34" charset="0"/>
                          <a:cs typeface="Verdana" panose="020B0604030504040204" pitchFamily="34" charset="0"/>
                        </a:rPr>
                        <a:t>       Value                  Volume</a:t>
                      </a:r>
                    </a:p>
                  </a:txBody>
                  <a:tcPr/>
                </a:tc>
                <a:tc hMerge="1">
                  <a:txBody>
                    <a:bodyPr/>
                    <a:lstStyle/>
                    <a:p>
                      <a:endParaRPr lang="en-IN" dirty="0"/>
                    </a:p>
                  </a:txBody>
                  <a:tcPr/>
                </a:tc>
                <a:tc gridSpan="2">
                  <a:txBody>
                    <a:bodyPr/>
                    <a:lstStyle/>
                    <a:p>
                      <a:r>
                        <a:rPr lang="en-IN" sz="1050" dirty="0">
                          <a:latin typeface="Verdana" panose="020B0604030504040204" pitchFamily="34" charset="0"/>
                          <a:ea typeface="Verdana" panose="020B0604030504040204" pitchFamily="34" charset="0"/>
                          <a:cs typeface="Verdana" panose="020B0604030504040204" pitchFamily="34" charset="0"/>
                        </a:rPr>
                        <a:t>                         Export</a:t>
                      </a:r>
                    </a:p>
                    <a:p>
                      <a:endParaRPr lang="en-IN" sz="1050" dirty="0">
                        <a:latin typeface="Verdana" panose="020B0604030504040204" pitchFamily="34" charset="0"/>
                        <a:ea typeface="Verdana" panose="020B0604030504040204" pitchFamily="34" charset="0"/>
                        <a:cs typeface="Verdana" panose="020B0604030504040204" pitchFamily="34" charset="0"/>
                      </a:endParaRPr>
                    </a:p>
                    <a:p>
                      <a:endParaRPr lang="en-IN" sz="1050" dirty="0">
                        <a:latin typeface="Verdana" panose="020B0604030504040204" pitchFamily="34" charset="0"/>
                        <a:ea typeface="Verdana" panose="020B0604030504040204" pitchFamily="34" charset="0"/>
                        <a:cs typeface="Verdana" panose="020B0604030504040204" pitchFamily="34" charset="0"/>
                      </a:endParaRPr>
                    </a:p>
                    <a:p>
                      <a:endParaRPr lang="en-IN" sz="1050" dirty="0">
                        <a:latin typeface="Verdana" panose="020B0604030504040204" pitchFamily="34" charset="0"/>
                        <a:ea typeface="Verdana" panose="020B0604030504040204" pitchFamily="34" charset="0"/>
                        <a:cs typeface="Verdana" panose="020B0604030504040204" pitchFamily="34" charset="0"/>
                      </a:endParaRPr>
                    </a:p>
                    <a:p>
                      <a:r>
                        <a:rPr lang="en-IN" sz="1050" dirty="0">
                          <a:latin typeface="Verdana" panose="020B0604030504040204" pitchFamily="34" charset="0"/>
                          <a:ea typeface="Verdana" panose="020B0604030504040204" pitchFamily="34" charset="0"/>
                          <a:cs typeface="Verdana" panose="020B0604030504040204" pitchFamily="34" charset="0"/>
                        </a:rPr>
                        <a:t>       </a:t>
                      </a:r>
                    </a:p>
                    <a:p>
                      <a:r>
                        <a:rPr lang="en-IN" sz="1050" dirty="0">
                          <a:latin typeface="Verdana" panose="020B0604030504040204" pitchFamily="34" charset="0"/>
                          <a:ea typeface="Verdana" panose="020B0604030504040204" pitchFamily="34" charset="0"/>
                          <a:cs typeface="Verdana" panose="020B0604030504040204" pitchFamily="34" charset="0"/>
                        </a:rPr>
                        <a:t>         Value                      Volume</a:t>
                      </a:r>
                    </a:p>
                  </a:txBody>
                  <a:tcPr/>
                </a:tc>
                <a:tc hMerge="1">
                  <a:txBody>
                    <a:bodyPr/>
                    <a:lstStyle/>
                    <a:p>
                      <a:endParaRPr lang="en-IN" dirty="0"/>
                    </a:p>
                  </a:txBody>
                  <a:tcPr/>
                </a:tc>
                <a:extLst>
                  <a:ext uri="{0D108BD9-81ED-4DB2-BD59-A6C34878D82A}">
                    <a16:rowId xmlns:a16="http://schemas.microsoft.com/office/drawing/2014/main" val="664982202"/>
                  </a:ext>
                </a:extLst>
              </a:tr>
              <a:tr h="537566">
                <a:tc>
                  <a:txBody>
                    <a:bodyPr/>
                    <a:lstStyle/>
                    <a:p>
                      <a:r>
                        <a:rPr lang="en-IN" sz="1000" b="1" dirty="0"/>
                        <a:t>1.</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Indonesia</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24.93</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4.72</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00</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00</a:t>
                      </a:r>
                    </a:p>
                  </a:txBody>
                  <a:tcPr anchor="ctr"/>
                </a:tc>
                <a:extLst>
                  <a:ext uri="{0D108BD9-81ED-4DB2-BD59-A6C34878D82A}">
                    <a16:rowId xmlns:a16="http://schemas.microsoft.com/office/drawing/2014/main" val="1961057414"/>
                  </a:ext>
                </a:extLst>
              </a:tr>
              <a:tr h="537566">
                <a:tc>
                  <a:txBody>
                    <a:bodyPr/>
                    <a:lstStyle/>
                    <a:p>
                      <a:r>
                        <a:rPr lang="en-IN" sz="1000" b="1" dirty="0"/>
                        <a:t>2.</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Thailand</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4.25</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23</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2.56</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6.28</a:t>
                      </a:r>
                    </a:p>
                  </a:txBody>
                  <a:tcPr anchor="ctr"/>
                </a:tc>
                <a:extLst>
                  <a:ext uri="{0D108BD9-81ED-4DB2-BD59-A6C34878D82A}">
                    <a16:rowId xmlns:a16="http://schemas.microsoft.com/office/drawing/2014/main" val="619742142"/>
                  </a:ext>
                </a:extLst>
              </a:tr>
              <a:tr h="537566">
                <a:tc>
                  <a:txBody>
                    <a:bodyPr/>
                    <a:lstStyle/>
                    <a:p>
                      <a:r>
                        <a:rPr lang="en-IN" sz="1000" b="1" dirty="0"/>
                        <a:t>3.</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Malaysia</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2.79</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6.61</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57</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2.71</a:t>
                      </a:r>
                    </a:p>
                  </a:txBody>
                  <a:tcPr anchor="ctr"/>
                </a:tc>
                <a:extLst>
                  <a:ext uri="{0D108BD9-81ED-4DB2-BD59-A6C34878D82A}">
                    <a16:rowId xmlns:a16="http://schemas.microsoft.com/office/drawing/2014/main" val="1423399337"/>
                  </a:ext>
                </a:extLst>
              </a:tr>
              <a:tr h="537566">
                <a:tc>
                  <a:txBody>
                    <a:bodyPr/>
                    <a:lstStyle/>
                    <a:p>
                      <a:r>
                        <a:rPr lang="en-IN" sz="1000" b="1" dirty="0"/>
                        <a:t>4.</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Vietnam</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4.04</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7.54</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52</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27</a:t>
                      </a:r>
                    </a:p>
                  </a:txBody>
                  <a:tcPr anchor="ctr"/>
                </a:tc>
                <a:extLst>
                  <a:ext uri="{0D108BD9-81ED-4DB2-BD59-A6C34878D82A}">
                    <a16:rowId xmlns:a16="http://schemas.microsoft.com/office/drawing/2014/main" val="1165558151"/>
                  </a:ext>
                </a:extLst>
              </a:tr>
              <a:tr h="537566">
                <a:tc>
                  <a:txBody>
                    <a:bodyPr/>
                    <a:lstStyle/>
                    <a:p>
                      <a:r>
                        <a:rPr lang="en-IN" sz="1000" b="1" dirty="0"/>
                        <a:t>5.</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Philippines</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4.98</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2.76</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44</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43</a:t>
                      </a:r>
                    </a:p>
                  </a:txBody>
                  <a:tcPr anchor="ctr"/>
                </a:tc>
                <a:extLst>
                  <a:ext uri="{0D108BD9-81ED-4DB2-BD59-A6C34878D82A}">
                    <a16:rowId xmlns:a16="http://schemas.microsoft.com/office/drawing/2014/main" val="1622666263"/>
                  </a:ext>
                </a:extLst>
              </a:tr>
            </a:tbl>
          </a:graphicData>
        </a:graphic>
      </p:graphicFrame>
      <p:sp>
        <p:nvSpPr>
          <p:cNvPr id="6" name="TextBox 5">
            <a:extLst>
              <a:ext uri="{FF2B5EF4-FFF2-40B4-BE49-F238E27FC236}">
                <a16:creationId xmlns:a16="http://schemas.microsoft.com/office/drawing/2014/main" id="{5276132B-4C32-4B53-9AE6-D622EA1FD6D0}"/>
              </a:ext>
            </a:extLst>
          </p:cNvPr>
          <p:cNvSpPr txBox="1"/>
          <p:nvPr/>
        </p:nvSpPr>
        <p:spPr>
          <a:xfrm>
            <a:off x="182220" y="82311"/>
            <a:ext cx="7013712" cy="514693"/>
          </a:xfrm>
          <a:prstGeom prst="rect">
            <a:avLst/>
          </a:prstGeom>
          <a:noFill/>
        </p:spPr>
        <p:txBody>
          <a:bodyPr vert="horz" wrap="square" lIns="91440" tIns="45720" rIns="91440" bIns="45720" rtlCol="0" anchor="ctr">
            <a:spAutoFit/>
          </a:bodyPr>
          <a:lstStyle>
            <a:defPPr>
              <a:defRPr lang="en-US"/>
            </a:defPPr>
            <a:lvl1pPr marR="0" lvl="0" indent="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US" dirty="0"/>
              <a:t>Country-Wise Import of Copper Sulphate in South-East Asia, By Value (USD Million) &amp; Volume (Kilo </a:t>
            </a:r>
            <a:r>
              <a:rPr lang="en-US" dirty="0" err="1"/>
              <a:t>Tonnes</a:t>
            </a:r>
            <a:r>
              <a:rPr lang="en-US" dirty="0"/>
              <a:t>) - 2020</a:t>
            </a:r>
          </a:p>
        </p:txBody>
      </p:sp>
      <p:sp>
        <p:nvSpPr>
          <p:cNvPr id="2" name="TextBox 1">
            <a:extLst>
              <a:ext uri="{FF2B5EF4-FFF2-40B4-BE49-F238E27FC236}">
                <a16:creationId xmlns:a16="http://schemas.microsoft.com/office/drawing/2014/main" id="{88D68C33-5399-43ED-988F-7F0C56EEAE67}"/>
              </a:ext>
            </a:extLst>
          </p:cNvPr>
          <p:cNvSpPr txBox="1"/>
          <p:nvPr/>
        </p:nvSpPr>
        <p:spPr>
          <a:xfrm>
            <a:off x="232229" y="4949371"/>
            <a:ext cx="8534400" cy="1273105"/>
          </a:xfrm>
          <a:prstGeom prst="rect">
            <a:avLst/>
          </a:prstGeom>
          <a:solidFill>
            <a:schemeClr val="accent6">
              <a:lumMod val="20000"/>
              <a:lumOff val="80000"/>
            </a:schemeClr>
          </a:solidFill>
        </p:spPr>
        <p:txBody>
          <a:bodyPr wrap="square" rtlCol="0">
            <a:spAutoFit/>
          </a:bodyPr>
          <a:lstStyle/>
          <a:p>
            <a:pPr algn="just">
              <a:lnSpc>
                <a:spcPct val="200000"/>
              </a:lnSpc>
            </a:pPr>
            <a:r>
              <a:rPr lang="en-US" sz="1000" dirty="0">
                <a:latin typeface="Verdana" panose="020B0604030504040204" pitchFamily="34" charset="0"/>
                <a:ea typeface="Verdana" panose="020B0604030504040204" pitchFamily="34" charset="0"/>
                <a:cs typeface="Verdana" panose="020B0604030504040204" pitchFamily="34" charset="0"/>
              </a:rPr>
              <a:t>Thailand is one of the major exporter in Southeast Asian Countries. Major Copper Sulphate producers such as  present in the region such as </a:t>
            </a:r>
            <a:r>
              <a:rPr lang="en-US" sz="1000" dirty="0" err="1">
                <a:latin typeface="Verdana" panose="020B0604030504040204" pitchFamily="34" charset="0"/>
                <a:ea typeface="Verdana" panose="020B0604030504040204" pitchFamily="34" charset="0"/>
                <a:cs typeface="Verdana" panose="020B0604030504040204" pitchFamily="34" charset="0"/>
              </a:rPr>
              <a:t>Chemtronic</a:t>
            </a:r>
            <a:r>
              <a:rPr lang="en-US" sz="1000" dirty="0">
                <a:latin typeface="Verdana" panose="020B0604030504040204" pitchFamily="34" charset="0"/>
                <a:ea typeface="Verdana" panose="020B0604030504040204" pitchFamily="34" charset="0"/>
                <a:cs typeface="Verdana" panose="020B0604030504040204" pitchFamily="34" charset="0"/>
              </a:rPr>
              <a:t> Technology Thailand Co Ltd and JL </a:t>
            </a:r>
            <a:r>
              <a:rPr lang="en-US" sz="1000" dirty="0" err="1">
                <a:latin typeface="Verdana" panose="020B0604030504040204" pitchFamily="34" charset="0"/>
                <a:ea typeface="Verdana" panose="020B0604030504040204" pitchFamily="34" charset="0"/>
                <a:cs typeface="Verdana" panose="020B0604030504040204" pitchFamily="34" charset="0"/>
              </a:rPr>
              <a:t>Chemtonic</a:t>
            </a:r>
            <a:r>
              <a:rPr lang="en-US" sz="1000" dirty="0">
                <a:latin typeface="Verdana" panose="020B0604030504040204" pitchFamily="34" charset="0"/>
                <a:ea typeface="Verdana" panose="020B0604030504040204" pitchFamily="34" charset="0"/>
                <a:cs typeface="Verdana" panose="020B0604030504040204" pitchFamily="34" charset="0"/>
              </a:rPr>
              <a:t> Company Ltd makes it a major exporter in the region. Other south-east Asian countries import around 60% of the Copper Sulphate demand which is met from the China, Taiwan, Thailand, etc.</a:t>
            </a:r>
          </a:p>
        </p:txBody>
      </p:sp>
    </p:spTree>
    <p:extLst>
      <p:ext uri="{BB962C8B-B14F-4D97-AF65-F5344CB8AC3E}">
        <p14:creationId xmlns:p14="http://schemas.microsoft.com/office/powerpoint/2010/main" val="280292242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15">
            <a:extLst>
              <a:ext uri="{FF2B5EF4-FFF2-40B4-BE49-F238E27FC236}">
                <a16:creationId xmlns:a16="http://schemas.microsoft.com/office/drawing/2014/main" id="{E1EB5F70-B455-42A1-A362-145D7598E93B}"/>
              </a:ext>
            </a:extLst>
          </p:cNvPr>
          <p:cNvGraphicFramePr>
            <a:graphicFrameLocks noGrp="1"/>
          </p:cNvGraphicFramePr>
          <p:nvPr/>
        </p:nvGraphicFramePr>
        <p:xfrm>
          <a:off x="278296" y="807720"/>
          <a:ext cx="8507894" cy="5620595"/>
        </p:xfrm>
        <a:graphic>
          <a:graphicData uri="http://schemas.openxmlformats.org/drawingml/2006/table">
            <a:tbl>
              <a:tblPr firstRow="1" bandRow="1">
                <a:tableStyleId>{5C22544A-7EE6-4342-B048-85BDC9FD1C3A}</a:tableStyleId>
              </a:tblPr>
              <a:tblGrid>
                <a:gridCol w="867218">
                  <a:extLst>
                    <a:ext uri="{9D8B030D-6E8A-4147-A177-3AD203B41FA5}">
                      <a16:colId xmlns:a16="http://schemas.microsoft.com/office/drawing/2014/main" val="237066176"/>
                    </a:ext>
                  </a:extLst>
                </a:gridCol>
                <a:gridCol w="1850681">
                  <a:extLst>
                    <a:ext uri="{9D8B030D-6E8A-4147-A177-3AD203B41FA5}">
                      <a16:colId xmlns:a16="http://schemas.microsoft.com/office/drawing/2014/main" val="1013597785"/>
                    </a:ext>
                  </a:extLst>
                </a:gridCol>
                <a:gridCol w="1205590">
                  <a:extLst>
                    <a:ext uri="{9D8B030D-6E8A-4147-A177-3AD203B41FA5}">
                      <a16:colId xmlns:a16="http://schemas.microsoft.com/office/drawing/2014/main" val="4290084818"/>
                    </a:ext>
                  </a:extLst>
                </a:gridCol>
                <a:gridCol w="1528135">
                  <a:extLst>
                    <a:ext uri="{9D8B030D-6E8A-4147-A177-3AD203B41FA5}">
                      <a16:colId xmlns:a16="http://schemas.microsoft.com/office/drawing/2014/main" val="1393602992"/>
                    </a:ext>
                  </a:extLst>
                </a:gridCol>
                <a:gridCol w="1528135">
                  <a:extLst>
                    <a:ext uri="{9D8B030D-6E8A-4147-A177-3AD203B41FA5}">
                      <a16:colId xmlns:a16="http://schemas.microsoft.com/office/drawing/2014/main" val="3955557698"/>
                    </a:ext>
                  </a:extLst>
                </a:gridCol>
                <a:gridCol w="1528135">
                  <a:extLst>
                    <a:ext uri="{9D8B030D-6E8A-4147-A177-3AD203B41FA5}">
                      <a16:colId xmlns:a16="http://schemas.microsoft.com/office/drawing/2014/main" val="2529049495"/>
                    </a:ext>
                  </a:extLst>
                </a:gridCol>
              </a:tblGrid>
              <a:tr h="10505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050" dirty="0">
                          <a:latin typeface="Verdana" panose="020B0604030504040204" pitchFamily="34" charset="0"/>
                          <a:ea typeface="Verdana" panose="020B0604030504040204" pitchFamily="34" charset="0"/>
                          <a:cs typeface="Verdana" panose="020B0604030504040204" pitchFamily="34" charset="0"/>
                        </a:rPr>
                        <a:t>S. No</a:t>
                      </a:r>
                    </a:p>
                    <a:p>
                      <a:endParaRPr lang="en-IN" sz="105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50" b="1" dirty="0">
                          <a:latin typeface="Verdana" panose="020B0604030504040204" pitchFamily="34" charset="0"/>
                          <a:ea typeface="Verdana" panose="020B0604030504040204" pitchFamily="34" charset="0"/>
                          <a:cs typeface="Verdana" panose="020B0604030504040204" pitchFamily="34" charset="0"/>
                        </a:rPr>
                        <a:t>Country</a:t>
                      </a:r>
                    </a:p>
                    <a:p>
                      <a:endParaRPr lang="en-IN" sz="1050" dirty="0">
                        <a:latin typeface="Verdana" panose="020B0604030504040204" pitchFamily="34" charset="0"/>
                        <a:ea typeface="Verdana" panose="020B0604030504040204" pitchFamily="34" charset="0"/>
                        <a:cs typeface="Verdana" panose="020B0604030504040204" pitchFamily="34" charset="0"/>
                      </a:endParaRPr>
                    </a:p>
                  </a:txBody>
                  <a:tcPr/>
                </a:tc>
                <a:tc gridSpan="2">
                  <a:txBody>
                    <a:bodyPr/>
                    <a:lstStyle/>
                    <a:p>
                      <a:r>
                        <a:rPr lang="en-IN" sz="1050" dirty="0">
                          <a:latin typeface="Verdana" panose="020B0604030504040204" pitchFamily="34" charset="0"/>
                          <a:ea typeface="Verdana" panose="020B0604030504040204" pitchFamily="34" charset="0"/>
                          <a:cs typeface="Verdana" panose="020B0604030504040204" pitchFamily="34" charset="0"/>
                        </a:rPr>
                        <a:t>                   Value</a:t>
                      </a:r>
                    </a:p>
                    <a:p>
                      <a:endParaRPr lang="en-IN" sz="1050" dirty="0">
                        <a:latin typeface="Verdana" panose="020B0604030504040204" pitchFamily="34" charset="0"/>
                        <a:ea typeface="Verdana" panose="020B0604030504040204" pitchFamily="34" charset="0"/>
                        <a:cs typeface="Verdana" panose="020B0604030504040204" pitchFamily="34" charset="0"/>
                      </a:endParaRPr>
                    </a:p>
                    <a:p>
                      <a:endParaRPr lang="en-IN" sz="1050" dirty="0">
                        <a:latin typeface="Verdana" panose="020B0604030504040204" pitchFamily="34" charset="0"/>
                        <a:ea typeface="Verdana" panose="020B0604030504040204" pitchFamily="34" charset="0"/>
                        <a:cs typeface="Verdana" panose="020B0604030504040204" pitchFamily="34" charset="0"/>
                      </a:endParaRPr>
                    </a:p>
                    <a:p>
                      <a:endParaRPr lang="en-IN" sz="1050" dirty="0">
                        <a:latin typeface="Verdana" panose="020B0604030504040204" pitchFamily="34" charset="0"/>
                        <a:ea typeface="Verdana" panose="020B0604030504040204" pitchFamily="34" charset="0"/>
                        <a:cs typeface="Verdana" panose="020B0604030504040204" pitchFamily="34" charset="0"/>
                      </a:endParaRPr>
                    </a:p>
                    <a:p>
                      <a:r>
                        <a:rPr lang="en-IN" sz="1050" dirty="0">
                          <a:latin typeface="Verdana" panose="020B0604030504040204" pitchFamily="34" charset="0"/>
                          <a:ea typeface="Verdana" panose="020B0604030504040204" pitchFamily="34" charset="0"/>
                          <a:cs typeface="Verdana" panose="020B0604030504040204" pitchFamily="34" charset="0"/>
                        </a:rPr>
                        <a:t>    </a:t>
                      </a:r>
                    </a:p>
                    <a:p>
                      <a:r>
                        <a:rPr lang="en-IN" sz="1050" dirty="0">
                          <a:latin typeface="Verdana" panose="020B0604030504040204" pitchFamily="34" charset="0"/>
                          <a:ea typeface="Verdana" panose="020B0604030504040204" pitchFamily="34" charset="0"/>
                          <a:cs typeface="Verdana" panose="020B0604030504040204" pitchFamily="34" charset="0"/>
                        </a:rPr>
                        <a:t>    Industrial               Reagent</a:t>
                      </a:r>
                    </a:p>
                  </a:txBody>
                  <a:tcPr/>
                </a:tc>
                <a:tc hMerge="1">
                  <a:txBody>
                    <a:bodyPr/>
                    <a:lstStyle/>
                    <a:p>
                      <a:endParaRPr lang="en-IN" dirty="0"/>
                    </a:p>
                  </a:txBody>
                  <a:tcPr/>
                </a:tc>
                <a:tc gridSpan="2">
                  <a:txBody>
                    <a:bodyPr/>
                    <a:lstStyle/>
                    <a:p>
                      <a:r>
                        <a:rPr lang="en-IN" sz="1050" dirty="0">
                          <a:latin typeface="Verdana" panose="020B0604030504040204" pitchFamily="34" charset="0"/>
                          <a:ea typeface="Verdana" panose="020B0604030504040204" pitchFamily="34" charset="0"/>
                          <a:cs typeface="Verdana" panose="020B0604030504040204" pitchFamily="34" charset="0"/>
                        </a:rPr>
                        <a:t>                         Volume</a:t>
                      </a:r>
                    </a:p>
                    <a:p>
                      <a:endParaRPr lang="en-IN" sz="1050" dirty="0">
                        <a:latin typeface="Verdana" panose="020B0604030504040204" pitchFamily="34" charset="0"/>
                        <a:ea typeface="Verdana" panose="020B0604030504040204" pitchFamily="34" charset="0"/>
                        <a:cs typeface="Verdana" panose="020B0604030504040204" pitchFamily="34" charset="0"/>
                      </a:endParaRPr>
                    </a:p>
                    <a:p>
                      <a:endParaRPr lang="en-IN" sz="1050" dirty="0">
                        <a:latin typeface="Verdana" panose="020B0604030504040204" pitchFamily="34" charset="0"/>
                        <a:ea typeface="Verdana" panose="020B0604030504040204" pitchFamily="34" charset="0"/>
                        <a:cs typeface="Verdana" panose="020B0604030504040204" pitchFamily="34" charset="0"/>
                      </a:endParaRPr>
                    </a:p>
                    <a:p>
                      <a:endParaRPr lang="en-IN" sz="1050" dirty="0">
                        <a:latin typeface="Verdana" panose="020B0604030504040204" pitchFamily="34" charset="0"/>
                        <a:ea typeface="Verdana" panose="020B0604030504040204" pitchFamily="34" charset="0"/>
                        <a:cs typeface="Verdana" panose="020B0604030504040204" pitchFamily="34" charset="0"/>
                      </a:endParaRPr>
                    </a:p>
                    <a:p>
                      <a:r>
                        <a:rPr lang="en-IN" sz="1050" dirty="0">
                          <a:latin typeface="Verdana" panose="020B0604030504040204" pitchFamily="34" charset="0"/>
                          <a:ea typeface="Verdana" panose="020B0604030504040204" pitchFamily="34" charset="0"/>
                          <a:cs typeface="Verdana" panose="020B0604030504040204" pitchFamily="34" charset="0"/>
                        </a:rPr>
                        <a:t>       </a:t>
                      </a:r>
                    </a:p>
                    <a:p>
                      <a:r>
                        <a:rPr lang="en-IN" sz="1050" dirty="0">
                          <a:latin typeface="Verdana" panose="020B0604030504040204" pitchFamily="34" charset="0"/>
                          <a:ea typeface="Verdana" panose="020B0604030504040204" pitchFamily="34" charset="0"/>
                          <a:cs typeface="Verdana" panose="020B0604030504040204" pitchFamily="34" charset="0"/>
                        </a:rPr>
                        <a:t>         Industrial                  Reagent </a:t>
                      </a:r>
                    </a:p>
                  </a:txBody>
                  <a:tcPr/>
                </a:tc>
                <a:tc hMerge="1">
                  <a:txBody>
                    <a:bodyPr/>
                    <a:lstStyle/>
                    <a:p>
                      <a:endParaRPr lang="en-IN" dirty="0"/>
                    </a:p>
                  </a:txBody>
                  <a:tcPr/>
                </a:tc>
                <a:extLst>
                  <a:ext uri="{0D108BD9-81ED-4DB2-BD59-A6C34878D82A}">
                    <a16:rowId xmlns:a16="http://schemas.microsoft.com/office/drawing/2014/main" val="664982202"/>
                  </a:ext>
                </a:extLst>
              </a:tr>
              <a:tr h="913807">
                <a:tc>
                  <a:txBody>
                    <a:bodyPr/>
                    <a:lstStyle/>
                    <a:p>
                      <a:r>
                        <a:rPr lang="en-IN" sz="1000" b="1" dirty="0"/>
                        <a:t>1.</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Indonesia</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23.18</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74</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3.17</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56</a:t>
                      </a:r>
                    </a:p>
                  </a:txBody>
                  <a:tcPr anchor="ctr"/>
                </a:tc>
                <a:extLst>
                  <a:ext uri="{0D108BD9-81ED-4DB2-BD59-A6C34878D82A}">
                    <a16:rowId xmlns:a16="http://schemas.microsoft.com/office/drawing/2014/main" val="1961057414"/>
                  </a:ext>
                </a:extLst>
              </a:tr>
              <a:tr h="913807">
                <a:tc>
                  <a:txBody>
                    <a:bodyPr/>
                    <a:lstStyle/>
                    <a:p>
                      <a:r>
                        <a:rPr lang="en-IN" sz="1000" b="1" dirty="0"/>
                        <a:t>2.</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Thailand</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3.95</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30</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96</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14</a:t>
                      </a:r>
                    </a:p>
                  </a:txBody>
                  <a:tcPr anchor="ctr"/>
                </a:tc>
                <a:extLst>
                  <a:ext uri="{0D108BD9-81ED-4DB2-BD59-A6C34878D82A}">
                    <a16:rowId xmlns:a16="http://schemas.microsoft.com/office/drawing/2014/main" val="619742142"/>
                  </a:ext>
                </a:extLst>
              </a:tr>
              <a:tr h="913807">
                <a:tc>
                  <a:txBody>
                    <a:bodyPr/>
                    <a:lstStyle/>
                    <a:p>
                      <a:r>
                        <a:rPr lang="en-IN" sz="1000" b="1" dirty="0"/>
                        <a:t>3.</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Malaysia</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1.96</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82</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6.02</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59</a:t>
                      </a:r>
                    </a:p>
                  </a:txBody>
                  <a:tcPr anchor="ctr"/>
                </a:tc>
                <a:extLst>
                  <a:ext uri="{0D108BD9-81ED-4DB2-BD59-A6C34878D82A}">
                    <a16:rowId xmlns:a16="http://schemas.microsoft.com/office/drawing/2014/main" val="1423399337"/>
                  </a:ext>
                </a:extLst>
              </a:tr>
              <a:tr h="913807">
                <a:tc>
                  <a:txBody>
                    <a:bodyPr/>
                    <a:lstStyle/>
                    <a:p>
                      <a:r>
                        <a:rPr lang="en-IN" sz="1000" b="1" dirty="0"/>
                        <a:t>4.</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Vietnam</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2.63</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40</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6.97</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57</a:t>
                      </a:r>
                    </a:p>
                  </a:txBody>
                  <a:tcPr anchor="ctr"/>
                </a:tc>
                <a:extLst>
                  <a:ext uri="{0D108BD9-81ED-4DB2-BD59-A6C34878D82A}">
                    <a16:rowId xmlns:a16="http://schemas.microsoft.com/office/drawing/2014/main" val="1165558151"/>
                  </a:ext>
                </a:extLst>
              </a:tr>
              <a:tr h="913807">
                <a:tc>
                  <a:txBody>
                    <a:bodyPr/>
                    <a:lstStyle/>
                    <a:p>
                      <a:r>
                        <a:rPr lang="en-IN" sz="1000" b="1" dirty="0"/>
                        <a:t>5.</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Philippines</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4.43</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54</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2.34</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42</a:t>
                      </a:r>
                    </a:p>
                  </a:txBody>
                  <a:tcPr anchor="ctr"/>
                </a:tc>
                <a:extLst>
                  <a:ext uri="{0D108BD9-81ED-4DB2-BD59-A6C34878D82A}">
                    <a16:rowId xmlns:a16="http://schemas.microsoft.com/office/drawing/2014/main" val="1622666263"/>
                  </a:ext>
                </a:extLst>
              </a:tr>
            </a:tbl>
          </a:graphicData>
        </a:graphic>
      </p:graphicFrame>
      <p:sp>
        <p:nvSpPr>
          <p:cNvPr id="6" name="TextBox 5">
            <a:extLst>
              <a:ext uri="{FF2B5EF4-FFF2-40B4-BE49-F238E27FC236}">
                <a16:creationId xmlns:a16="http://schemas.microsoft.com/office/drawing/2014/main" id="{5276132B-4C32-4B53-9AE6-D622EA1FD6D0}"/>
              </a:ext>
            </a:extLst>
          </p:cNvPr>
          <p:cNvSpPr txBox="1"/>
          <p:nvPr/>
        </p:nvSpPr>
        <p:spPr>
          <a:xfrm>
            <a:off x="182220" y="82311"/>
            <a:ext cx="7013712" cy="514693"/>
          </a:xfrm>
          <a:prstGeom prst="rect">
            <a:avLst/>
          </a:prstGeom>
          <a:noFill/>
        </p:spPr>
        <p:txBody>
          <a:bodyPr vert="horz" wrap="square" lIns="91440" tIns="45720" rIns="91440" bIns="45720" rtlCol="0" anchor="ctr">
            <a:spAutoFit/>
          </a:bodyPr>
          <a:lstStyle>
            <a:defPPr>
              <a:defRPr lang="en-US"/>
            </a:defPPr>
            <a:lvl1pPr marR="0" lvl="0" indent="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US" dirty="0"/>
              <a:t>Country-Wise Import of Copper Sulphate in South-East Asia, By Value (USD Million) &amp; Volume (Kilo </a:t>
            </a:r>
            <a:r>
              <a:rPr lang="en-US" dirty="0" err="1"/>
              <a:t>Tonnes</a:t>
            </a:r>
            <a:r>
              <a:rPr lang="en-US" dirty="0"/>
              <a:t>), By Grade - 2020</a:t>
            </a:r>
          </a:p>
        </p:txBody>
      </p:sp>
    </p:spTree>
    <p:extLst>
      <p:ext uri="{BB962C8B-B14F-4D97-AF65-F5344CB8AC3E}">
        <p14:creationId xmlns:p14="http://schemas.microsoft.com/office/powerpoint/2010/main" val="54447663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17D888-1738-4FC9-98BB-21997AF04B06}"/>
              </a:ext>
            </a:extLst>
          </p:cNvPr>
          <p:cNvSpPr/>
          <p:nvPr/>
        </p:nvSpPr>
        <p:spPr>
          <a:xfrm>
            <a:off x="0" y="-41912"/>
            <a:ext cx="9144000" cy="6899912"/>
          </a:xfrm>
          <a:prstGeom prst="rect">
            <a:avLst/>
          </a:prstGeom>
          <a:solidFill>
            <a:schemeClr val="tx2">
              <a:lumMod val="5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Title 1">
            <a:extLst>
              <a:ext uri="{FF2B5EF4-FFF2-40B4-BE49-F238E27FC236}">
                <a16:creationId xmlns:a16="http://schemas.microsoft.com/office/drawing/2014/main" id="{D0CABBDB-61C8-49EE-A51D-FDD7B2EFC3F0}"/>
              </a:ext>
            </a:extLst>
          </p:cNvPr>
          <p:cNvSpPr txBox="1">
            <a:spLocks/>
          </p:cNvSpPr>
          <p:nvPr/>
        </p:nvSpPr>
        <p:spPr>
          <a:xfrm>
            <a:off x="168570" y="443565"/>
            <a:ext cx="2623304" cy="46131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IN" sz="1600" b="1" i="0" u="none" strike="noStrike" kern="1200" cap="none" spc="0" normalizeH="0" baseline="0" noProof="0" dirty="0">
                <a:ln>
                  <a:noFill/>
                </a:ln>
                <a:solidFill>
                  <a:prstClr val="white"/>
                </a:solidFill>
                <a:effectLst/>
                <a:uLnTx/>
                <a:uFillTx/>
                <a:latin typeface="Montserrat" panose="02000505000000020004" pitchFamily="2" charset="0"/>
                <a:ea typeface="+mj-ea"/>
                <a:cs typeface="Arial" panose="020B0604020202020204" pitchFamily="34" charset="0"/>
              </a:rPr>
              <a:t>About Us &amp; Disclaimer</a:t>
            </a:r>
          </a:p>
        </p:txBody>
      </p:sp>
      <p:sp>
        <p:nvSpPr>
          <p:cNvPr id="3" name="Rectangle 2">
            <a:extLst>
              <a:ext uri="{FF2B5EF4-FFF2-40B4-BE49-F238E27FC236}">
                <a16:creationId xmlns:a16="http://schemas.microsoft.com/office/drawing/2014/main" id="{FA36F462-B6D7-4C9F-A8DF-E09878AFBB61}"/>
              </a:ext>
            </a:extLst>
          </p:cNvPr>
          <p:cNvSpPr/>
          <p:nvPr/>
        </p:nvSpPr>
        <p:spPr>
          <a:xfrm>
            <a:off x="183227" y="1450259"/>
            <a:ext cx="8337921" cy="992772"/>
          </a:xfrm>
          <a:prstGeom prst="rect">
            <a:avLst/>
          </a:prstGeom>
        </p:spPr>
        <p:txBody>
          <a:bodyPr wrap="square">
            <a:spAutoFit/>
          </a:bodyPr>
          <a:lstStyle/>
          <a:p>
            <a:pPr marL="0" marR="0" lvl="0" indent="0" algn="just" defTabSz="457200" rtl="0" eaLnBrk="1" fontAlgn="auto" latinLnBrk="0" hangingPunct="1">
              <a:lnSpc>
                <a:spcPct val="150000"/>
              </a:lnSpc>
              <a:spcBef>
                <a:spcPts val="0"/>
              </a:spcBef>
              <a:spcAft>
                <a:spcPts val="0"/>
              </a:spcAft>
              <a:buClrTx/>
              <a:buSzTx/>
              <a:buFontTx/>
              <a:buNone/>
              <a:tabLst/>
              <a:defRPr/>
            </a:pPr>
            <a:r>
              <a:rPr kumimoji="0" lang="en-IN" sz="8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ChemAnalyst is a Global market research and consulting company </a:t>
            </a:r>
            <a:r>
              <a:rPr kumimoji="0" lang="en-IN" sz="8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with offices in the US, India and India. ChemAnalyst Research provides market research reports in number of areas to organizations. The company uses innovative business models that focus on improving productivity, while ensuring creation of high-quality reports. The proprietary forecasting models use various analyses of both industry-specific and macroeconomic variables on a state-by-state basis to produce a unique ‘bottom-up’ model of a country, regional and Global industry prospects. Combined with the detailed analysis of company activity and industry trends, the result is a uniquely rich evaluation of the opportunities available in the market.</a:t>
            </a:r>
          </a:p>
        </p:txBody>
      </p:sp>
      <p:grpSp>
        <p:nvGrpSpPr>
          <p:cNvPr id="10" name="Group 9">
            <a:extLst>
              <a:ext uri="{FF2B5EF4-FFF2-40B4-BE49-F238E27FC236}">
                <a16:creationId xmlns:a16="http://schemas.microsoft.com/office/drawing/2014/main" id="{51B4CC63-B9A2-4F68-85E2-8FB8AB35EDAE}"/>
              </a:ext>
            </a:extLst>
          </p:cNvPr>
          <p:cNvGrpSpPr/>
          <p:nvPr/>
        </p:nvGrpSpPr>
        <p:grpSpPr>
          <a:xfrm>
            <a:off x="2791874" y="611863"/>
            <a:ext cx="6352126" cy="123080"/>
            <a:chOff x="2710689" y="501180"/>
            <a:chExt cx="6352126" cy="123080"/>
          </a:xfrm>
          <a:effectLst>
            <a:glow rad="63500">
              <a:schemeClr val="bg1">
                <a:alpha val="40000"/>
              </a:schemeClr>
            </a:glow>
          </a:effectLst>
        </p:grpSpPr>
        <p:cxnSp>
          <p:nvCxnSpPr>
            <p:cNvPr id="7" name="Straight Connector 6">
              <a:extLst>
                <a:ext uri="{FF2B5EF4-FFF2-40B4-BE49-F238E27FC236}">
                  <a16:creationId xmlns:a16="http://schemas.microsoft.com/office/drawing/2014/main" id="{7C980990-7953-4FDF-846D-B4BAA7FF495E}"/>
                </a:ext>
              </a:extLst>
            </p:cNvPr>
            <p:cNvCxnSpPr>
              <a:cxnSpLocks/>
            </p:cNvCxnSpPr>
            <p:nvPr/>
          </p:nvCxnSpPr>
          <p:spPr>
            <a:xfrm>
              <a:off x="2772229" y="562721"/>
              <a:ext cx="629058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F8E207CB-3983-49ED-BC0A-F405C98E54F7}"/>
                </a:ext>
              </a:extLst>
            </p:cNvPr>
            <p:cNvSpPr/>
            <p:nvPr/>
          </p:nvSpPr>
          <p:spPr>
            <a:xfrm>
              <a:off x="2710689" y="501180"/>
              <a:ext cx="123080" cy="1230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12" name="Rectangle 11">
            <a:extLst>
              <a:ext uri="{FF2B5EF4-FFF2-40B4-BE49-F238E27FC236}">
                <a16:creationId xmlns:a16="http://schemas.microsoft.com/office/drawing/2014/main" id="{4EADC525-C24E-4FAF-A547-BEB756312292}"/>
              </a:ext>
            </a:extLst>
          </p:cNvPr>
          <p:cNvSpPr/>
          <p:nvPr/>
        </p:nvSpPr>
        <p:spPr>
          <a:xfrm>
            <a:off x="6346717" y="89624"/>
            <a:ext cx="2483798" cy="1288314"/>
          </a:xfrm>
          <a:prstGeom prst="rect">
            <a:avLst/>
          </a:prstGeom>
          <a:solidFill>
            <a:srgbClr val="222A35"/>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FC478180-7E88-45FC-85A3-D59FFC4002A6}"/>
              </a:ext>
            </a:extLst>
          </p:cNvPr>
          <p:cNvSpPr/>
          <p:nvPr/>
        </p:nvSpPr>
        <p:spPr>
          <a:xfrm>
            <a:off x="168570" y="2542778"/>
            <a:ext cx="5564872" cy="266355"/>
          </a:xfrm>
          <a:prstGeom prst="rect">
            <a:avLst/>
          </a:prstGeom>
        </p:spPr>
        <p:txBody>
          <a:bodyPr wrap="square">
            <a:spAutoFit/>
          </a:bodyPr>
          <a:lstStyle/>
          <a:p>
            <a:pPr marL="0" marR="0" lvl="0" indent="0" algn="just" defTabSz="457200" rtl="0" eaLnBrk="1" fontAlgn="auto" latinLnBrk="0" hangingPunct="1">
              <a:lnSpc>
                <a:spcPts val="1500"/>
              </a:lnSpc>
              <a:spcBef>
                <a:spcPts val="0"/>
              </a:spcBef>
              <a:spcAft>
                <a:spcPts val="0"/>
              </a:spcAft>
              <a:buClrTx/>
              <a:buSzTx/>
              <a:buFontTx/>
              <a:buNone/>
              <a:tabLst/>
              <a:defRPr/>
            </a:pPr>
            <a:r>
              <a:rPr kumimoji="0" lang="en-IN" sz="9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Related Reports</a:t>
            </a:r>
          </a:p>
        </p:txBody>
      </p:sp>
      <p:sp>
        <p:nvSpPr>
          <p:cNvPr id="32" name="Rectangle 31">
            <a:extLst>
              <a:ext uri="{FF2B5EF4-FFF2-40B4-BE49-F238E27FC236}">
                <a16:creationId xmlns:a16="http://schemas.microsoft.com/office/drawing/2014/main" id="{E932B788-826E-4F7B-B935-25B8D1758AA6}"/>
              </a:ext>
            </a:extLst>
          </p:cNvPr>
          <p:cNvSpPr/>
          <p:nvPr/>
        </p:nvSpPr>
        <p:spPr>
          <a:xfrm>
            <a:off x="183227" y="2771186"/>
            <a:ext cx="8442012" cy="839845"/>
          </a:xfrm>
          <a:prstGeom prst="rect">
            <a:avLst/>
          </a:prstGeom>
        </p:spPr>
        <p:txBody>
          <a:bodyPr wrap="square">
            <a:spAutoFit/>
          </a:bodyPr>
          <a:lstStyle/>
          <a:p>
            <a:pPr marL="171450" marR="0" lvl="0" indent="-171450" algn="just" defTabSz="457200" rtl="0" eaLnBrk="1" fontAlgn="auto" latinLnBrk="0" hangingPunct="1">
              <a:lnSpc>
                <a:spcPts val="1500"/>
              </a:lnSpc>
              <a:spcBef>
                <a:spcPts val="0"/>
              </a:spcBef>
              <a:spcAft>
                <a:spcPts val="0"/>
              </a:spcAft>
              <a:buClrTx/>
              <a:buSzTx/>
              <a:buFont typeface="Arial" panose="020B0604020202020204" pitchFamily="34" charset="0"/>
              <a:buChar char="•"/>
              <a:tabLst/>
              <a:defRPr/>
            </a:pPr>
            <a:r>
              <a:rPr lang="en-IN" sz="900" b="1" dirty="0">
                <a:solidFill>
                  <a:prstClr val="white">
                    <a:lumMod val="95000"/>
                  </a:prstClr>
                </a:solidFill>
                <a:latin typeface="Open Sans" panose="020B0606030504020204" pitchFamily="34" charset="0"/>
                <a:ea typeface="Open Sans" panose="020B0606030504020204" pitchFamily="34" charset="0"/>
                <a:cs typeface="Open Sans" panose="020B0606030504020204" pitchFamily="34" charset="0"/>
              </a:rPr>
              <a:t>Global Sulphur Market</a:t>
            </a:r>
            <a:r>
              <a:rPr kumimoji="0" lang="en-IN" sz="900" b="1" i="0" u="none" strike="noStrike" kern="1200" cap="none" spc="0" normalizeH="0" baseline="0" noProof="0" dirty="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 By  </a:t>
            </a:r>
            <a:r>
              <a:rPr lang="en-IN" sz="900" b="1" dirty="0">
                <a:solidFill>
                  <a:prstClr val="white">
                    <a:lumMod val="95000"/>
                  </a:prstClr>
                </a:solidFill>
                <a:latin typeface="Open Sans" panose="020B0606030504020204" pitchFamily="34" charset="0"/>
                <a:ea typeface="Open Sans" panose="020B0606030504020204" pitchFamily="34" charset="0"/>
                <a:cs typeface="Open Sans" panose="020B0606030504020204" pitchFamily="34" charset="0"/>
              </a:rPr>
              <a:t>Application, </a:t>
            </a:r>
            <a:r>
              <a:rPr kumimoji="0" lang="en-IN" sz="900" b="1" i="0" u="none" strike="noStrike" kern="1200" cap="none" spc="0" normalizeH="0" baseline="0" noProof="0" dirty="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Region, Competition, Forecast &amp; Opportunities, 2025</a:t>
            </a:r>
          </a:p>
          <a:p>
            <a:pPr marL="171450" indent="-171450" algn="just">
              <a:lnSpc>
                <a:spcPts val="1500"/>
              </a:lnSpc>
              <a:buFont typeface="Arial" panose="020B0604020202020204" pitchFamily="34" charset="0"/>
              <a:buChar char="•"/>
              <a:defRPr/>
            </a:pPr>
            <a:r>
              <a:rPr lang="en-IN" sz="900" b="1" dirty="0">
                <a:solidFill>
                  <a:prstClr val="white">
                    <a:lumMod val="95000"/>
                  </a:prstClr>
                </a:solidFill>
                <a:latin typeface="Open Sans" panose="020B0606030504020204" pitchFamily="34" charset="0"/>
                <a:ea typeface="Open Sans" panose="020B0606030504020204" pitchFamily="34" charset="0"/>
                <a:cs typeface="Open Sans" panose="020B0606030504020204" pitchFamily="34" charset="0"/>
              </a:rPr>
              <a:t>Vietnam Animal Feed Market</a:t>
            </a:r>
            <a:r>
              <a:rPr kumimoji="0" lang="en-IN" sz="900" b="1" i="0" u="none" strike="noStrike" kern="1200" cap="none" spc="0" normalizeH="0" baseline="0" noProof="0" dirty="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 By  </a:t>
            </a:r>
            <a:r>
              <a:rPr lang="en-IN" sz="900" b="1" dirty="0">
                <a:solidFill>
                  <a:prstClr val="white">
                    <a:lumMod val="95000"/>
                  </a:prstClr>
                </a:solidFill>
                <a:latin typeface="Open Sans" panose="020B0606030504020204" pitchFamily="34" charset="0"/>
                <a:ea typeface="Open Sans" panose="020B0606030504020204" pitchFamily="34" charset="0"/>
                <a:cs typeface="Open Sans" panose="020B0606030504020204" pitchFamily="34" charset="0"/>
              </a:rPr>
              <a:t>Application, </a:t>
            </a:r>
            <a:r>
              <a:rPr kumimoji="0" lang="en-IN" sz="900" b="1" i="0" u="none" strike="noStrike" kern="1200" cap="none" spc="0" normalizeH="0" baseline="0" noProof="0" dirty="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Region, Competition, Forecast &amp; Opportunities, 2025</a:t>
            </a:r>
          </a:p>
          <a:p>
            <a:pPr marL="171450" marR="0" lvl="0" indent="-171450" algn="just" defTabSz="457200" rtl="0" eaLnBrk="1" fontAlgn="auto" latinLnBrk="0" hangingPunct="1">
              <a:lnSpc>
                <a:spcPts val="1500"/>
              </a:lnSpc>
              <a:spcBef>
                <a:spcPts val="0"/>
              </a:spcBef>
              <a:spcAft>
                <a:spcPts val="0"/>
              </a:spcAft>
              <a:buClrTx/>
              <a:buSzTx/>
              <a:buFont typeface="Arial" panose="020B0604020202020204" pitchFamily="34" charset="0"/>
              <a:buChar char="•"/>
              <a:tabLst/>
              <a:defRPr/>
            </a:pPr>
            <a:r>
              <a:rPr kumimoji="0" lang="en-IN" sz="900" b="1" i="0" u="none" strike="noStrike" kern="1200" cap="none" spc="0" normalizeH="0" baseline="0" noProof="0" dirty="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Global Sebacic Acid Market By Application (Castor Oil, And Adipic Acid), By Application (Personal Care &amp; Cosmetics, Lubricants &amp; Greases, Metalworking Fluids, Plastics, Polymers and Others), By Region, Competition, Forecast &amp; Opportunities, 2025</a:t>
            </a:r>
            <a:endParaRPr kumimoji="0" lang="en-US" sz="900" b="1" i="0" u="none" strike="noStrike" kern="1200" cap="none" spc="0" normalizeH="0" baseline="0" noProof="0" dirty="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0" name="Rectangle 39">
            <a:extLst>
              <a:ext uri="{FF2B5EF4-FFF2-40B4-BE49-F238E27FC236}">
                <a16:creationId xmlns:a16="http://schemas.microsoft.com/office/drawing/2014/main" id="{4F0FFE88-E6FF-439E-8B63-A599260CEAE2}"/>
              </a:ext>
            </a:extLst>
          </p:cNvPr>
          <p:cNvSpPr/>
          <p:nvPr/>
        </p:nvSpPr>
        <p:spPr>
          <a:xfrm>
            <a:off x="190119" y="5707542"/>
            <a:ext cx="8442012" cy="830997"/>
          </a:xfrm>
          <a:prstGeom prst="rect">
            <a:avLst/>
          </a:prstGeom>
        </p:spPr>
        <p:txBody>
          <a:bodyPr wrap="square">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85000"/>
                  </a:prstClr>
                </a:solidFill>
                <a:effectLst/>
                <a:uLnTx/>
                <a:uFillTx/>
                <a:latin typeface="Open Sans" panose="020B0606030504020204" pitchFamily="34" charset="0"/>
                <a:ea typeface="Open Sans" panose="020B0606030504020204" pitchFamily="34" charset="0"/>
                <a:cs typeface="Open Sans" panose="020B0606030504020204" pitchFamily="34" charset="0"/>
              </a:rPr>
              <a:t>The contents of this report are based on information generally available to the public from Applications believed to be reliable. No representation is made that it is timely, accurate or complete. TechSci Research has taken due care and caution in compilation of data as this has been obtained from various Applications including which it considers reliable and firsthand. However, TechSci Research does not guarantee the accuracy, adequacy or completeness of any information and it is not responsible for any errors or omissions or for the results obtained from the use of such information and especially states that it has no financial liability whatsoever to the subscribers / users of this report. The information herein, together with all estimates and forecasts, can change without notice. All the figures provided in this document are indicative of relative market size and are strictly for client’s internal consumption. Usage of the same for purpose other than internal will require prior approval of TechSci Research.</a:t>
            </a:r>
          </a:p>
        </p:txBody>
      </p:sp>
      <p:sp>
        <p:nvSpPr>
          <p:cNvPr id="19" name="TextBox 18">
            <a:extLst>
              <a:ext uri="{FF2B5EF4-FFF2-40B4-BE49-F238E27FC236}">
                <a16:creationId xmlns:a16="http://schemas.microsoft.com/office/drawing/2014/main" id="{58A2C20E-4110-4753-860E-804B783DB9E9}"/>
              </a:ext>
            </a:extLst>
          </p:cNvPr>
          <p:cNvSpPr txBox="1"/>
          <p:nvPr/>
        </p:nvSpPr>
        <p:spPr>
          <a:xfrm>
            <a:off x="188686" y="4376454"/>
            <a:ext cx="2603188" cy="846386"/>
          </a:xfrm>
          <a:prstGeom prst="rect">
            <a:avLst/>
          </a:prstGeom>
          <a:solidFill>
            <a:schemeClr val="bg1">
              <a:lumMod val="95000"/>
            </a:schemeClr>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Global</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708 Third Avenue, Manhattan,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New York, United State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Tel: +1- 646- 360- 1656</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Email: sales@</a:t>
            </a:r>
            <a:r>
              <a:rPr lang="en-US" sz="800" b="1" kern="0" dirty="0">
                <a:solidFill>
                  <a:srgbClr val="222A35"/>
                </a:solidFill>
                <a:latin typeface="Open Sans" panose="020B0606030504020204" pitchFamily="34" charset="0"/>
                <a:ea typeface="Open Sans" panose="020B0606030504020204" pitchFamily="34" charset="0"/>
                <a:cs typeface="Open Sans" panose="020B0606030504020204" pitchFamily="34" charset="0"/>
              </a:rPr>
              <a:t>chemanalyst.com</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800" b="1" kern="0" dirty="0">
                <a:solidFill>
                  <a:srgbClr val="222A35"/>
                </a:solidFill>
                <a:latin typeface="Open Sans" panose="020B0606030504020204" pitchFamily="34" charset="0"/>
                <a:ea typeface="Open Sans" panose="020B0606030504020204" pitchFamily="34" charset="0"/>
                <a:cs typeface="Open Sans" panose="020B0606030504020204" pitchFamily="34" charset="0"/>
              </a:rPr>
              <a:t>www.chemanalyst.com</a:t>
            </a:r>
            <a:endPar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4" name="Rectangle 43">
            <a:extLst>
              <a:ext uri="{FF2B5EF4-FFF2-40B4-BE49-F238E27FC236}">
                <a16:creationId xmlns:a16="http://schemas.microsoft.com/office/drawing/2014/main" id="{A069EC92-F45C-4527-B652-FC16964171D9}"/>
              </a:ext>
            </a:extLst>
          </p:cNvPr>
          <p:cNvSpPr/>
          <p:nvPr/>
        </p:nvSpPr>
        <p:spPr>
          <a:xfrm>
            <a:off x="204778" y="5378013"/>
            <a:ext cx="5564872" cy="266355"/>
          </a:xfrm>
          <a:prstGeom prst="rect">
            <a:avLst/>
          </a:prstGeom>
        </p:spPr>
        <p:txBody>
          <a:bodyPr wrap="square">
            <a:spAutoFit/>
          </a:bodyPr>
          <a:lstStyle/>
          <a:p>
            <a:pPr marL="0" marR="0" lvl="0" indent="0" algn="just" defTabSz="457200" rtl="0" eaLnBrk="1" fontAlgn="auto" latinLnBrk="0" hangingPunct="1">
              <a:lnSpc>
                <a:spcPts val="1500"/>
              </a:lnSpc>
              <a:spcBef>
                <a:spcPts val="0"/>
              </a:spcBef>
              <a:spcAft>
                <a:spcPts val="0"/>
              </a:spcAft>
              <a:buClrTx/>
              <a:buSzTx/>
              <a:buFontTx/>
              <a:buNone/>
              <a:tabLst/>
              <a:defRPr/>
            </a:pPr>
            <a:r>
              <a:rPr kumimoji="0" lang="en-IN" sz="9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Disclaimer </a:t>
            </a:r>
          </a:p>
        </p:txBody>
      </p:sp>
      <p:sp>
        <p:nvSpPr>
          <p:cNvPr id="22" name="TextBox 21">
            <a:extLst>
              <a:ext uri="{FF2B5EF4-FFF2-40B4-BE49-F238E27FC236}">
                <a16:creationId xmlns:a16="http://schemas.microsoft.com/office/drawing/2014/main" id="{25D4E136-3B63-4D2C-BBBA-B508E79A153C}"/>
              </a:ext>
            </a:extLst>
          </p:cNvPr>
          <p:cNvSpPr txBox="1"/>
          <p:nvPr/>
        </p:nvSpPr>
        <p:spPr>
          <a:xfrm>
            <a:off x="3007410" y="4384831"/>
            <a:ext cx="2603188" cy="846386"/>
          </a:xfrm>
          <a:prstGeom prst="rect">
            <a:avLst/>
          </a:prstGeom>
          <a:solidFill>
            <a:schemeClr val="bg1">
              <a:lumMod val="95000"/>
            </a:schemeClr>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Europ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54, Old brook,  Bretton,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Peterborough,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United Kingdom</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Email: sales@</a:t>
            </a:r>
            <a:r>
              <a:rPr lang="en-US" sz="800" b="1" kern="0" dirty="0">
                <a:solidFill>
                  <a:srgbClr val="222A35"/>
                </a:solidFill>
                <a:latin typeface="Open Sans" panose="020B0606030504020204" pitchFamily="34" charset="0"/>
                <a:ea typeface="Open Sans" panose="020B0606030504020204" pitchFamily="34" charset="0"/>
                <a:cs typeface="Open Sans" panose="020B0606030504020204" pitchFamily="34" charset="0"/>
              </a:rPr>
              <a:t>chemanalyst.com</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800" b="1" kern="0" dirty="0">
                <a:solidFill>
                  <a:srgbClr val="222A35"/>
                </a:solidFill>
                <a:latin typeface="Open Sans" panose="020B0606030504020204" pitchFamily="34" charset="0"/>
                <a:ea typeface="Open Sans" panose="020B0606030504020204" pitchFamily="34" charset="0"/>
                <a:cs typeface="Open Sans" panose="020B0606030504020204" pitchFamily="34" charset="0"/>
              </a:rPr>
              <a:t>www.chemanalyst.com</a:t>
            </a:r>
            <a:endPar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 name="TextBox 24">
            <a:extLst>
              <a:ext uri="{FF2B5EF4-FFF2-40B4-BE49-F238E27FC236}">
                <a16:creationId xmlns:a16="http://schemas.microsoft.com/office/drawing/2014/main" id="{9E238F4D-2A7D-4BC0-875E-A46B20126945}"/>
              </a:ext>
            </a:extLst>
          </p:cNvPr>
          <p:cNvSpPr txBox="1"/>
          <p:nvPr/>
        </p:nvSpPr>
        <p:spPr>
          <a:xfrm>
            <a:off x="5810294" y="4392995"/>
            <a:ext cx="2603188" cy="846386"/>
          </a:xfrm>
          <a:prstGeom prst="rect">
            <a:avLst/>
          </a:prstGeom>
          <a:solidFill>
            <a:schemeClr val="bg1">
              <a:lumMod val="95000"/>
            </a:schemeClr>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Asia-Pacific</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B – 44, Sector – 57, Noida, National Capital Region, U.P. - India</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Tel: +91-120-4523900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Email: sales@</a:t>
            </a:r>
            <a:r>
              <a:rPr lang="en-US" sz="800" b="1" kern="0" dirty="0">
                <a:solidFill>
                  <a:srgbClr val="222A35"/>
                </a:solidFill>
                <a:latin typeface="Open Sans" panose="020B0606030504020204" pitchFamily="34" charset="0"/>
                <a:ea typeface="Open Sans" panose="020B0606030504020204" pitchFamily="34" charset="0"/>
                <a:cs typeface="Open Sans" panose="020B0606030504020204" pitchFamily="34" charset="0"/>
              </a:rPr>
              <a:t>chemanalyst.com</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800" b="1" kern="0" dirty="0">
                <a:solidFill>
                  <a:srgbClr val="222A35"/>
                </a:solidFill>
                <a:latin typeface="Open Sans" panose="020B0606030504020204" pitchFamily="34" charset="0"/>
                <a:ea typeface="Open Sans" panose="020B0606030504020204" pitchFamily="34" charset="0"/>
                <a:cs typeface="Open Sans" panose="020B0606030504020204" pitchFamily="34" charset="0"/>
              </a:rPr>
              <a:t>www.chemanalyst.com</a:t>
            </a:r>
            <a:endPar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7" name="Picture 16" descr="Text&#10;&#10;Description automatically generated">
            <a:extLst>
              <a:ext uri="{FF2B5EF4-FFF2-40B4-BE49-F238E27FC236}">
                <a16:creationId xmlns:a16="http://schemas.microsoft.com/office/drawing/2014/main" id="{55F360D2-9B69-480C-AFB1-3B2ED2B95A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69797" y="430366"/>
            <a:ext cx="2028825" cy="523875"/>
          </a:xfrm>
          <a:prstGeom prst="rect">
            <a:avLst/>
          </a:prstGeom>
        </p:spPr>
      </p:pic>
    </p:spTree>
    <p:extLst>
      <p:ext uri="{BB962C8B-B14F-4D97-AF65-F5344CB8AC3E}">
        <p14:creationId xmlns:p14="http://schemas.microsoft.com/office/powerpoint/2010/main" val="13602798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
            <a:extLst>
              <a:ext uri="{FF2B5EF4-FFF2-40B4-BE49-F238E27FC236}">
                <a16:creationId xmlns:a16="http://schemas.microsoft.com/office/drawing/2014/main" id="{7A723762-FF80-4333-8355-0B25B76B2E40}"/>
              </a:ext>
            </a:extLst>
          </p:cNvPr>
          <p:cNvSpPr txBox="1">
            <a:spLocks/>
          </p:cNvSpPr>
          <p:nvPr/>
        </p:nvSpPr>
        <p:spPr>
          <a:xfrm>
            <a:off x="298236" y="234066"/>
            <a:ext cx="7863840" cy="296684"/>
          </a:xfrm>
          <a:prstGeom prst="rect">
            <a:avLst/>
          </a:prstGeom>
          <a:noFill/>
        </p:spPr>
        <p:txBody>
          <a:bodyPr vert="horz" wrap="square" lIns="91440" tIns="45720" rIns="91440" bIns="45720" rtlCol="0" anchor="ctr">
            <a:spAutoFit/>
          </a:bodyPr>
          <a:lstStyle>
            <a:defPPr>
              <a:defRPr lang="en-US"/>
            </a:defPPr>
            <a:lvl1pPr lvl="0">
              <a:lnSpc>
                <a:spcPts val="1700"/>
              </a:lnSpc>
              <a:spcBef>
                <a:spcPct val="0"/>
              </a:spcBef>
              <a:buNone/>
              <a:defRPr sz="1400" b="1">
                <a:solidFill>
                  <a:prstClr val="black"/>
                </a:solidFill>
                <a:latin typeface="Arial" panose="020B0604020202020204" pitchFamily="34" charset="0"/>
                <a:ea typeface="+mj-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1700"/>
              </a:lnSpc>
              <a:spcBef>
                <a:spcPct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Research Methodology</a:t>
            </a:r>
          </a:p>
        </p:txBody>
      </p:sp>
      <p:sp>
        <p:nvSpPr>
          <p:cNvPr id="4" name="Subtitle 5">
            <a:extLst>
              <a:ext uri="{FF2B5EF4-FFF2-40B4-BE49-F238E27FC236}">
                <a16:creationId xmlns:a16="http://schemas.microsoft.com/office/drawing/2014/main" id="{A464F027-6ED5-4F2C-8610-4F7410108521}"/>
              </a:ext>
            </a:extLst>
          </p:cNvPr>
          <p:cNvSpPr txBox="1">
            <a:spLocks/>
          </p:cNvSpPr>
          <p:nvPr/>
        </p:nvSpPr>
        <p:spPr>
          <a:xfrm>
            <a:off x="215899" y="678933"/>
            <a:ext cx="8569325" cy="5789737"/>
          </a:xfrm>
          <a:prstGeom prst="rect">
            <a:avLst/>
          </a:prstGeom>
        </p:spPr>
        <p:txBody>
          <a:bodyPr/>
          <a:lstStyle>
            <a:lvl1pPr marL="171450" indent="-171450" algn="just" defTabSz="914400" rtl="0" eaLnBrk="1" latinLnBrk="0" hangingPunct="1">
              <a:lnSpc>
                <a:spcPct val="200000"/>
              </a:lnSpc>
              <a:spcBef>
                <a:spcPts val="1000"/>
              </a:spcBef>
              <a:buFontTx/>
              <a:buBlip>
                <a:blip r:embed="rId2"/>
              </a:buBlip>
              <a:defRPr lang="en-US" sz="10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lnSpc>
                <a:spcPct val="250000"/>
              </a:lnSpc>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espondents were asked about the current and future market growth rates, as well as market shares by </a:t>
            </a:r>
            <a:r>
              <a:rPr lang="en-IN" dirty="0">
                <a:solidFill>
                  <a:prstClr val="black"/>
                </a:solidFill>
              </a:rPr>
              <a:t>type</a:t>
            </a: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end use</a:t>
            </a:r>
            <a:r>
              <a:rPr kumimoji="0" lang="en-IN" sz="1000" b="0"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a:t>
            </a:r>
            <a:r>
              <a:rPr lang="en-IN" dirty="0">
                <a:solidFill>
                  <a:prstClr val="black"/>
                </a:solidFill>
              </a:rPr>
              <a:t>y grade, by country and by c</a:t>
            </a:r>
            <a:r>
              <a:rPr kumimoji="0" lang="en-IN"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ompany</a:t>
            </a: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Removing the outlier responses, the geometric mean of growth estimates and provider wise revenue shares generated across various segments were considered, to arrive at the final revenue shares. Revenue shares generated across various segments were further triangulated from other stakeholders.</a:t>
            </a:r>
          </a:p>
          <a:p>
            <a:pPr marL="0" marR="0" lvl="0" indent="0" algn="just" defTabSz="914400" rtl="0" eaLnBrk="1" fontAlgn="auto" latinLnBrk="0" hangingPunct="1">
              <a:lnSpc>
                <a:spcPct val="250000"/>
              </a:lnSpc>
              <a:spcBef>
                <a:spcPts val="1000"/>
              </a:spcBef>
              <a:spcAft>
                <a:spcPts val="0"/>
              </a:spcAft>
              <a:buClrTx/>
              <a:buSzTx/>
              <a:buFontTx/>
              <a:buNone/>
              <a:tabLst/>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ethodology Followed for Calculation of Market Shares: </a:t>
            </a:r>
          </a:p>
          <a:p>
            <a:pPr lvl="0">
              <a:lnSpc>
                <a:spcPct val="250000"/>
              </a:lnSpc>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arket shares</a:t>
            </a:r>
            <a:r>
              <a:rPr lang="en-IN" dirty="0">
                <a:solidFill>
                  <a:prstClr val="black"/>
                </a:solidFill>
              </a:rPr>
              <a:t> by type</a:t>
            </a:r>
            <a:r>
              <a:rPr lang="en-IN" dirty="0">
                <a:solidFill>
                  <a:srgbClr val="E7E6E6">
                    <a:lumMod val="25000"/>
                  </a:srgbClr>
                </a:solidFill>
              </a:rPr>
              <a:t>, </a:t>
            </a:r>
            <a:r>
              <a:rPr lang="en-IN" dirty="0">
                <a:solidFill>
                  <a:prstClr val="black"/>
                </a:solidFill>
              </a:rPr>
              <a:t>by end use, by grade, by country and by company were calculated based on the responses received through primary surveys with industry experts, in which the respondents were asked about the market shares of the leading Copper Sulphate suppliers in South-East Asia. The final shares were calculated by taking the geometric mean of the responses gathered from key opinion leaders after eliminating the outliers. Moreover, respondents were asked about the leading companies.</a:t>
            </a:r>
          </a:p>
          <a:p>
            <a:pPr marL="0" marR="0" lvl="0" indent="0" algn="just" defTabSz="914400" rtl="0" eaLnBrk="1" fontAlgn="auto" latinLnBrk="0" hangingPunct="1">
              <a:lnSpc>
                <a:spcPct val="250000"/>
              </a:lnSpc>
              <a:spcBef>
                <a:spcPts val="1000"/>
              </a:spcBef>
              <a:spcAft>
                <a:spcPts val="0"/>
              </a:spcAft>
              <a:buClrTx/>
              <a:buSzTx/>
              <a:buFontTx/>
              <a:buNone/>
              <a:tabLst/>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ethodology Followed for Forecasting: </a:t>
            </a:r>
          </a:p>
          <a:p>
            <a:pPr marL="171450" marR="0" lvl="0" indent="-171450" algn="just" defTabSz="914400" rtl="0" eaLnBrk="1" fontAlgn="auto" latinLnBrk="0" hangingPunct="1">
              <a:lnSpc>
                <a:spcPct val="250000"/>
              </a:lnSpc>
              <a:spcBef>
                <a:spcPts val="1000"/>
              </a:spcBef>
              <a:spcAft>
                <a:spcPts val="0"/>
              </a:spcAft>
              <a:buClrTx/>
              <a:buSzTx/>
              <a:buFontTx/>
              <a:buBlip>
                <a:blip r:embed="rId2"/>
              </a:buBlip>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hemAnalyst performed periodical checks on data collected through the surveys with logical checks and analyzed the survey results in SPSS/Tableau Software.</a:t>
            </a: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0366790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
            <a:extLst>
              <a:ext uri="{FF2B5EF4-FFF2-40B4-BE49-F238E27FC236}">
                <a16:creationId xmlns:a16="http://schemas.microsoft.com/office/drawing/2014/main" id="{7A723762-FF80-4333-8355-0B25B76B2E40}"/>
              </a:ext>
            </a:extLst>
          </p:cNvPr>
          <p:cNvSpPr txBox="1">
            <a:spLocks/>
          </p:cNvSpPr>
          <p:nvPr/>
        </p:nvSpPr>
        <p:spPr>
          <a:xfrm>
            <a:off x="298236" y="234066"/>
            <a:ext cx="7863840" cy="296684"/>
          </a:xfrm>
          <a:prstGeom prst="rect">
            <a:avLst/>
          </a:prstGeom>
          <a:noFill/>
        </p:spPr>
        <p:txBody>
          <a:bodyPr vert="horz" wrap="square" lIns="91440" tIns="45720" rIns="91440" bIns="45720" rtlCol="0" anchor="ctr">
            <a:spAutoFit/>
          </a:bodyPr>
          <a:lstStyle>
            <a:defPPr>
              <a:defRPr lang="en-US"/>
            </a:defPPr>
            <a:lvl1pPr lvl="0">
              <a:lnSpc>
                <a:spcPts val="1700"/>
              </a:lnSpc>
              <a:spcBef>
                <a:spcPct val="0"/>
              </a:spcBef>
              <a:buNone/>
              <a:defRPr sz="1400" b="1">
                <a:solidFill>
                  <a:prstClr val="black"/>
                </a:solidFill>
                <a:latin typeface="Arial" panose="020B0604020202020204" pitchFamily="34" charset="0"/>
                <a:ea typeface="+mj-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1700"/>
              </a:lnSpc>
              <a:spcBef>
                <a:spcPct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Research Methodology</a:t>
            </a:r>
          </a:p>
        </p:txBody>
      </p:sp>
      <p:sp>
        <p:nvSpPr>
          <p:cNvPr id="5" name="Subtitle 5">
            <a:extLst>
              <a:ext uri="{FF2B5EF4-FFF2-40B4-BE49-F238E27FC236}">
                <a16:creationId xmlns:a16="http://schemas.microsoft.com/office/drawing/2014/main" id="{C666B8ED-F85F-4C56-BBAE-3351D2AF3D81}"/>
              </a:ext>
            </a:extLst>
          </p:cNvPr>
          <p:cNvSpPr txBox="1">
            <a:spLocks/>
          </p:cNvSpPr>
          <p:nvPr/>
        </p:nvSpPr>
        <p:spPr>
          <a:xfrm>
            <a:off x="234950" y="728120"/>
            <a:ext cx="8550275" cy="3565583"/>
          </a:xfrm>
          <a:prstGeom prst="rect">
            <a:avLst/>
          </a:prstGeom>
        </p:spPr>
        <p:txBody>
          <a:bodyPr>
            <a:noAutofit/>
          </a:bodyPr>
          <a:lstStyle>
            <a:lvl1pPr marL="171450" indent="-171450" algn="just" defTabSz="914400" rtl="0" eaLnBrk="1" latinLnBrk="0" hangingPunct="1">
              <a:lnSpc>
                <a:spcPct val="200000"/>
              </a:lnSpc>
              <a:spcBef>
                <a:spcPts val="1000"/>
              </a:spcBef>
              <a:buFontTx/>
              <a:buBlip>
                <a:blip r:embed="rId2"/>
              </a:buBlip>
              <a:defRPr lang="en-US" sz="10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ata triangulation techniques were applied to fill the gaps and to present a more meaningful picture of the market. To forecast </a:t>
            </a:r>
            <a:r>
              <a:rPr kumimoji="0" lang="en-IN"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out</a:t>
            </a:r>
            <a:r>
              <a:rPr lang="en-IN" dirty="0">
                <a:solidFill>
                  <a:prstClr val="black"/>
                </a:solidFill>
              </a:rPr>
              <a:t>h-East </a:t>
            </a:r>
            <a:r>
              <a:rPr lang="en-US" dirty="0">
                <a:solidFill>
                  <a:prstClr val="black"/>
                </a:solidFill>
              </a:rPr>
              <a:t>Asia Copper Sulphate market</a:t>
            </a: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ChemAnalyst  used various forecast techniques such as:</a:t>
            </a:r>
          </a:p>
          <a:p>
            <a:pPr marL="800100" marR="0" lvl="1" indent="-342900" algn="l" defTabSz="914400" rtl="0" eaLnBrk="1" fontAlgn="auto" latinLnBrk="0" hangingPunct="1">
              <a:lnSpc>
                <a:spcPct val="200000"/>
              </a:lnSpc>
              <a:spcBef>
                <a:spcPts val="500"/>
              </a:spcBef>
              <a:spcAft>
                <a:spcPts val="0"/>
              </a:spcAft>
              <a:buClrTx/>
              <a:buSzTx/>
              <a:buFont typeface="Courier New" panose="02070309020205020404" pitchFamily="49" charset="0"/>
              <a:buChar char="o"/>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oving Average</a:t>
            </a:r>
          </a:p>
          <a:p>
            <a:pPr marL="800100" marR="0" lvl="1" indent="-342900" algn="l" defTabSz="914400" rtl="0" eaLnBrk="1" fontAlgn="auto" latinLnBrk="0" hangingPunct="1">
              <a:lnSpc>
                <a:spcPct val="200000"/>
              </a:lnSpc>
              <a:spcBef>
                <a:spcPts val="500"/>
              </a:spcBef>
              <a:spcAft>
                <a:spcPts val="0"/>
              </a:spcAft>
              <a:buClrTx/>
              <a:buSzTx/>
              <a:buFont typeface="Courier New" panose="02070309020205020404" pitchFamily="49" charset="0"/>
              <a:buChar char="o"/>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Time Series Analysis </a:t>
            </a:r>
          </a:p>
          <a:p>
            <a:pPr marL="800100" marR="0" lvl="1" indent="-342900" algn="l" defTabSz="914400" rtl="0" eaLnBrk="1" fontAlgn="auto" latinLnBrk="0" hangingPunct="1">
              <a:lnSpc>
                <a:spcPct val="200000"/>
              </a:lnSpc>
              <a:spcBef>
                <a:spcPts val="500"/>
              </a:spcBef>
              <a:spcAft>
                <a:spcPts val="0"/>
              </a:spcAft>
              <a:buClrTx/>
              <a:buSzTx/>
              <a:buFont typeface="Courier New" panose="02070309020205020404" pitchFamily="49" charset="0"/>
              <a:buChar char="o"/>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egression Analysis</a:t>
            </a:r>
          </a:p>
          <a:p>
            <a:pPr marL="800100" marR="0" lvl="1" indent="-342900" algn="l" defTabSz="914400" rtl="0" eaLnBrk="1" fontAlgn="auto" latinLnBrk="0" hangingPunct="1">
              <a:lnSpc>
                <a:spcPct val="200000"/>
              </a:lnSpc>
              <a:spcBef>
                <a:spcPts val="500"/>
              </a:spcBef>
              <a:spcAft>
                <a:spcPts val="0"/>
              </a:spcAft>
              <a:buClrTx/>
              <a:buSzTx/>
              <a:buFont typeface="Courier New" panose="02070309020205020404" pitchFamily="49" charset="0"/>
              <a:buChar char="o"/>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Econometric and Judgmental Analysis</a:t>
            </a:r>
          </a:p>
          <a:p>
            <a:pPr marL="0" marR="0" lvl="0" indent="0" algn="just" defTabSz="914400" rtl="0" eaLnBrk="1" fontAlgn="auto" latinLnBrk="0" hangingPunct="1">
              <a:lnSpc>
                <a:spcPct val="200000"/>
              </a:lnSpc>
              <a:spcBef>
                <a:spcPts val="1000"/>
              </a:spcBef>
              <a:spcAft>
                <a:spcPts val="0"/>
              </a:spcAft>
              <a:buClrTx/>
              <a:buSzTx/>
              <a:buFontTx/>
              <a:buNone/>
              <a:tabLst/>
              <a:defRPr/>
            </a:pPr>
            <a:r>
              <a:rPr lang="en-IN" dirty="0">
                <a:solidFill>
                  <a:prstClr val="black"/>
                </a:solidFill>
              </a:rPr>
              <a:t>ChemAnalyst</a:t>
            </a: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used its own forecast tool, which is based on the growth of various allied industries in respective regions. ChemAnalyst also used the impact analysis during short, medium- and long-term period to estimate and analyze market demand scenario. </a:t>
            </a:r>
          </a:p>
        </p:txBody>
      </p:sp>
      <p:graphicFrame>
        <p:nvGraphicFramePr>
          <p:cNvPr id="6" name="Table 5">
            <a:extLst>
              <a:ext uri="{FF2B5EF4-FFF2-40B4-BE49-F238E27FC236}">
                <a16:creationId xmlns:a16="http://schemas.microsoft.com/office/drawing/2014/main" id="{E3C3BC7E-0C23-495A-9521-136FA9237095}"/>
              </a:ext>
            </a:extLst>
          </p:cNvPr>
          <p:cNvGraphicFramePr>
            <a:graphicFrameLocks noGrp="1"/>
          </p:cNvGraphicFramePr>
          <p:nvPr>
            <p:extLst>
              <p:ext uri="{D42A27DB-BD31-4B8C-83A1-F6EECF244321}">
                <p14:modId xmlns:p14="http://schemas.microsoft.com/office/powerpoint/2010/main" val="66594335"/>
              </p:ext>
            </p:extLst>
          </p:nvPr>
        </p:nvGraphicFramePr>
        <p:xfrm>
          <a:off x="377371" y="4175150"/>
          <a:ext cx="8287658" cy="1850975"/>
        </p:xfrm>
        <a:graphic>
          <a:graphicData uri="http://schemas.openxmlformats.org/drawingml/2006/table">
            <a:tbl>
              <a:tblPr firstRow="1" bandRow="1">
                <a:tableStyleId>{2D5ABB26-0587-4C30-8999-92F81FD0307C}</a:tableStyleId>
              </a:tblPr>
              <a:tblGrid>
                <a:gridCol w="2120888">
                  <a:extLst>
                    <a:ext uri="{9D8B030D-6E8A-4147-A177-3AD203B41FA5}">
                      <a16:colId xmlns:a16="http://schemas.microsoft.com/office/drawing/2014/main" val="2767272257"/>
                    </a:ext>
                  </a:extLst>
                </a:gridCol>
                <a:gridCol w="6166770">
                  <a:extLst>
                    <a:ext uri="{9D8B030D-6E8A-4147-A177-3AD203B41FA5}">
                      <a16:colId xmlns:a16="http://schemas.microsoft.com/office/drawing/2014/main" val="349298002"/>
                    </a:ext>
                  </a:extLst>
                </a:gridCol>
              </a:tblGrid>
              <a:tr h="87593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000" b="1" kern="1200" dirty="0">
                          <a:latin typeface="Verdana" panose="020B0604030504040204" pitchFamily="34" charset="0"/>
                          <a:ea typeface="Verdana" panose="020B0604030504040204" pitchFamily="34" charset="0"/>
                          <a:cs typeface="Verdana" panose="020B0604030504040204" pitchFamily="34" charset="0"/>
                        </a:rPr>
                        <a:t>Partial List of  Secondary Sources</a:t>
                      </a:r>
                      <a:endParaRPr lang="en-IN" sz="10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Metal Bulletin, CRU Group, UN </a:t>
                      </a:r>
                      <a:r>
                        <a:rPr kumimoji="0" lang="en-IN" sz="1000" b="0" i="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Comtrade</a:t>
                      </a:r>
                      <a:r>
                        <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World Bank, Industry Association, </a:t>
                      </a:r>
                      <a:r>
                        <a:rPr kumimoji="0" lang="en-IN" sz="1000" b="0" i="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FAOStat</a:t>
                      </a:r>
                      <a:r>
                        <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Asian Development Bank (ADB), OECD, LME, ASEAN Statistics, Vietnam Animal Feed Association</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50844330"/>
                  </a:ext>
                </a:extLst>
              </a:tr>
              <a:tr h="875932">
                <a:tc>
                  <a:txBody>
                    <a:bodyPr/>
                    <a:lstStyle>
                      <a:lvl1pPr marL="0" algn="l" defTabSz="914400" rtl="0" eaLnBrk="1" latinLnBrk="0" hangingPunct="1">
                        <a:defRPr sz="1800" b="1" kern="1200">
                          <a:solidFill>
                            <a:schemeClr val="tx1"/>
                          </a:solidFill>
                          <a:latin typeface="Calibri" panose="020F0502020204030204"/>
                        </a:defRPr>
                      </a:lvl1pPr>
                      <a:lvl2pPr marL="457200" algn="l" defTabSz="914400" rtl="0" eaLnBrk="1" latinLnBrk="0" hangingPunct="1">
                        <a:defRPr sz="1800" b="1" kern="1200">
                          <a:solidFill>
                            <a:schemeClr val="tx1"/>
                          </a:solidFill>
                          <a:latin typeface="Calibri" panose="020F0502020204030204"/>
                        </a:defRPr>
                      </a:lvl2pPr>
                      <a:lvl3pPr marL="914400" algn="l" defTabSz="914400" rtl="0" eaLnBrk="1" latinLnBrk="0" hangingPunct="1">
                        <a:defRPr sz="1800" b="1" kern="1200">
                          <a:solidFill>
                            <a:schemeClr val="tx1"/>
                          </a:solidFill>
                          <a:latin typeface="Calibri" panose="020F0502020204030204"/>
                        </a:defRPr>
                      </a:lvl3pPr>
                      <a:lvl4pPr marL="1371600" algn="l" defTabSz="914400" rtl="0" eaLnBrk="1" latinLnBrk="0" hangingPunct="1">
                        <a:defRPr sz="1800" b="1" kern="1200">
                          <a:solidFill>
                            <a:schemeClr val="tx1"/>
                          </a:solidFill>
                          <a:latin typeface="Calibri" panose="020F0502020204030204"/>
                        </a:defRPr>
                      </a:lvl4pPr>
                      <a:lvl5pPr marL="1828800" algn="l" defTabSz="914400" rtl="0" eaLnBrk="1" latinLnBrk="0" hangingPunct="1">
                        <a:defRPr sz="1800" b="1" kern="1200">
                          <a:solidFill>
                            <a:schemeClr val="tx1"/>
                          </a:solidFill>
                          <a:latin typeface="Calibri" panose="020F0502020204030204"/>
                        </a:defRPr>
                      </a:lvl5pPr>
                      <a:lvl6pPr marL="2286000" algn="l" defTabSz="914400" rtl="0" eaLnBrk="1" latinLnBrk="0" hangingPunct="1">
                        <a:defRPr sz="1800" b="1" kern="1200">
                          <a:solidFill>
                            <a:schemeClr val="tx1"/>
                          </a:solidFill>
                          <a:latin typeface="Calibri" panose="020F0502020204030204"/>
                        </a:defRPr>
                      </a:lvl6pPr>
                      <a:lvl7pPr marL="2743200" algn="l" defTabSz="914400" rtl="0" eaLnBrk="1" latinLnBrk="0" hangingPunct="1">
                        <a:defRPr sz="1800" b="1" kern="1200">
                          <a:solidFill>
                            <a:schemeClr val="tx1"/>
                          </a:solidFill>
                          <a:latin typeface="Calibri" panose="020F0502020204030204"/>
                        </a:defRPr>
                      </a:lvl7pPr>
                      <a:lvl8pPr marL="3200400" algn="l" defTabSz="914400" rtl="0" eaLnBrk="1" latinLnBrk="0" hangingPunct="1">
                        <a:defRPr sz="1800" b="1" kern="1200">
                          <a:solidFill>
                            <a:schemeClr val="tx1"/>
                          </a:solidFill>
                          <a:latin typeface="Calibri" panose="020F0502020204030204"/>
                        </a:defRPr>
                      </a:lvl8pPr>
                      <a:lvl9pPr marL="3657600" algn="l" defTabSz="914400" rtl="0" eaLnBrk="1" latinLnBrk="0" hangingPunct="1">
                        <a:defRPr sz="1800" b="1" kern="1200">
                          <a:solidFill>
                            <a:schemeClr val="tx1"/>
                          </a:solidFill>
                          <a:latin typeface="Calibri" panose="020F0502020204030204"/>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kern="1200" dirty="0">
                          <a:latin typeface="Verdana" panose="020B0604030504040204" pitchFamily="34" charset="0"/>
                          <a:ea typeface="Verdana" panose="020B0604030504040204" pitchFamily="34" charset="0"/>
                          <a:cs typeface="Verdana" panose="020B0604030504040204" pitchFamily="34" charset="0"/>
                        </a:rPr>
                        <a:t>Partial List companies Interviewed</a:t>
                      </a:r>
                      <a:endParaRPr lang="en-IN" sz="1000" b="0" kern="1200"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b="1" kern="1200">
                          <a:solidFill>
                            <a:schemeClr val="tx1"/>
                          </a:solidFill>
                          <a:latin typeface="Calibri" panose="020F0502020204030204"/>
                        </a:defRPr>
                      </a:lvl1pPr>
                      <a:lvl2pPr marL="457200" algn="l" defTabSz="914400" rtl="0" eaLnBrk="1" latinLnBrk="0" hangingPunct="1">
                        <a:defRPr sz="1800" b="1" kern="1200">
                          <a:solidFill>
                            <a:schemeClr val="tx1"/>
                          </a:solidFill>
                          <a:latin typeface="Calibri" panose="020F0502020204030204"/>
                        </a:defRPr>
                      </a:lvl2pPr>
                      <a:lvl3pPr marL="914400" algn="l" defTabSz="914400" rtl="0" eaLnBrk="1" latinLnBrk="0" hangingPunct="1">
                        <a:defRPr sz="1800" b="1" kern="1200">
                          <a:solidFill>
                            <a:schemeClr val="tx1"/>
                          </a:solidFill>
                          <a:latin typeface="Calibri" panose="020F0502020204030204"/>
                        </a:defRPr>
                      </a:lvl3pPr>
                      <a:lvl4pPr marL="1371600" algn="l" defTabSz="914400" rtl="0" eaLnBrk="1" latinLnBrk="0" hangingPunct="1">
                        <a:defRPr sz="1800" b="1" kern="1200">
                          <a:solidFill>
                            <a:schemeClr val="tx1"/>
                          </a:solidFill>
                          <a:latin typeface="Calibri" panose="020F0502020204030204"/>
                        </a:defRPr>
                      </a:lvl4pPr>
                      <a:lvl5pPr marL="1828800" algn="l" defTabSz="914400" rtl="0" eaLnBrk="1" latinLnBrk="0" hangingPunct="1">
                        <a:defRPr sz="1800" b="1" kern="1200">
                          <a:solidFill>
                            <a:schemeClr val="tx1"/>
                          </a:solidFill>
                          <a:latin typeface="Calibri" panose="020F0502020204030204"/>
                        </a:defRPr>
                      </a:lvl5pPr>
                      <a:lvl6pPr marL="2286000" algn="l" defTabSz="914400" rtl="0" eaLnBrk="1" latinLnBrk="0" hangingPunct="1">
                        <a:defRPr sz="1800" b="1" kern="1200">
                          <a:solidFill>
                            <a:schemeClr val="tx1"/>
                          </a:solidFill>
                          <a:latin typeface="Calibri" panose="020F0502020204030204"/>
                        </a:defRPr>
                      </a:lvl6pPr>
                      <a:lvl7pPr marL="2743200" algn="l" defTabSz="914400" rtl="0" eaLnBrk="1" latinLnBrk="0" hangingPunct="1">
                        <a:defRPr sz="1800" b="1" kern="1200">
                          <a:solidFill>
                            <a:schemeClr val="tx1"/>
                          </a:solidFill>
                          <a:latin typeface="Calibri" panose="020F0502020204030204"/>
                        </a:defRPr>
                      </a:lvl7pPr>
                      <a:lvl8pPr marL="3200400" algn="l" defTabSz="914400" rtl="0" eaLnBrk="1" latinLnBrk="0" hangingPunct="1">
                        <a:defRPr sz="1800" b="1" kern="1200">
                          <a:solidFill>
                            <a:schemeClr val="tx1"/>
                          </a:solidFill>
                          <a:latin typeface="Calibri" panose="020F0502020204030204"/>
                        </a:defRPr>
                      </a:lvl8pPr>
                      <a:lvl9pPr marL="3657600" algn="l" defTabSz="914400" rtl="0" eaLnBrk="1" latinLnBrk="0" hangingPunct="1">
                        <a:defRPr sz="1800" b="1" kern="1200">
                          <a:solidFill>
                            <a:schemeClr val="tx1"/>
                          </a:solidFill>
                          <a:latin typeface="Calibri" panose="020F0502020204030204"/>
                        </a:defRPr>
                      </a:lvl9p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IN" sz="1000" b="0" i="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Chemtronic</a:t>
                      </a:r>
                      <a:r>
                        <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Technology (Thailand) Co Ltd, Pt. Lam Seng Hang Indonesia, </a:t>
                      </a:r>
                      <a:r>
                        <a:rPr kumimoji="0" lang="en-IN" sz="1000" b="0" i="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Buildmore</a:t>
                      </a:r>
                      <a:r>
                        <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Enterprise Co., Ltd, Pt. </a:t>
                      </a:r>
                      <a:r>
                        <a:rPr kumimoji="0" lang="en-IN" sz="1000" b="0" i="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Fajar</a:t>
                      </a:r>
                      <a:r>
                        <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IN" sz="1000" b="0" i="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Zippindo</a:t>
                      </a:r>
                      <a:r>
                        <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Pt, </a:t>
                      </a:r>
                      <a:r>
                        <a:rPr kumimoji="0" lang="en-US"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Allan Chemical Corp., </a:t>
                      </a:r>
                      <a:r>
                        <a:rPr kumimoji="0" lang="en-US" sz="1000" b="0" i="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Atotech</a:t>
                      </a:r>
                      <a:r>
                        <a:rPr kumimoji="0" lang="en-US"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Chemicals Company, Noah Technologies Corp., </a:t>
                      </a:r>
                      <a:r>
                        <a:rPr kumimoji="0" lang="en-US" sz="1000" b="0" i="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Wego</a:t>
                      </a:r>
                      <a:r>
                        <a:rPr kumimoji="0" lang="en-US"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Chemical and Mineral Corp., Kirsch Pharma GmbH.,</a:t>
                      </a:r>
                      <a:r>
                        <a:rPr lang="da-DK"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da-DK" sz="1000" b="0" dirty="0">
                          <a:solidFill>
                            <a:prstClr val="black"/>
                          </a:solidFill>
                          <a:latin typeface="Verdana" panose="020B0604030504040204" pitchFamily="34" charset="0"/>
                          <a:ea typeface="Verdana" panose="020B0604030504040204" pitchFamily="34" charset="0"/>
                          <a:cs typeface="Verdana" panose="020B0604030504040204" pitchFamily="34" charset="0"/>
                        </a:rPr>
                        <a:t>JL Chemtonic Co., Ltd,</a:t>
                      </a:r>
                      <a:r>
                        <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fr-FR" sz="1000" b="0" dirty="0">
                          <a:solidFill>
                            <a:prstClr val="black"/>
                          </a:solidFill>
                          <a:latin typeface="Verdana" panose="020B0604030504040204" pitchFamily="34" charset="0"/>
                          <a:ea typeface="Verdana" panose="020B0604030504040204" pitchFamily="34" charset="0"/>
                          <a:cs typeface="Verdana" panose="020B0604030504040204" pitchFamily="34" charset="0"/>
                        </a:rPr>
                        <a:t>Remix </a:t>
                      </a:r>
                      <a:r>
                        <a:rPr lang="fr-FR" sz="1000" b="0" dirty="0" err="1">
                          <a:solidFill>
                            <a:prstClr val="black"/>
                          </a:solidFill>
                          <a:latin typeface="Verdana" panose="020B0604030504040204" pitchFamily="34" charset="0"/>
                          <a:ea typeface="Verdana" panose="020B0604030504040204" pitchFamily="34" charset="0"/>
                          <a:cs typeface="Verdana" panose="020B0604030504040204" pitchFamily="34" charset="0"/>
                        </a:rPr>
                        <a:t>Resilient</a:t>
                      </a:r>
                      <a:r>
                        <a:rPr lang="fr-FR" sz="1000" b="0" dirty="0">
                          <a:solidFill>
                            <a:prstClr val="black"/>
                          </a:solidFill>
                          <a:latin typeface="Verdana" panose="020B0604030504040204" pitchFamily="34" charset="0"/>
                          <a:ea typeface="Verdana" panose="020B0604030504040204" pitchFamily="34" charset="0"/>
                          <a:cs typeface="Verdana" panose="020B0604030504040204" pitchFamily="34" charset="0"/>
                        </a:rPr>
                        <a:t> Mix </a:t>
                      </a:r>
                      <a:r>
                        <a:rPr lang="fr-FR" sz="1000" b="0" dirty="0" err="1">
                          <a:solidFill>
                            <a:prstClr val="black"/>
                          </a:solidFill>
                          <a:latin typeface="Verdana" panose="020B0604030504040204" pitchFamily="34" charset="0"/>
                          <a:ea typeface="Verdana" panose="020B0604030504040204" pitchFamily="34" charset="0"/>
                          <a:cs typeface="Verdana" panose="020B0604030504040204" pitchFamily="34" charset="0"/>
                        </a:rPr>
                        <a:t>Sdn</a:t>
                      </a:r>
                      <a:r>
                        <a:rPr lang="fr-FR" sz="1000" b="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fr-FR" sz="1000" b="0" dirty="0" err="1">
                          <a:solidFill>
                            <a:prstClr val="black"/>
                          </a:solidFill>
                          <a:latin typeface="Verdana" panose="020B0604030504040204" pitchFamily="34" charset="0"/>
                          <a:ea typeface="Verdana" panose="020B0604030504040204" pitchFamily="34" charset="0"/>
                          <a:cs typeface="Verdana" panose="020B0604030504040204" pitchFamily="34" charset="0"/>
                        </a:rPr>
                        <a:t>Bhd</a:t>
                      </a:r>
                      <a:endPar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92538018"/>
                  </a:ext>
                </a:extLst>
              </a:tr>
            </a:tbl>
          </a:graphicData>
        </a:graphic>
      </p:graphicFrame>
    </p:spTree>
    <p:extLst>
      <p:ext uri="{BB962C8B-B14F-4D97-AF65-F5344CB8AC3E}">
        <p14:creationId xmlns:p14="http://schemas.microsoft.com/office/powerpoint/2010/main" val="19432865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A close-up of some rocks&#10;&#10;Description automatically generated with low confidence">
            <a:extLst>
              <a:ext uri="{FF2B5EF4-FFF2-40B4-BE49-F238E27FC236}">
                <a16:creationId xmlns:a16="http://schemas.microsoft.com/office/drawing/2014/main" id="{8EB62786-DF68-4C6E-B3BA-CE0FBC173016}"/>
              </a:ext>
            </a:extLst>
          </p:cNvPr>
          <p:cNvPicPr>
            <a:picLocks noChangeAspect="1"/>
          </p:cNvPicPr>
          <p:nvPr/>
        </p:nvPicPr>
        <p:blipFill rotWithShape="1">
          <a:blip r:embed="rId2"/>
          <a:srcRect b="5363"/>
          <a:stretch/>
        </p:blipFill>
        <p:spPr>
          <a:xfrm>
            <a:off x="20" y="10"/>
            <a:ext cx="9143980" cy="6857990"/>
          </a:xfrm>
          <a:prstGeom prst="rect">
            <a:avLst/>
          </a:prstGeom>
        </p:spPr>
      </p:pic>
      <p:sp>
        <p:nvSpPr>
          <p:cNvPr id="30" name="Rectangle 18">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20142"/>
            <a:ext cx="9144000" cy="736551"/>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2">
            <a:extLst>
              <a:ext uri="{FF2B5EF4-FFF2-40B4-BE49-F238E27FC236}">
                <a16:creationId xmlns:a16="http://schemas.microsoft.com/office/drawing/2014/main" id="{F888F908-0425-448A-9F48-E1135DF27EBA}"/>
              </a:ext>
            </a:extLst>
          </p:cNvPr>
          <p:cNvSpPr txBox="1">
            <a:spLocks/>
          </p:cNvSpPr>
          <p:nvPr/>
        </p:nvSpPr>
        <p:spPr>
          <a:xfrm>
            <a:off x="392906" y="5317240"/>
            <a:ext cx="8408194" cy="744836"/>
          </a:xfrm>
          <a:prstGeom prst="rect">
            <a:avLst/>
          </a:prstGeom>
        </p:spPr>
        <p:txBody>
          <a:bodyPr vert="horz" lIns="91440" tIns="45720" rIns="91440" bIns="45720" rtlCol="0" anchor="ctr">
            <a:normAutofit/>
          </a:bodyPr>
          <a:lstStyle>
            <a:lvl1pPr marL="188595" indent="-188595" algn="l" defTabSz="754380" rtl="0" eaLnBrk="1" latinLnBrk="0" hangingPunct="1">
              <a:lnSpc>
                <a:spcPct val="90000"/>
              </a:lnSpc>
              <a:spcBef>
                <a:spcPts val="825"/>
              </a:spcBef>
              <a:buFont typeface="Arial" panose="020B0604020202020204" pitchFamily="34" charset="0"/>
              <a:buChar char="•"/>
              <a:defRPr sz="2310" kern="1200">
                <a:solidFill>
                  <a:schemeClr val="tx1"/>
                </a:solidFill>
                <a:latin typeface="+mn-lt"/>
                <a:ea typeface="+mn-ea"/>
                <a:cs typeface="+mn-cs"/>
              </a:defRPr>
            </a:lvl1pPr>
            <a:lvl2pPr marL="565785" indent="-188595" algn="l" defTabSz="754380" rtl="0" eaLnBrk="1" latinLnBrk="0" hangingPunct="1">
              <a:lnSpc>
                <a:spcPct val="90000"/>
              </a:lnSpc>
              <a:spcBef>
                <a:spcPts val="413"/>
              </a:spcBef>
              <a:buFont typeface="Arial" panose="020B0604020202020204" pitchFamily="34" charset="0"/>
              <a:buChar char="•"/>
              <a:defRPr sz="1980" kern="1200">
                <a:solidFill>
                  <a:schemeClr val="tx1"/>
                </a:solidFill>
                <a:latin typeface="+mn-lt"/>
                <a:ea typeface="+mn-ea"/>
                <a:cs typeface="+mn-cs"/>
              </a:defRPr>
            </a:lvl2pPr>
            <a:lvl3pPr marL="942975" indent="-188595" algn="l" defTabSz="754380" rtl="0" eaLnBrk="1" latinLnBrk="0" hangingPunct="1">
              <a:lnSpc>
                <a:spcPct val="90000"/>
              </a:lnSpc>
              <a:spcBef>
                <a:spcPts val="413"/>
              </a:spcBef>
              <a:buFont typeface="Arial" panose="020B0604020202020204" pitchFamily="34" charset="0"/>
              <a:buChar char="•"/>
              <a:defRPr sz="1650" kern="1200">
                <a:solidFill>
                  <a:schemeClr val="tx1"/>
                </a:solidFill>
                <a:latin typeface="+mn-lt"/>
                <a:ea typeface="+mn-ea"/>
                <a:cs typeface="+mn-cs"/>
              </a:defRPr>
            </a:lvl3pPr>
            <a:lvl4pPr marL="132016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4pPr>
            <a:lvl5pPr marL="169735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5pPr>
            <a:lvl6pPr marL="207454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6pPr>
            <a:lvl7pPr marL="245173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7pPr>
            <a:lvl8pPr marL="282892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8pPr>
            <a:lvl9pPr marL="320611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9pPr>
          </a:lstStyle>
          <a:p>
            <a:pPr marL="0" indent="0" algn="ctr" defTabSz="914400">
              <a:spcBef>
                <a:spcPct val="0"/>
              </a:spcBef>
              <a:spcAft>
                <a:spcPts val="600"/>
              </a:spcAft>
              <a:buNone/>
            </a:pPr>
            <a:r>
              <a:rPr lang="en-US" sz="3100" b="1" spc="-136">
                <a:solidFill>
                  <a:schemeClr val="tx1">
                    <a:lumMod val="85000"/>
                    <a:lumOff val="15000"/>
                  </a:schemeClr>
                </a:solidFill>
                <a:effectLst>
                  <a:outerShdw blurRad="38100" dist="38100" dir="2700000" algn="tl">
                    <a:srgbClr val="000000">
                      <a:alpha val="43137"/>
                    </a:srgbClr>
                  </a:outerShdw>
                </a:effectLst>
                <a:latin typeface="+mj-lt"/>
                <a:ea typeface="+mj-ea"/>
                <a:cs typeface="+mj-cs"/>
              </a:rPr>
              <a:t>EXECUTIVE SUMMARY</a:t>
            </a:r>
          </a:p>
        </p:txBody>
      </p:sp>
      <p:cxnSp>
        <p:nvCxnSpPr>
          <p:cNvPr id="31" name="Straight Connector 20">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5241983"/>
            <a:ext cx="9144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22">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34852"/>
            <a:ext cx="9144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89426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66049"/>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Executive Summary</a:t>
            </a:r>
          </a:p>
        </p:txBody>
      </p:sp>
      <p:sp>
        <p:nvSpPr>
          <p:cNvPr id="15" name="TextBox 14">
            <a:extLst>
              <a:ext uri="{FF2B5EF4-FFF2-40B4-BE49-F238E27FC236}">
                <a16:creationId xmlns:a16="http://schemas.microsoft.com/office/drawing/2014/main" id="{ACC2A883-E066-4C8B-9D5C-5736EBE6A8E1}"/>
              </a:ext>
            </a:extLst>
          </p:cNvPr>
          <p:cNvSpPr txBox="1"/>
          <p:nvPr/>
        </p:nvSpPr>
        <p:spPr>
          <a:xfrm>
            <a:off x="148938" y="877019"/>
            <a:ext cx="3977950" cy="529376"/>
          </a:xfrm>
          <a:prstGeom prst="rect">
            <a:avLst/>
          </a:prstGeom>
          <a:noFill/>
        </p:spPr>
        <p:txBody>
          <a:bodyPr wrap="square" rtlCol="0">
            <a:spAutoFit/>
          </a:bodyPr>
          <a:lstStyle>
            <a:defPPr>
              <a:defRPr lang="en-US"/>
            </a:defPPr>
            <a:lvl1pPr lvl="0" defTabSz="457200">
              <a:lnSpc>
                <a:spcPct val="150000"/>
              </a:lnSpc>
              <a:defRPr kumimoji="0" sz="1000" b="1" i="0" u="none" strike="noStrike" cap="none" spc="0" normalizeH="0" baseline="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IN" dirty="0">
                <a:solidFill>
                  <a:schemeClr val="tx1"/>
                </a:solidFill>
              </a:rPr>
              <a:t>South-East Asia Copper Sulphate Market Size, By </a:t>
            </a:r>
            <a:r>
              <a:rPr lang="en-IN" dirty="0"/>
              <a:t>Value, 2016, 2020, 2021E &amp; 2026F (USD Million)</a:t>
            </a:r>
          </a:p>
        </p:txBody>
      </p:sp>
      <p:sp>
        <p:nvSpPr>
          <p:cNvPr id="16" name="TextBox 15">
            <a:extLst>
              <a:ext uri="{FF2B5EF4-FFF2-40B4-BE49-F238E27FC236}">
                <a16:creationId xmlns:a16="http://schemas.microsoft.com/office/drawing/2014/main" id="{0FAEBE5F-174E-403B-A84A-9FCBEF0DE690}"/>
              </a:ext>
            </a:extLst>
          </p:cNvPr>
          <p:cNvSpPr txBox="1"/>
          <p:nvPr/>
        </p:nvSpPr>
        <p:spPr>
          <a:xfrm>
            <a:off x="4787640" y="863624"/>
            <a:ext cx="4356360" cy="522900"/>
          </a:xfrm>
          <a:prstGeom prst="rect">
            <a:avLst/>
          </a:prstGeom>
          <a:noFill/>
        </p:spPr>
        <p:txBody>
          <a:bodyPr wrap="square" rtlCol="0">
            <a:spAutoFit/>
          </a:bodyPr>
          <a:lstStyle>
            <a:defPPr>
              <a:defRPr lang="en-US"/>
            </a:defPPr>
            <a:lvl1pPr lvl="0" defTabSz="457200">
              <a:lnSpc>
                <a:spcPct val="150000"/>
              </a:lnSpc>
              <a:defRPr kumimoji="0" sz="1000" b="1" i="0" u="none" strike="noStrike" cap="none" spc="0" normalizeH="0" baseline="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IN" dirty="0">
                <a:solidFill>
                  <a:schemeClr val="tx1"/>
                </a:solidFill>
              </a:rPr>
              <a:t>South-East Asia Copper Sulphate Market Share, By Application, By Value, 2020</a:t>
            </a:r>
            <a:endParaRPr lang="en-US" dirty="0">
              <a:solidFill>
                <a:schemeClr val="tx1"/>
              </a:solidFill>
            </a:endParaRPr>
          </a:p>
        </p:txBody>
      </p:sp>
      <p:sp>
        <p:nvSpPr>
          <p:cNvPr id="22" name="TextBox 21">
            <a:extLst>
              <a:ext uri="{FF2B5EF4-FFF2-40B4-BE49-F238E27FC236}">
                <a16:creationId xmlns:a16="http://schemas.microsoft.com/office/drawing/2014/main" id="{240631A2-F6E1-4736-A13F-2A7FC60ED00F}"/>
              </a:ext>
            </a:extLst>
          </p:cNvPr>
          <p:cNvSpPr txBox="1"/>
          <p:nvPr/>
        </p:nvSpPr>
        <p:spPr>
          <a:xfrm>
            <a:off x="226676" y="3632294"/>
            <a:ext cx="4003508" cy="529376"/>
          </a:xfrm>
          <a:prstGeom prst="rect">
            <a:avLst/>
          </a:prstGeom>
          <a:noFill/>
        </p:spPr>
        <p:txBody>
          <a:bodyPr wrap="square" rtlCol="0">
            <a:spAutoFit/>
          </a:bodyPr>
          <a:lstStyle>
            <a:defPPr>
              <a:defRPr lang="en-US"/>
            </a:defPPr>
            <a:lvl1pPr lvl="0" defTabSz="457200">
              <a:lnSpc>
                <a:spcPct val="150000"/>
              </a:lnSpc>
              <a:defRPr kumimoji="0" sz="1000" b="1" i="0" u="none" strike="noStrike" cap="none" spc="0" normalizeH="0" baseline="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IN" dirty="0">
                <a:solidFill>
                  <a:schemeClr val="tx1"/>
                </a:solidFill>
              </a:rPr>
              <a:t>South-East Asia Copper Sulphate Market Share, By Grade, By Value, 2020</a:t>
            </a:r>
          </a:p>
        </p:txBody>
      </p:sp>
      <p:sp>
        <p:nvSpPr>
          <p:cNvPr id="24" name="TextBox 23">
            <a:extLst>
              <a:ext uri="{FF2B5EF4-FFF2-40B4-BE49-F238E27FC236}">
                <a16:creationId xmlns:a16="http://schemas.microsoft.com/office/drawing/2014/main" id="{D2ADCE91-3DC6-4FF1-A0FF-BA07445C1853}"/>
              </a:ext>
            </a:extLst>
          </p:cNvPr>
          <p:cNvSpPr txBox="1"/>
          <p:nvPr/>
        </p:nvSpPr>
        <p:spPr>
          <a:xfrm>
            <a:off x="4659085" y="3354806"/>
            <a:ext cx="4003508" cy="338554"/>
          </a:xfrm>
          <a:prstGeom prst="rect">
            <a:avLst/>
          </a:prstGeom>
          <a:noFill/>
        </p:spPr>
        <p:txBody>
          <a:bodyPr wrap="square" rtlCol="0">
            <a:spAutoFit/>
          </a:bodyPr>
          <a:lstStyle>
            <a:defPPr>
              <a:defRPr lang="en-US"/>
            </a:defPPr>
            <a:lvl1pPr algn="r">
              <a:defRPr sz="800" i="1">
                <a:solidFill>
                  <a:srgbClr val="7F7F7F"/>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Others include</a:t>
            </a:r>
            <a:r>
              <a:rPr lang="en-IN" dirty="0">
                <a:solidFill>
                  <a:prstClr val="white">
                    <a:lumMod val="50000"/>
                  </a:prstClr>
                </a:solidFill>
              </a:rPr>
              <a:t> Adhesives, Building, Mining, Paint,</a:t>
            </a: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 etc.</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8" name="TextBox 27">
            <a:extLst>
              <a:ext uri="{FF2B5EF4-FFF2-40B4-BE49-F238E27FC236}">
                <a16:creationId xmlns:a16="http://schemas.microsoft.com/office/drawing/2014/main" id="{80FDE981-455F-4E43-A13F-4B50E02F77EE}"/>
              </a:ext>
            </a:extLst>
          </p:cNvPr>
          <p:cNvSpPr txBox="1"/>
          <p:nvPr/>
        </p:nvSpPr>
        <p:spPr>
          <a:xfrm>
            <a:off x="4827826" y="3623244"/>
            <a:ext cx="3229496" cy="529376"/>
          </a:xfrm>
          <a:prstGeom prst="rect">
            <a:avLst/>
          </a:prstGeom>
          <a:noFill/>
        </p:spPr>
        <p:txBody>
          <a:bodyPr wrap="square" rtlCol="0">
            <a:spAutoFit/>
          </a:bodyPr>
          <a:lstStyle>
            <a:defPPr>
              <a:defRPr lang="en-US"/>
            </a:defPPr>
            <a:lvl1pPr lvl="0" defTabSz="457200">
              <a:lnSpc>
                <a:spcPct val="150000"/>
              </a:lnSpc>
              <a:defRPr kumimoji="0" sz="1000" b="1" i="0" u="none" strike="noStrike" cap="none" spc="0" normalizeH="0" baseline="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IN" dirty="0">
                <a:solidFill>
                  <a:schemeClr val="tx1"/>
                </a:solidFill>
              </a:rPr>
              <a:t>South-East Asia Copper Sulphate Market Share, By Country</a:t>
            </a:r>
            <a:r>
              <a:rPr lang="en-IN" dirty="0"/>
              <a:t>, By Value, 2020</a:t>
            </a:r>
            <a:endParaRPr lang="en-US" dirty="0"/>
          </a:p>
        </p:txBody>
      </p:sp>
      <p:graphicFrame>
        <p:nvGraphicFramePr>
          <p:cNvPr id="97" name="Chart 96">
            <a:extLst>
              <a:ext uri="{FF2B5EF4-FFF2-40B4-BE49-F238E27FC236}">
                <a16:creationId xmlns:a16="http://schemas.microsoft.com/office/drawing/2014/main" id="{148063A7-1642-473D-8F3E-3D795DD890C3}"/>
              </a:ext>
            </a:extLst>
          </p:cNvPr>
          <p:cNvGraphicFramePr/>
          <p:nvPr>
            <p:extLst>
              <p:ext uri="{D42A27DB-BD31-4B8C-83A1-F6EECF244321}">
                <p14:modId xmlns:p14="http://schemas.microsoft.com/office/powerpoint/2010/main" val="3279430979"/>
              </p:ext>
            </p:extLst>
          </p:nvPr>
        </p:nvGraphicFramePr>
        <p:xfrm>
          <a:off x="4928503" y="1363718"/>
          <a:ext cx="3800497" cy="191730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8" name="Chart 97">
            <a:extLst>
              <a:ext uri="{FF2B5EF4-FFF2-40B4-BE49-F238E27FC236}">
                <a16:creationId xmlns:a16="http://schemas.microsoft.com/office/drawing/2014/main" id="{6793309A-1340-4053-8BB6-425902125348}"/>
              </a:ext>
            </a:extLst>
          </p:cNvPr>
          <p:cNvGraphicFramePr/>
          <p:nvPr>
            <p:extLst>
              <p:ext uri="{D42A27DB-BD31-4B8C-83A1-F6EECF244321}">
                <p14:modId xmlns:p14="http://schemas.microsoft.com/office/powerpoint/2010/main" val="1872379688"/>
              </p:ext>
            </p:extLst>
          </p:nvPr>
        </p:nvGraphicFramePr>
        <p:xfrm>
          <a:off x="273335" y="4271259"/>
          <a:ext cx="3564009" cy="210152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0" name="Chart 29">
            <a:extLst>
              <a:ext uri="{FF2B5EF4-FFF2-40B4-BE49-F238E27FC236}">
                <a16:creationId xmlns:a16="http://schemas.microsoft.com/office/drawing/2014/main" id="{5B457AEE-6172-4530-AE4E-A44CD6AD0519}"/>
              </a:ext>
            </a:extLst>
          </p:cNvPr>
          <p:cNvGraphicFramePr/>
          <p:nvPr>
            <p:extLst>
              <p:ext uri="{D42A27DB-BD31-4B8C-83A1-F6EECF244321}">
                <p14:modId xmlns:p14="http://schemas.microsoft.com/office/powerpoint/2010/main" val="2719096840"/>
              </p:ext>
            </p:extLst>
          </p:nvPr>
        </p:nvGraphicFramePr>
        <p:xfrm>
          <a:off x="5066360" y="4289589"/>
          <a:ext cx="4528211" cy="205261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Chart 30">
            <a:extLst>
              <a:ext uri="{FF2B5EF4-FFF2-40B4-BE49-F238E27FC236}">
                <a16:creationId xmlns:a16="http://schemas.microsoft.com/office/drawing/2014/main" id="{EBAE3E60-5FB5-4313-AD27-641DDB5CC594}"/>
              </a:ext>
            </a:extLst>
          </p:cNvPr>
          <p:cNvGraphicFramePr/>
          <p:nvPr>
            <p:extLst>
              <p:ext uri="{D42A27DB-BD31-4B8C-83A1-F6EECF244321}">
                <p14:modId xmlns:p14="http://schemas.microsoft.com/office/powerpoint/2010/main" val="904571947"/>
              </p:ext>
            </p:extLst>
          </p:nvPr>
        </p:nvGraphicFramePr>
        <p:xfrm>
          <a:off x="415000" y="1906048"/>
          <a:ext cx="3876328" cy="1406025"/>
        </p:xfrm>
        <a:graphic>
          <a:graphicData uri="http://schemas.openxmlformats.org/drawingml/2006/chart">
            <c:chart xmlns:c="http://schemas.openxmlformats.org/drawingml/2006/chart" xmlns:r="http://schemas.openxmlformats.org/officeDocument/2006/relationships" r:id="rId5"/>
          </a:graphicData>
        </a:graphic>
      </p:graphicFrame>
      <p:sp>
        <p:nvSpPr>
          <p:cNvPr id="32" name="Oval 8">
            <a:extLst>
              <a:ext uri="{FF2B5EF4-FFF2-40B4-BE49-F238E27FC236}">
                <a16:creationId xmlns:a16="http://schemas.microsoft.com/office/drawing/2014/main" id="{41B89F7B-4555-404C-BE86-AAA6D07DAB66}"/>
              </a:ext>
            </a:extLst>
          </p:cNvPr>
          <p:cNvSpPr/>
          <p:nvPr/>
        </p:nvSpPr>
        <p:spPr>
          <a:xfrm>
            <a:off x="2461188" y="1535300"/>
            <a:ext cx="1517821" cy="504209"/>
          </a:xfrm>
          <a:custGeom>
            <a:avLst/>
            <a:gdLst>
              <a:gd name="connsiteX0" fmla="*/ 0 w 1901804"/>
              <a:gd name="connsiteY0" fmla="*/ 227941 h 455881"/>
              <a:gd name="connsiteX1" fmla="*/ 950902 w 1901804"/>
              <a:gd name="connsiteY1" fmla="*/ 0 h 455881"/>
              <a:gd name="connsiteX2" fmla="*/ 1901804 w 1901804"/>
              <a:gd name="connsiteY2" fmla="*/ 227941 h 455881"/>
              <a:gd name="connsiteX3" fmla="*/ 950902 w 1901804"/>
              <a:gd name="connsiteY3" fmla="*/ 455882 h 455881"/>
              <a:gd name="connsiteX4" fmla="*/ 0 w 1901804"/>
              <a:gd name="connsiteY4" fmla="*/ 227941 h 455881"/>
              <a:gd name="connsiteX0" fmla="*/ 0 w 1703022"/>
              <a:gd name="connsiteY0" fmla="*/ 214728 h 455955"/>
              <a:gd name="connsiteX1" fmla="*/ 752120 w 1703022"/>
              <a:gd name="connsiteY1" fmla="*/ 39 h 455955"/>
              <a:gd name="connsiteX2" fmla="*/ 1703022 w 1703022"/>
              <a:gd name="connsiteY2" fmla="*/ 227980 h 455955"/>
              <a:gd name="connsiteX3" fmla="*/ 752120 w 1703022"/>
              <a:gd name="connsiteY3" fmla="*/ 455921 h 455955"/>
              <a:gd name="connsiteX4" fmla="*/ 0 w 1703022"/>
              <a:gd name="connsiteY4" fmla="*/ 214728 h 455955"/>
              <a:gd name="connsiteX0" fmla="*/ 0 w 1543996"/>
              <a:gd name="connsiteY0" fmla="*/ 214895 h 456206"/>
              <a:gd name="connsiteX1" fmla="*/ 752120 w 1543996"/>
              <a:gd name="connsiteY1" fmla="*/ 206 h 456206"/>
              <a:gd name="connsiteX2" fmla="*/ 1543996 w 1543996"/>
              <a:gd name="connsiteY2" fmla="*/ 188391 h 456206"/>
              <a:gd name="connsiteX3" fmla="*/ 752120 w 1543996"/>
              <a:gd name="connsiteY3" fmla="*/ 456088 h 456206"/>
              <a:gd name="connsiteX4" fmla="*/ 0 w 1543996"/>
              <a:gd name="connsiteY4" fmla="*/ 214895 h 456206"/>
              <a:gd name="connsiteX0" fmla="*/ 0 w 1437978"/>
              <a:gd name="connsiteY0" fmla="*/ 214895 h 456206"/>
              <a:gd name="connsiteX1" fmla="*/ 646102 w 1437978"/>
              <a:gd name="connsiteY1" fmla="*/ 206 h 456206"/>
              <a:gd name="connsiteX2" fmla="*/ 1437978 w 1437978"/>
              <a:gd name="connsiteY2" fmla="*/ 188391 h 456206"/>
              <a:gd name="connsiteX3" fmla="*/ 646102 w 1437978"/>
              <a:gd name="connsiteY3" fmla="*/ 456088 h 456206"/>
              <a:gd name="connsiteX4" fmla="*/ 0 w 1437978"/>
              <a:gd name="connsiteY4" fmla="*/ 214895 h 456206"/>
              <a:gd name="connsiteX0" fmla="*/ 0 w 1331960"/>
              <a:gd name="connsiteY0" fmla="*/ 214895 h 456206"/>
              <a:gd name="connsiteX1" fmla="*/ 646102 w 1331960"/>
              <a:gd name="connsiteY1" fmla="*/ 206 h 456206"/>
              <a:gd name="connsiteX2" fmla="*/ 1331960 w 1331960"/>
              <a:gd name="connsiteY2" fmla="*/ 188391 h 456206"/>
              <a:gd name="connsiteX3" fmla="*/ 646102 w 1331960"/>
              <a:gd name="connsiteY3" fmla="*/ 456088 h 456206"/>
              <a:gd name="connsiteX4" fmla="*/ 0 w 1331960"/>
              <a:gd name="connsiteY4" fmla="*/ 214895 h 456206"/>
              <a:gd name="connsiteX0" fmla="*/ 0 w 1331960"/>
              <a:gd name="connsiteY0" fmla="*/ 254578 h 495858"/>
              <a:gd name="connsiteX1" fmla="*/ 646102 w 1331960"/>
              <a:gd name="connsiteY1" fmla="*/ 132 h 495858"/>
              <a:gd name="connsiteX2" fmla="*/ 1331960 w 1331960"/>
              <a:gd name="connsiteY2" fmla="*/ 228074 h 495858"/>
              <a:gd name="connsiteX3" fmla="*/ 646102 w 1331960"/>
              <a:gd name="connsiteY3" fmla="*/ 495771 h 495858"/>
              <a:gd name="connsiteX4" fmla="*/ 0 w 1331960"/>
              <a:gd name="connsiteY4" fmla="*/ 254578 h 495858"/>
              <a:gd name="connsiteX0" fmla="*/ 0 w 1331960"/>
              <a:gd name="connsiteY0" fmla="*/ 281058 h 522341"/>
              <a:gd name="connsiteX1" fmla="*/ 646102 w 1331960"/>
              <a:gd name="connsiteY1" fmla="*/ 107 h 522341"/>
              <a:gd name="connsiteX2" fmla="*/ 1331960 w 1331960"/>
              <a:gd name="connsiteY2" fmla="*/ 254554 h 522341"/>
              <a:gd name="connsiteX3" fmla="*/ 646102 w 1331960"/>
              <a:gd name="connsiteY3" fmla="*/ 522251 h 522341"/>
              <a:gd name="connsiteX4" fmla="*/ 0 w 1331960"/>
              <a:gd name="connsiteY4" fmla="*/ 281058 h 522341"/>
              <a:gd name="connsiteX0" fmla="*/ 0 w 1331960"/>
              <a:gd name="connsiteY0" fmla="*/ 281058 h 482608"/>
              <a:gd name="connsiteX1" fmla="*/ 646102 w 1331960"/>
              <a:gd name="connsiteY1" fmla="*/ 107 h 482608"/>
              <a:gd name="connsiteX2" fmla="*/ 1331960 w 1331960"/>
              <a:gd name="connsiteY2" fmla="*/ 254554 h 482608"/>
              <a:gd name="connsiteX3" fmla="*/ 646102 w 1331960"/>
              <a:gd name="connsiteY3" fmla="*/ 482495 h 482608"/>
              <a:gd name="connsiteX4" fmla="*/ 0 w 1331960"/>
              <a:gd name="connsiteY4" fmla="*/ 281058 h 482608"/>
              <a:gd name="connsiteX0" fmla="*/ 0 w 1384969"/>
              <a:gd name="connsiteY0" fmla="*/ 254447 h 482388"/>
              <a:gd name="connsiteX1" fmla="*/ 699111 w 1384969"/>
              <a:gd name="connsiteY1" fmla="*/ 0 h 482388"/>
              <a:gd name="connsiteX2" fmla="*/ 1384969 w 1384969"/>
              <a:gd name="connsiteY2" fmla="*/ 254447 h 482388"/>
              <a:gd name="connsiteX3" fmla="*/ 699111 w 1384969"/>
              <a:gd name="connsiteY3" fmla="*/ 482388 h 482388"/>
              <a:gd name="connsiteX4" fmla="*/ 0 w 1384969"/>
              <a:gd name="connsiteY4" fmla="*/ 254447 h 482388"/>
              <a:gd name="connsiteX0" fmla="*/ 0 w 1384969"/>
              <a:gd name="connsiteY0" fmla="*/ 254534 h 482539"/>
              <a:gd name="connsiteX1" fmla="*/ 699111 w 1384969"/>
              <a:gd name="connsiteY1" fmla="*/ 87 h 482539"/>
              <a:gd name="connsiteX2" fmla="*/ 1384969 w 1384969"/>
              <a:gd name="connsiteY2" fmla="*/ 232672 h 482539"/>
              <a:gd name="connsiteX3" fmla="*/ 699111 w 1384969"/>
              <a:gd name="connsiteY3" fmla="*/ 482475 h 482539"/>
              <a:gd name="connsiteX4" fmla="*/ 0 w 1384969"/>
              <a:gd name="connsiteY4" fmla="*/ 254534 h 482539"/>
              <a:gd name="connsiteX0" fmla="*/ 0 w 1410343"/>
              <a:gd name="connsiteY0" fmla="*/ 232584 h 482388"/>
              <a:gd name="connsiteX1" fmla="*/ 724485 w 1410343"/>
              <a:gd name="connsiteY1" fmla="*/ 0 h 482388"/>
              <a:gd name="connsiteX2" fmla="*/ 1410343 w 1410343"/>
              <a:gd name="connsiteY2" fmla="*/ 232585 h 482388"/>
              <a:gd name="connsiteX3" fmla="*/ 724485 w 1410343"/>
              <a:gd name="connsiteY3" fmla="*/ 482388 h 482388"/>
              <a:gd name="connsiteX4" fmla="*/ 0 w 1410343"/>
              <a:gd name="connsiteY4" fmla="*/ 232584 h 482388"/>
              <a:gd name="connsiteX0" fmla="*/ 0 w 1397657"/>
              <a:gd name="connsiteY0" fmla="*/ 199964 h 482728"/>
              <a:gd name="connsiteX1" fmla="*/ 711799 w 1397657"/>
              <a:gd name="connsiteY1" fmla="*/ 173 h 482728"/>
              <a:gd name="connsiteX2" fmla="*/ 1397657 w 1397657"/>
              <a:gd name="connsiteY2" fmla="*/ 232758 h 482728"/>
              <a:gd name="connsiteX3" fmla="*/ 711799 w 1397657"/>
              <a:gd name="connsiteY3" fmla="*/ 482561 h 482728"/>
              <a:gd name="connsiteX4" fmla="*/ 0 w 1397657"/>
              <a:gd name="connsiteY4" fmla="*/ 199964 h 482728"/>
              <a:gd name="connsiteX0" fmla="*/ 0 w 1372284"/>
              <a:gd name="connsiteY0" fmla="*/ 199791 h 482388"/>
              <a:gd name="connsiteX1" fmla="*/ 711799 w 1372284"/>
              <a:gd name="connsiteY1" fmla="*/ 0 h 482388"/>
              <a:gd name="connsiteX2" fmla="*/ 1372284 w 1372284"/>
              <a:gd name="connsiteY2" fmla="*/ 199792 h 482388"/>
              <a:gd name="connsiteX3" fmla="*/ 711799 w 1372284"/>
              <a:gd name="connsiteY3" fmla="*/ 482388 h 482388"/>
              <a:gd name="connsiteX4" fmla="*/ 0 w 1372284"/>
              <a:gd name="connsiteY4" fmla="*/ 199791 h 482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284" h="482388">
                <a:moveTo>
                  <a:pt x="0" y="199791"/>
                </a:moveTo>
                <a:cubicBezTo>
                  <a:pt x="0" y="119393"/>
                  <a:pt x="483085" y="0"/>
                  <a:pt x="711799" y="0"/>
                </a:cubicBezTo>
                <a:cubicBezTo>
                  <a:pt x="940513" y="0"/>
                  <a:pt x="1372284" y="73904"/>
                  <a:pt x="1372284" y="199792"/>
                </a:cubicBezTo>
                <a:cubicBezTo>
                  <a:pt x="1372284" y="325680"/>
                  <a:pt x="940513" y="482388"/>
                  <a:pt x="711799" y="482388"/>
                </a:cubicBezTo>
                <a:cubicBezTo>
                  <a:pt x="483085" y="482388"/>
                  <a:pt x="0" y="280189"/>
                  <a:pt x="0" y="199791"/>
                </a:cubicBezTo>
                <a:close/>
              </a:path>
            </a:pathLst>
          </a:custGeom>
          <a:solidFill>
            <a:schemeClr val="bg2">
              <a:lumMod val="25000"/>
            </a:schemeClr>
          </a:solidFill>
          <a:ln>
            <a:noFill/>
          </a:ln>
        </p:spPr>
        <p:style>
          <a:lnRef idx="1">
            <a:schemeClr val="accent2"/>
          </a:lnRef>
          <a:fillRef idx="2">
            <a:schemeClr val="accent2"/>
          </a:fillRef>
          <a:effectRef idx="1">
            <a:schemeClr val="accent2"/>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050" b="1" dirty="0">
                <a:solidFill>
                  <a:prstClr val="white"/>
                </a:solidFill>
                <a:latin typeface="Verdana" panose="020B0604030504040204" pitchFamily="34" charset="0"/>
                <a:ea typeface="Verdana" panose="020B0604030504040204" pitchFamily="34" charset="0"/>
                <a:cs typeface="Verdana" panose="020B0604030504040204" pitchFamily="34" charset="0"/>
              </a:rPr>
              <a:t>5</a:t>
            </a:r>
            <a:r>
              <a:rPr kumimoji="0" lang="en-US" sz="105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89%</a:t>
            </a:r>
          </a:p>
        </p:txBody>
      </p:sp>
      <p:sp>
        <p:nvSpPr>
          <p:cNvPr id="33" name="Oval 8">
            <a:extLst>
              <a:ext uri="{FF2B5EF4-FFF2-40B4-BE49-F238E27FC236}">
                <a16:creationId xmlns:a16="http://schemas.microsoft.com/office/drawing/2014/main" id="{D50A5FC3-645B-44BF-A17E-DBAD8919BAA2}"/>
              </a:ext>
            </a:extLst>
          </p:cNvPr>
          <p:cNvSpPr/>
          <p:nvPr/>
        </p:nvSpPr>
        <p:spPr>
          <a:xfrm>
            <a:off x="621865" y="1535976"/>
            <a:ext cx="1433475" cy="519730"/>
          </a:xfrm>
          <a:custGeom>
            <a:avLst/>
            <a:gdLst>
              <a:gd name="connsiteX0" fmla="*/ 0 w 1901804"/>
              <a:gd name="connsiteY0" fmla="*/ 227941 h 455881"/>
              <a:gd name="connsiteX1" fmla="*/ 950902 w 1901804"/>
              <a:gd name="connsiteY1" fmla="*/ 0 h 455881"/>
              <a:gd name="connsiteX2" fmla="*/ 1901804 w 1901804"/>
              <a:gd name="connsiteY2" fmla="*/ 227941 h 455881"/>
              <a:gd name="connsiteX3" fmla="*/ 950902 w 1901804"/>
              <a:gd name="connsiteY3" fmla="*/ 455882 h 455881"/>
              <a:gd name="connsiteX4" fmla="*/ 0 w 1901804"/>
              <a:gd name="connsiteY4" fmla="*/ 227941 h 455881"/>
              <a:gd name="connsiteX0" fmla="*/ 0 w 1703022"/>
              <a:gd name="connsiteY0" fmla="*/ 214728 h 455955"/>
              <a:gd name="connsiteX1" fmla="*/ 752120 w 1703022"/>
              <a:gd name="connsiteY1" fmla="*/ 39 h 455955"/>
              <a:gd name="connsiteX2" fmla="*/ 1703022 w 1703022"/>
              <a:gd name="connsiteY2" fmla="*/ 227980 h 455955"/>
              <a:gd name="connsiteX3" fmla="*/ 752120 w 1703022"/>
              <a:gd name="connsiteY3" fmla="*/ 455921 h 455955"/>
              <a:gd name="connsiteX4" fmla="*/ 0 w 1703022"/>
              <a:gd name="connsiteY4" fmla="*/ 214728 h 455955"/>
              <a:gd name="connsiteX0" fmla="*/ 0 w 1543996"/>
              <a:gd name="connsiteY0" fmla="*/ 214895 h 456206"/>
              <a:gd name="connsiteX1" fmla="*/ 752120 w 1543996"/>
              <a:gd name="connsiteY1" fmla="*/ 206 h 456206"/>
              <a:gd name="connsiteX2" fmla="*/ 1543996 w 1543996"/>
              <a:gd name="connsiteY2" fmla="*/ 188391 h 456206"/>
              <a:gd name="connsiteX3" fmla="*/ 752120 w 1543996"/>
              <a:gd name="connsiteY3" fmla="*/ 456088 h 456206"/>
              <a:gd name="connsiteX4" fmla="*/ 0 w 1543996"/>
              <a:gd name="connsiteY4" fmla="*/ 214895 h 456206"/>
              <a:gd name="connsiteX0" fmla="*/ 0 w 1437978"/>
              <a:gd name="connsiteY0" fmla="*/ 214895 h 456206"/>
              <a:gd name="connsiteX1" fmla="*/ 646102 w 1437978"/>
              <a:gd name="connsiteY1" fmla="*/ 206 h 456206"/>
              <a:gd name="connsiteX2" fmla="*/ 1437978 w 1437978"/>
              <a:gd name="connsiteY2" fmla="*/ 188391 h 456206"/>
              <a:gd name="connsiteX3" fmla="*/ 646102 w 1437978"/>
              <a:gd name="connsiteY3" fmla="*/ 456088 h 456206"/>
              <a:gd name="connsiteX4" fmla="*/ 0 w 1437978"/>
              <a:gd name="connsiteY4" fmla="*/ 214895 h 456206"/>
              <a:gd name="connsiteX0" fmla="*/ 0 w 1331960"/>
              <a:gd name="connsiteY0" fmla="*/ 214895 h 456206"/>
              <a:gd name="connsiteX1" fmla="*/ 646102 w 1331960"/>
              <a:gd name="connsiteY1" fmla="*/ 206 h 456206"/>
              <a:gd name="connsiteX2" fmla="*/ 1331960 w 1331960"/>
              <a:gd name="connsiteY2" fmla="*/ 188391 h 456206"/>
              <a:gd name="connsiteX3" fmla="*/ 646102 w 1331960"/>
              <a:gd name="connsiteY3" fmla="*/ 456088 h 456206"/>
              <a:gd name="connsiteX4" fmla="*/ 0 w 1331960"/>
              <a:gd name="connsiteY4" fmla="*/ 214895 h 456206"/>
              <a:gd name="connsiteX0" fmla="*/ 0 w 1331960"/>
              <a:gd name="connsiteY0" fmla="*/ 254578 h 495858"/>
              <a:gd name="connsiteX1" fmla="*/ 646102 w 1331960"/>
              <a:gd name="connsiteY1" fmla="*/ 132 h 495858"/>
              <a:gd name="connsiteX2" fmla="*/ 1331960 w 1331960"/>
              <a:gd name="connsiteY2" fmla="*/ 228074 h 495858"/>
              <a:gd name="connsiteX3" fmla="*/ 646102 w 1331960"/>
              <a:gd name="connsiteY3" fmla="*/ 495771 h 495858"/>
              <a:gd name="connsiteX4" fmla="*/ 0 w 1331960"/>
              <a:gd name="connsiteY4" fmla="*/ 254578 h 495858"/>
              <a:gd name="connsiteX0" fmla="*/ 0 w 1331960"/>
              <a:gd name="connsiteY0" fmla="*/ 281058 h 522341"/>
              <a:gd name="connsiteX1" fmla="*/ 646102 w 1331960"/>
              <a:gd name="connsiteY1" fmla="*/ 107 h 522341"/>
              <a:gd name="connsiteX2" fmla="*/ 1331960 w 1331960"/>
              <a:gd name="connsiteY2" fmla="*/ 254554 h 522341"/>
              <a:gd name="connsiteX3" fmla="*/ 646102 w 1331960"/>
              <a:gd name="connsiteY3" fmla="*/ 522251 h 522341"/>
              <a:gd name="connsiteX4" fmla="*/ 0 w 1331960"/>
              <a:gd name="connsiteY4" fmla="*/ 281058 h 522341"/>
              <a:gd name="connsiteX0" fmla="*/ 0 w 1331960"/>
              <a:gd name="connsiteY0" fmla="*/ 281058 h 482608"/>
              <a:gd name="connsiteX1" fmla="*/ 646102 w 1331960"/>
              <a:gd name="connsiteY1" fmla="*/ 107 h 482608"/>
              <a:gd name="connsiteX2" fmla="*/ 1331960 w 1331960"/>
              <a:gd name="connsiteY2" fmla="*/ 254554 h 482608"/>
              <a:gd name="connsiteX3" fmla="*/ 646102 w 1331960"/>
              <a:gd name="connsiteY3" fmla="*/ 482495 h 482608"/>
              <a:gd name="connsiteX4" fmla="*/ 0 w 1331960"/>
              <a:gd name="connsiteY4" fmla="*/ 281058 h 482608"/>
              <a:gd name="connsiteX0" fmla="*/ 0 w 1384969"/>
              <a:gd name="connsiteY0" fmla="*/ 254447 h 482388"/>
              <a:gd name="connsiteX1" fmla="*/ 699111 w 1384969"/>
              <a:gd name="connsiteY1" fmla="*/ 0 h 482388"/>
              <a:gd name="connsiteX2" fmla="*/ 1384969 w 1384969"/>
              <a:gd name="connsiteY2" fmla="*/ 254447 h 482388"/>
              <a:gd name="connsiteX3" fmla="*/ 699111 w 1384969"/>
              <a:gd name="connsiteY3" fmla="*/ 482388 h 482388"/>
              <a:gd name="connsiteX4" fmla="*/ 0 w 1384969"/>
              <a:gd name="connsiteY4" fmla="*/ 254447 h 482388"/>
              <a:gd name="connsiteX0" fmla="*/ 0 w 1384969"/>
              <a:gd name="connsiteY0" fmla="*/ 254534 h 482539"/>
              <a:gd name="connsiteX1" fmla="*/ 699111 w 1384969"/>
              <a:gd name="connsiteY1" fmla="*/ 87 h 482539"/>
              <a:gd name="connsiteX2" fmla="*/ 1384969 w 1384969"/>
              <a:gd name="connsiteY2" fmla="*/ 232672 h 482539"/>
              <a:gd name="connsiteX3" fmla="*/ 699111 w 1384969"/>
              <a:gd name="connsiteY3" fmla="*/ 482475 h 482539"/>
              <a:gd name="connsiteX4" fmla="*/ 0 w 1384969"/>
              <a:gd name="connsiteY4" fmla="*/ 254534 h 482539"/>
              <a:gd name="connsiteX0" fmla="*/ 0 w 1410343"/>
              <a:gd name="connsiteY0" fmla="*/ 232584 h 482388"/>
              <a:gd name="connsiteX1" fmla="*/ 724485 w 1410343"/>
              <a:gd name="connsiteY1" fmla="*/ 0 h 482388"/>
              <a:gd name="connsiteX2" fmla="*/ 1410343 w 1410343"/>
              <a:gd name="connsiteY2" fmla="*/ 232585 h 482388"/>
              <a:gd name="connsiteX3" fmla="*/ 724485 w 1410343"/>
              <a:gd name="connsiteY3" fmla="*/ 482388 h 482388"/>
              <a:gd name="connsiteX4" fmla="*/ 0 w 1410343"/>
              <a:gd name="connsiteY4" fmla="*/ 232584 h 482388"/>
              <a:gd name="connsiteX0" fmla="*/ 0 w 1397657"/>
              <a:gd name="connsiteY0" fmla="*/ 199964 h 482728"/>
              <a:gd name="connsiteX1" fmla="*/ 711799 w 1397657"/>
              <a:gd name="connsiteY1" fmla="*/ 173 h 482728"/>
              <a:gd name="connsiteX2" fmla="*/ 1397657 w 1397657"/>
              <a:gd name="connsiteY2" fmla="*/ 232758 h 482728"/>
              <a:gd name="connsiteX3" fmla="*/ 711799 w 1397657"/>
              <a:gd name="connsiteY3" fmla="*/ 482561 h 482728"/>
              <a:gd name="connsiteX4" fmla="*/ 0 w 1397657"/>
              <a:gd name="connsiteY4" fmla="*/ 199964 h 482728"/>
              <a:gd name="connsiteX0" fmla="*/ 0 w 1372284"/>
              <a:gd name="connsiteY0" fmla="*/ 199791 h 482388"/>
              <a:gd name="connsiteX1" fmla="*/ 711799 w 1372284"/>
              <a:gd name="connsiteY1" fmla="*/ 0 h 482388"/>
              <a:gd name="connsiteX2" fmla="*/ 1372284 w 1372284"/>
              <a:gd name="connsiteY2" fmla="*/ 199792 h 482388"/>
              <a:gd name="connsiteX3" fmla="*/ 711799 w 1372284"/>
              <a:gd name="connsiteY3" fmla="*/ 482388 h 482388"/>
              <a:gd name="connsiteX4" fmla="*/ 0 w 1372284"/>
              <a:gd name="connsiteY4" fmla="*/ 199791 h 482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284" h="482388">
                <a:moveTo>
                  <a:pt x="0" y="199791"/>
                </a:moveTo>
                <a:cubicBezTo>
                  <a:pt x="0" y="119393"/>
                  <a:pt x="483085" y="0"/>
                  <a:pt x="711799" y="0"/>
                </a:cubicBezTo>
                <a:cubicBezTo>
                  <a:pt x="940513" y="0"/>
                  <a:pt x="1372284" y="73904"/>
                  <a:pt x="1372284" y="199792"/>
                </a:cubicBezTo>
                <a:cubicBezTo>
                  <a:pt x="1372284" y="325680"/>
                  <a:pt x="940513" y="482388"/>
                  <a:pt x="711799" y="482388"/>
                </a:cubicBezTo>
                <a:cubicBezTo>
                  <a:pt x="483085" y="482388"/>
                  <a:pt x="0" y="280189"/>
                  <a:pt x="0" y="199791"/>
                </a:cubicBezTo>
                <a:close/>
              </a:path>
            </a:pathLst>
          </a:custGeom>
          <a:solidFill>
            <a:schemeClr val="bg2">
              <a:lumMod val="25000"/>
            </a:schemeClr>
          </a:solidFill>
          <a:ln>
            <a:noFill/>
          </a:ln>
        </p:spPr>
        <p:style>
          <a:lnRef idx="1">
            <a:schemeClr val="accent2"/>
          </a:lnRef>
          <a:fillRef idx="2">
            <a:schemeClr val="accent2"/>
          </a:fillRef>
          <a:effectRef idx="1">
            <a:schemeClr val="accent2"/>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3.39%</a:t>
            </a:r>
          </a:p>
        </p:txBody>
      </p:sp>
      <p:sp>
        <p:nvSpPr>
          <p:cNvPr id="18" name="TextBox 17">
            <a:extLst>
              <a:ext uri="{FF2B5EF4-FFF2-40B4-BE49-F238E27FC236}">
                <a16:creationId xmlns:a16="http://schemas.microsoft.com/office/drawing/2014/main" id="{56FD16B2-85A4-4D0A-AEB6-EB4CD739CA53}"/>
              </a:ext>
            </a:extLst>
          </p:cNvPr>
          <p:cNvSpPr txBox="1"/>
          <p:nvPr/>
        </p:nvSpPr>
        <p:spPr>
          <a:xfrm>
            <a:off x="2085260" y="342900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9" name="TextBox 18">
            <a:extLst>
              <a:ext uri="{FF2B5EF4-FFF2-40B4-BE49-F238E27FC236}">
                <a16:creationId xmlns:a16="http://schemas.microsoft.com/office/drawing/2014/main" id="{97D6E183-1996-4921-81DE-8118AAA8F7C3}"/>
              </a:ext>
            </a:extLst>
          </p:cNvPr>
          <p:cNvSpPr txBox="1"/>
          <p:nvPr/>
        </p:nvSpPr>
        <p:spPr>
          <a:xfrm>
            <a:off x="2154522" y="6387569"/>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0" name="TextBox 19">
            <a:extLst>
              <a:ext uri="{FF2B5EF4-FFF2-40B4-BE49-F238E27FC236}">
                <a16:creationId xmlns:a16="http://schemas.microsoft.com/office/drawing/2014/main" id="{44F3E5CF-6808-4E15-ADD4-AEA055C970FF}"/>
              </a:ext>
            </a:extLst>
          </p:cNvPr>
          <p:cNvSpPr txBox="1"/>
          <p:nvPr/>
        </p:nvSpPr>
        <p:spPr>
          <a:xfrm>
            <a:off x="6422253" y="634494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5624803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erson wearing a suit and tie&#10;&#10;Description generated with very high confidence">
            <a:extLst>
              <a:ext uri="{FF2B5EF4-FFF2-40B4-BE49-F238E27FC236}">
                <a16:creationId xmlns:a16="http://schemas.microsoft.com/office/drawing/2014/main" id="{0C236670-4A42-4219-9DC5-1885273F7C4A}"/>
              </a:ext>
            </a:extLst>
          </p:cNvPr>
          <p:cNvPicPr>
            <a:picLocks noChangeAspect="1"/>
          </p:cNvPicPr>
          <p:nvPr/>
        </p:nvPicPr>
        <p:blipFill rotWithShape="1">
          <a:blip r:embed="rId2">
            <a:extLst>
              <a:ext uri="{28A0092B-C50C-407E-A947-70E740481C1C}">
                <a14:useLocalDpi xmlns:a14="http://schemas.microsoft.com/office/drawing/2010/main" val="0"/>
              </a:ext>
            </a:extLst>
          </a:blip>
          <a:srcRect l="10612" r="16646" b="11330"/>
          <a:stretch/>
        </p:blipFill>
        <p:spPr>
          <a:xfrm>
            <a:off x="3375" y="0"/>
            <a:ext cx="9140625" cy="6858000"/>
          </a:xfrm>
          <a:prstGeom prst="rect">
            <a:avLst/>
          </a:prstGeom>
        </p:spPr>
      </p:pic>
      <p:sp>
        <p:nvSpPr>
          <p:cNvPr id="4" name="Rectangle 1">
            <a:extLst>
              <a:ext uri="{FF2B5EF4-FFF2-40B4-BE49-F238E27FC236}">
                <a16:creationId xmlns:a16="http://schemas.microsoft.com/office/drawing/2014/main" id="{6B1D01B8-32F7-47CA-AEE2-F21C067B30D7}"/>
              </a:ext>
            </a:extLst>
          </p:cNvPr>
          <p:cNvSpPr/>
          <p:nvPr/>
        </p:nvSpPr>
        <p:spPr>
          <a:xfrm>
            <a:off x="0" y="754379"/>
            <a:ext cx="6032500" cy="1083212"/>
          </a:xfrm>
          <a:custGeom>
            <a:avLst/>
            <a:gdLst>
              <a:gd name="connsiteX0" fmla="*/ 0 w 6032500"/>
              <a:gd name="connsiteY0" fmla="*/ 0 h 1083212"/>
              <a:gd name="connsiteX1" fmla="*/ 6032500 w 6032500"/>
              <a:gd name="connsiteY1" fmla="*/ 0 h 1083212"/>
              <a:gd name="connsiteX2" fmla="*/ 6032500 w 6032500"/>
              <a:gd name="connsiteY2" fmla="*/ 1083212 h 1083212"/>
              <a:gd name="connsiteX3" fmla="*/ 0 w 6032500"/>
              <a:gd name="connsiteY3" fmla="*/ 1083212 h 1083212"/>
              <a:gd name="connsiteX4" fmla="*/ 0 w 6032500"/>
              <a:gd name="connsiteY4" fmla="*/ 0 h 1083212"/>
              <a:gd name="connsiteX0" fmla="*/ 0 w 6032500"/>
              <a:gd name="connsiteY0" fmla="*/ 0 h 1083212"/>
              <a:gd name="connsiteX1" fmla="*/ 6032500 w 6032500"/>
              <a:gd name="connsiteY1" fmla="*/ 0 h 1083212"/>
              <a:gd name="connsiteX2" fmla="*/ 5526063 w 6032500"/>
              <a:gd name="connsiteY2" fmla="*/ 1083212 h 1083212"/>
              <a:gd name="connsiteX3" fmla="*/ 0 w 6032500"/>
              <a:gd name="connsiteY3" fmla="*/ 1083212 h 1083212"/>
              <a:gd name="connsiteX4" fmla="*/ 0 w 6032500"/>
              <a:gd name="connsiteY4" fmla="*/ 0 h 108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0" h="1083212">
                <a:moveTo>
                  <a:pt x="0" y="0"/>
                </a:moveTo>
                <a:lnTo>
                  <a:pt x="6032500" y="0"/>
                </a:lnTo>
                <a:lnTo>
                  <a:pt x="5526063" y="1083212"/>
                </a:lnTo>
                <a:lnTo>
                  <a:pt x="0" y="1083212"/>
                </a:lnTo>
                <a:lnTo>
                  <a:pt x="0" y="0"/>
                </a:lnTo>
                <a:close/>
              </a:path>
            </a:pathLst>
          </a:custGeom>
          <a:solidFill>
            <a:sysClr val="window" lastClr="FFFFFF"/>
          </a:solidFill>
          <a:ln w="12700" cap="flat" cmpd="sng" algn="ctr">
            <a:noFill/>
            <a:prstDash val="solid"/>
            <a:miter lim="800000"/>
          </a:ln>
          <a:effectLst>
            <a:innerShdw blurRad="76200" dist="76200" dir="18900000">
              <a:prstClr val="black">
                <a:alpha val="46000"/>
              </a:prstClr>
            </a:innerShdw>
          </a:effectLst>
        </p:spPr>
        <p:txBody>
          <a:bodyPr rtlCol="0" anchor="ctr"/>
          <a:lstStyle/>
          <a:p>
            <a:pPr marL="0" lvl="1"/>
            <a:r>
              <a:rPr lang="en-IN" sz="2400" b="1" dirty="0">
                <a:solidFill>
                  <a:prstClr val="black"/>
                </a:solidFill>
                <a:latin typeface="Arial" panose="020B0604020202020204" pitchFamily="34" charset="0"/>
                <a:cs typeface="Arial" panose="020B0604020202020204" pitchFamily="34" charset="0"/>
              </a:rPr>
              <a:t>South-East Asia Copper Sulphate Market Voice of Customer</a:t>
            </a:r>
            <a:endParaRPr lang="en-US" sz="2200" b="1" kern="0" dirty="0">
              <a:solidFill>
                <a:srgbClr val="44546A">
                  <a:lumMod val="2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813579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CC19E56-9CB5-4EFE-8B99-6E681D4F6A0D}"/>
              </a:ext>
            </a:extLst>
          </p:cNvPr>
          <p:cNvSpPr>
            <a:spLocks noGrp="1"/>
          </p:cNvSpPr>
          <p:nvPr>
            <p:ph type="body" sz="quarter" idx="14"/>
          </p:nvPr>
        </p:nvSpPr>
        <p:spPr/>
        <p:txBody>
          <a:bodyPr/>
          <a:lstStyle/>
          <a:p>
            <a:r>
              <a:rPr lang="en-US" dirty="0"/>
              <a:t>Voice of Customer</a:t>
            </a:r>
          </a:p>
        </p:txBody>
      </p:sp>
      <p:sp>
        <p:nvSpPr>
          <p:cNvPr id="3" name="TextBox 2">
            <a:extLst>
              <a:ext uri="{FF2B5EF4-FFF2-40B4-BE49-F238E27FC236}">
                <a16:creationId xmlns:a16="http://schemas.microsoft.com/office/drawing/2014/main" id="{F429A946-60FE-49D3-9429-A3A36FBF2CD1}"/>
              </a:ext>
            </a:extLst>
          </p:cNvPr>
          <p:cNvSpPr txBox="1"/>
          <p:nvPr/>
        </p:nvSpPr>
        <p:spPr>
          <a:xfrm>
            <a:off x="7760287" y="6443429"/>
            <a:ext cx="1383712" cy="20005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700" b="0" i="1" u="none" strike="noStrike" kern="1200" cap="none" spc="0" normalizeH="0" baseline="0" noProof="0" dirty="0">
                <a:ln>
                  <a:noFill/>
                </a:ln>
                <a:solidFill>
                  <a:srgbClr val="E7E6E6">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 Source: TechSci Research</a:t>
            </a:r>
          </a:p>
        </p:txBody>
      </p:sp>
      <p:sp>
        <p:nvSpPr>
          <p:cNvPr id="16" name="TextBox 15">
            <a:extLst>
              <a:ext uri="{FF2B5EF4-FFF2-40B4-BE49-F238E27FC236}">
                <a16:creationId xmlns:a16="http://schemas.microsoft.com/office/drawing/2014/main" id="{A71DAF02-8CD0-482A-8AC9-FB5ED1599138}"/>
              </a:ext>
            </a:extLst>
          </p:cNvPr>
          <p:cNvSpPr txBox="1"/>
          <p:nvPr/>
        </p:nvSpPr>
        <p:spPr>
          <a:xfrm>
            <a:off x="75602" y="4554770"/>
            <a:ext cx="8632230" cy="1888659"/>
          </a:xfrm>
          <a:prstGeom prst="rect">
            <a:avLst/>
          </a:prstGeom>
          <a:noFill/>
        </p:spPr>
        <p:txBody>
          <a:bodyPr wrap="square">
            <a:spAutoFit/>
          </a:bodyPr>
          <a:lstStyle/>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While conducting the consumer survey to derive the vendor selection, the consumers were asked to name factors which influence the vendor selection. On the basis of their responses, availability of the product, with 95%, turned out to be a major factor which influences the customer for selecting the vendor, followed by brand with 90%, price with 88%, lead time with 85% and discount with 80%. The availability and the brand of the product serves as the two most important factors for the growing market of copper sulphate as per survey conducted by </a:t>
            </a:r>
            <a:r>
              <a:rPr lang="en-US" sz="1000" dirty="0" err="1">
                <a:latin typeface="Verdana" panose="020B0604030504040204" pitchFamily="34" charset="0"/>
                <a:ea typeface="Verdana" panose="020B0604030504040204" pitchFamily="34" charset="0"/>
                <a:cs typeface="Verdana" panose="020B0604030504040204" pitchFamily="34" charset="0"/>
              </a:rPr>
              <a:t>Chemanalyst</a:t>
            </a:r>
            <a:r>
              <a:rPr lang="en-US" sz="1000" dirty="0">
                <a:latin typeface="Verdana" panose="020B0604030504040204" pitchFamily="34" charset="0"/>
                <a:ea typeface="Verdana" panose="020B0604030504040204" pitchFamily="34" charset="0"/>
                <a:cs typeface="Verdana" panose="020B0604030504040204" pitchFamily="34" charset="0"/>
              </a:rPr>
              <a:t>. The price, lead time and discount also influences the market of copper sulphate but not in a significant manner.</a:t>
            </a:r>
          </a:p>
        </p:txBody>
      </p:sp>
      <p:sp>
        <p:nvSpPr>
          <p:cNvPr id="8" name="TextBox 7">
            <a:extLst>
              <a:ext uri="{FF2B5EF4-FFF2-40B4-BE49-F238E27FC236}">
                <a16:creationId xmlns:a16="http://schemas.microsoft.com/office/drawing/2014/main" id="{7746C032-F91E-47E0-989F-51B779354685}"/>
              </a:ext>
            </a:extLst>
          </p:cNvPr>
          <p:cNvSpPr txBox="1"/>
          <p:nvPr/>
        </p:nvSpPr>
        <p:spPr>
          <a:xfrm>
            <a:off x="0" y="685057"/>
            <a:ext cx="5184223" cy="292068"/>
          </a:xfrm>
          <a:prstGeom prst="rect">
            <a:avLst/>
          </a:prstGeom>
          <a:noFill/>
          <a:ln>
            <a:noFill/>
          </a:ln>
        </p:spPr>
        <p:txBody>
          <a:bodyPr wrap="square" rtlCol="0">
            <a:spAutoFit/>
          </a:bodyPr>
          <a:lstStyle/>
          <a:p>
            <a:pPr defTabSz="457189">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Major Influencing Factors Affecting Vendor Selection </a:t>
            </a: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N=50), 2020</a:t>
            </a:r>
          </a:p>
        </p:txBody>
      </p:sp>
      <p:graphicFrame>
        <p:nvGraphicFramePr>
          <p:cNvPr id="9" name="Chart 8">
            <a:extLst>
              <a:ext uri="{FF2B5EF4-FFF2-40B4-BE49-F238E27FC236}">
                <a16:creationId xmlns:a16="http://schemas.microsoft.com/office/drawing/2014/main" id="{E8A0F2BB-48D9-4436-A9C1-C38613229A59}"/>
              </a:ext>
            </a:extLst>
          </p:cNvPr>
          <p:cNvGraphicFramePr/>
          <p:nvPr>
            <p:extLst>
              <p:ext uri="{D42A27DB-BD31-4B8C-83A1-F6EECF244321}">
                <p14:modId xmlns:p14="http://schemas.microsoft.com/office/powerpoint/2010/main" val="1304620013"/>
              </p:ext>
            </p:extLst>
          </p:nvPr>
        </p:nvGraphicFramePr>
        <p:xfrm>
          <a:off x="75602" y="977125"/>
          <a:ext cx="8550061" cy="348068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879179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10">
            <a:extLst>
              <a:ext uri="{FF2B5EF4-FFF2-40B4-BE49-F238E27FC236}">
                <a16:creationId xmlns:a16="http://schemas.microsoft.com/office/drawing/2014/main" id="{D1CD40BF-636C-4907-980A-41EDB6B143C9}"/>
              </a:ext>
            </a:extLst>
          </p:cNvPr>
          <p:cNvGraphicFramePr/>
          <p:nvPr/>
        </p:nvGraphicFramePr>
        <p:xfrm>
          <a:off x="465778" y="1883184"/>
          <a:ext cx="8212443" cy="148993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Chart 12">
            <a:extLst>
              <a:ext uri="{FF2B5EF4-FFF2-40B4-BE49-F238E27FC236}">
                <a16:creationId xmlns:a16="http://schemas.microsoft.com/office/drawing/2014/main" id="{A46DF0ED-D353-46EC-9731-05C5DE090BD1}"/>
              </a:ext>
            </a:extLst>
          </p:cNvPr>
          <p:cNvGraphicFramePr/>
          <p:nvPr/>
        </p:nvGraphicFramePr>
        <p:xfrm>
          <a:off x="680870" y="1190765"/>
          <a:ext cx="7555971" cy="365467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a:extLst>
              <a:ext uri="{FF2B5EF4-FFF2-40B4-BE49-F238E27FC236}">
                <a16:creationId xmlns:a16="http://schemas.microsoft.com/office/drawing/2014/main" id="{12A4630A-81F1-4285-B83A-B17AB256ACD7}"/>
              </a:ext>
            </a:extLst>
          </p:cNvPr>
          <p:cNvGraphicFramePr/>
          <p:nvPr>
            <p:extLst>
              <p:ext uri="{D42A27DB-BD31-4B8C-83A1-F6EECF244321}">
                <p14:modId xmlns:p14="http://schemas.microsoft.com/office/powerpoint/2010/main" val="3158434999"/>
              </p:ext>
            </p:extLst>
          </p:nvPr>
        </p:nvGraphicFramePr>
        <p:xfrm>
          <a:off x="465778" y="941836"/>
          <a:ext cx="7359088" cy="3782113"/>
        </p:xfrm>
        <a:graphic>
          <a:graphicData uri="http://schemas.openxmlformats.org/drawingml/2006/chart">
            <c:chart xmlns:c="http://schemas.openxmlformats.org/drawingml/2006/chart" xmlns:r="http://schemas.openxmlformats.org/officeDocument/2006/relationships" r:id="rId4"/>
          </a:graphicData>
        </a:graphic>
      </p:graphicFrame>
      <p:sp>
        <p:nvSpPr>
          <p:cNvPr id="15" name="TextBox 15">
            <a:extLst>
              <a:ext uri="{FF2B5EF4-FFF2-40B4-BE49-F238E27FC236}">
                <a16:creationId xmlns:a16="http://schemas.microsoft.com/office/drawing/2014/main" id="{9BFA2227-9F8E-477B-A15D-C851E347194B}"/>
              </a:ext>
            </a:extLst>
          </p:cNvPr>
          <p:cNvSpPr txBox="1"/>
          <p:nvPr/>
        </p:nvSpPr>
        <p:spPr>
          <a:xfrm>
            <a:off x="77860" y="764320"/>
            <a:ext cx="5423069" cy="292068"/>
          </a:xfrm>
          <a:prstGeom prst="rect">
            <a:avLst/>
          </a:prstGeom>
          <a:noFill/>
          <a:ln>
            <a:noFill/>
          </a:ln>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hallenges Faced (Need-Gap Analysis),</a:t>
            </a: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20</a:t>
            </a:r>
            <a:endParaRPr kumimoji="0" lang="en-US" sz="1000" b="1"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8" name="Title 1">
            <a:extLst>
              <a:ext uri="{FF2B5EF4-FFF2-40B4-BE49-F238E27FC236}">
                <a16:creationId xmlns:a16="http://schemas.microsoft.com/office/drawing/2014/main" id="{370C9666-BF07-40D0-8BEB-5AF381E2B77D}"/>
              </a:ext>
            </a:extLst>
          </p:cNvPr>
          <p:cNvSpPr txBox="1">
            <a:spLocks/>
          </p:cNvSpPr>
          <p:nvPr/>
        </p:nvSpPr>
        <p:spPr>
          <a:xfrm>
            <a:off x="114173" y="67688"/>
            <a:ext cx="6623432" cy="655068"/>
          </a:xfrm>
          <a:prstGeom prst="rect">
            <a:avLst/>
          </a:prstGeo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endParaRPr lang="en-US" sz="1400" b="1" dirty="0">
              <a:latin typeface="Arial" panose="020B0604020202020204" pitchFamily="34" charset="0"/>
              <a:cs typeface="Arial" panose="020B0604020202020204" pitchFamily="34" charset="0"/>
            </a:endParaRPr>
          </a:p>
          <a:p>
            <a:pPr defTabSz="457189">
              <a:lnSpc>
                <a:spcPts val="1700"/>
              </a:lnSpc>
              <a:defRPr/>
            </a:pPr>
            <a:r>
              <a:rPr lang="en-IN" sz="1400" b="1" dirty="0">
                <a:solidFill>
                  <a:prstClr val="black"/>
                </a:solidFill>
                <a:latin typeface="Arial" panose="020B0604020202020204" pitchFamily="34" charset="0"/>
                <a:cs typeface="Arial" panose="020B0604020202020204" pitchFamily="34" charset="0"/>
              </a:rPr>
              <a:t>Voice of Customer</a:t>
            </a:r>
          </a:p>
        </p:txBody>
      </p:sp>
      <p:sp>
        <p:nvSpPr>
          <p:cNvPr id="20" name="Subtitle 3">
            <a:extLst>
              <a:ext uri="{FF2B5EF4-FFF2-40B4-BE49-F238E27FC236}">
                <a16:creationId xmlns:a16="http://schemas.microsoft.com/office/drawing/2014/main" id="{1A1357FC-74B0-474F-999D-EBFFE21738F1}"/>
              </a:ext>
            </a:extLst>
          </p:cNvPr>
          <p:cNvSpPr txBox="1">
            <a:spLocks/>
          </p:cNvSpPr>
          <p:nvPr/>
        </p:nvSpPr>
        <p:spPr>
          <a:xfrm>
            <a:off x="114173" y="5094368"/>
            <a:ext cx="8619712" cy="1250385"/>
          </a:xfrm>
          <a:prstGeom prst="rect">
            <a:avLst/>
          </a:prstGeom>
          <a:noFill/>
        </p:spPr>
        <p:txBody>
          <a:bodyP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marR="0" lvl="0" indent="-171450" algn="just" defTabSz="914400" rtl="0" eaLnBrk="1" fontAlgn="auto" latinLnBrk="0" hangingPunct="1">
              <a:lnSpc>
                <a:spcPct val="200000"/>
              </a:lnSpc>
              <a:spcBef>
                <a:spcPts val="600"/>
              </a:spcBef>
              <a:spcAft>
                <a:spcPts val="0"/>
              </a:spcAft>
              <a:buClrTx/>
              <a:buSzTx/>
              <a:buFont typeface="Arial" panose="020B0604020202020204" pitchFamily="34" charset="0"/>
              <a:buChar char="•"/>
              <a:tabLst/>
              <a:defRPr/>
            </a:pPr>
            <a:r>
              <a:rPr kumimoji="0" lang="en-IN" sz="1000" b="0"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While conducting the consumer survey to derive the challenges faced b</a:t>
            </a:r>
            <a:r>
              <a:rPr lang="en-IN" sz="1000" dirty="0">
                <a:solidFill>
                  <a:srgbClr val="E7E6E6">
                    <a:lumMod val="25000"/>
                  </a:srgbClr>
                </a:solidFill>
                <a:latin typeface="Verdana" panose="020B0604030504040204" pitchFamily="34" charset="0"/>
                <a:ea typeface="Verdana" panose="020B0604030504040204" pitchFamily="34" charset="0"/>
                <a:cs typeface="Verdana" panose="020B0604030504040204" pitchFamily="34" charset="0"/>
              </a:rPr>
              <a:t>y customers, it has been observed that the product quality is the most important factor faced by customers with 88% of the total responses captured while other factors include after sales support at 85%, supply chain management at 84%, credit period at 82%. The Limited access to geography by manufacturers in these emerging economies are also one of the major challenges faced by the customers</a:t>
            </a:r>
            <a:endParaRPr kumimoji="0" lang="en-IN" sz="1000" b="0"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6" name="Chart 15">
            <a:extLst>
              <a:ext uri="{FF2B5EF4-FFF2-40B4-BE49-F238E27FC236}">
                <a16:creationId xmlns:a16="http://schemas.microsoft.com/office/drawing/2014/main" id="{AE2DF8EE-3501-4776-A2BC-6C339FC124DC}"/>
              </a:ext>
            </a:extLst>
          </p:cNvPr>
          <p:cNvGraphicFramePr/>
          <p:nvPr>
            <p:extLst>
              <p:ext uri="{D42A27DB-BD31-4B8C-83A1-F6EECF244321}">
                <p14:modId xmlns:p14="http://schemas.microsoft.com/office/powerpoint/2010/main" val="2399822212"/>
              </p:ext>
            </p:extLst>
          </p:nvPr>
        </p:nvGraphicFramePr>
        <p:xfrm>
          <a:off x="183824" y="1305317"/>
          <a:ext cx="8550061" cy="3480681"/>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394819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ED6F1FA-41F1-4D32-9433-FB1AE56DC89C}"/>
              </a:ext>
            </a:extLst>
          </p:cNvPr>
          <p:cNvSpPr/>
          <p:nvPr/>
        </p:nvSpPr>
        <p:spPr>
          <a:xfrm>
            <a:off x="3094892" y="141407"/>
            <a:ext cx="1645920" cy="4360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 Placeholder 4">
            <a:extLst>
              <a:ext uri="{FF2B5EF4-FFF2-40B4-BE49-F238E27FC236}">
                <a16:creationId xmlns:a16="http://schemas.microsoft.com/office/drawing/2014/main" id="{15285A49-8DA1-4BF9-9A16-1DDBE2F13E17}"/>
              </a:ext>
            </a:extLst>
          </p:cNvPr>
          <p:cNvSpPr>
            <a:spLocks noGrp="1"/>
          </p:cNvSpPr>
          <p:nvPr>
            <p:ph type="body" sz="quarter" idx="4294967295"/>
          </p:nvPr>
        </p:nvSpPr>
        <p:spPr>
          <a:xfrm>
            <a:off x="119270" y="68443"/>
            <a:ext cx="7726017" cy="436097"/>
          </a:xfrm>
        </p:spPr>
        <p:txBody>
          <a:bodyPr>
            <a:normAutofit fontScale="40000" lnSpcReduction="20000"/>
          </a:bodyPr>
          <a:lstStyle/>
          <a:p>
            <a:pPr marL="0" indent="0">
              <a:buNone/>
            </a:pPr>
            <a:endParaRPr lang="en-IN" sz="1600" b="1" dirty="0">
              <a:solidFill>
                <a:prstClr val="black"/>
              </a:solidFill>
              <a:latin typeface="Arial" panose="020B0604020202020204" pitchFamily="34" charset="0"/>
              <a:cs typeface="Arial" panose="020B0604020202020204" pitchFamily="34" charset="0"/>
            </a:endParaRPr>
          </a:p>
          <a:p>
            <a:pPr marL="0" indent="0">
              <a:buNone/>
            </a:pPr>
            <a:r>
              <a:rPr lang="en-IN" sz="3500" b="1" dirty="0">
                <a:solidFill>
                  <a:prstClr val="black"/>
                </a:solidFill>
                <a:latin typeface="Arial" panose="020B0604020202020204" pitchFamily="34" charset="0"/>
                <a:cs typeface="Arial" panose="020B0604020202020204" pitchFamily="34" charset="0"/>
              </a:rPr>
              <a:t>Voice of Customer</a:t>
            </a:r>
          </a:p>
          <a:p>
            <a:endParaRPr lang="en-IN" dirty="0">
              <a:solidFill>
                <a:schemeClr val="tx1"/>
              </a:solidFill>
            </a:endParaRPr>
          </a:p>
        </p:txBody>
      </p:sp>
      <p:sp>
        <p:nvSpPr>
          <p:cNvPr id="2" name="TextBox 15">
            <a:extLst>
              <a:ext uri="{FF2B5EF4-FFF2-40B4-BE49-F238E27FC236}">
                <a16:creationId xmlns:a16="http://schemas.microsoft.com/office/drawing/2014/main" id="{77F005AE-A26C-497A-BE7D-3D67220C7735}"/>
              </a:ext>
            </a:extLst>
          </p:cNvPr>
          <p:cNvSpPr txBox="1"/>
          <p:nvPr/>
        </p:nvSpPr>
        <p:spPr>
          <a:xfrm>
            <a:off x="79516" y="741517"/>
            <a:ext cx="5423069" cy="292068"/>
          </a:xfrm>
          <a:prstGeom prst="rect">
            <a:avLst/>
          </a:prstGeom>
          <a:noFill/>
          <a:ln>
            <a:noFill/>
          </a:ln>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Satisfaction Level of Product Pricing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N=50), </a:t>
            </a: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2020</a:t>
            </a:r>
            <a:endParaRPr kumimoji="0" lang="en-US" sz="1000" b="1"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 name="Subtitle 3">
            <a:extLst>
              <a:ext uri="{FF2B5EF4-FFF2-40B4-BE49-F238E27FC236}">
                <a16:creationId xmlns:a16="http://schemas.microsoft.com/office/drawing/2014/main" id="{E9F1A404-2194-44EA-AB47-75CF7622F229}"/>
              </a:ext>
            </a:extLst>
          </p:cNvPr>
          <p:cNvSpPr txBox="1">
            <a:spLocks/>
          </p:cNvSpPr>
          <p:nvPr/>
        </p:nvSpPr>
        <p:spPr>
          <a:xfrm>
            <a:off x="79516" y="5143436"/>
            <a:ext cx="8560903" cy="1432101"/>
          </a:xfrm>
          <a:prstGeom prst="rect">
            <a:avLst/>
          </a:prstGeom>
          <a:solidFill>
            <a:schemeClr val="bg1"/>
          </a:solidFill>
        </p:spPr>
        <p:txBody>
          <a:bodyP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indent="-171450" algn="just" defTabSz="914400">
              <a:lnSpc>
                <a:spcPct val="200000"/>
              </a:lnSpc>
              <a:spcBef>
                <a:spcPts val="600"/>
              </a:spcBef>
              <a:buFont typeface="Arial" panose="020B0604020202020204" pitchFamily="34" charset="0"/>
              <a:buChar char="•"/>
              <a:defRPr/>
            </a:pPr>
            <a:r>
              <a:rPr lang="en-IN" sz="10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According to the survey, 88% of the respondents are partially satisfied with the product pricing while 78% of the respondents were highly satisfied and 42% of the respondents were not satisfied. The Highly satisfied customers considered the quality, availability, and price of copper sulphate according to their required application. Not satisfied customer criteria is based on the purity of grade provided to them and also dependent on any mismatch hampering the final quality of their product.</a:t>
            </a:r>
          </a:p>
        </p:txBody>
      </p:sp>
      <p:graphicFrame>
        <p:nvGraphicFramePr>
          <p:cNvPr id="9" name="Chart 8">
            <a:extLst>
              <a:ext uri="{FF2B5EF4-FFF2-40B4-BE49-F238E27FC236}">
                <a16:creationId xmlns:a16="http://schemas.microsoft.com/office/drawing/2014/main" id="{2AA2D5D6-0529-4550-912B-8814D0ADB6E1}"/>
              </a:ext>
            </a:extLst>
          </p:cNvPr>
          <p:cNvGraphicFramePr/>
          <p:nvPr>
            <p:extLst>
              <p:ext uri="{D42A27DB-BD31-4B8C-83A1-F6EECF244321}">
                <p14:modId xmlns:p14="http://schemas.microsoft.com/office/powerpoint/2010/main" val="2783475820"/>
              </p:ext>
            </p:extLst>
          </p:nvPr>
        </p:nvGraphicFramePr>
        <p:xfrm>
          <a:off x="119270" y="1097847"/>
          <a:ext cx="8441634" cy="3657600"/>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D71E0C2B-C283-4C32-AF03-12B3058DAA9F}"/>
              </a:ext>
            </a:extLst>
          </p:cNvPr>
          <p:cNvSpPr txBox="1"/>
          <p:nvPr/>
        </p:nvSpPr>
        <p:spPr>
          <a:xfrm>
            <a:off x="6447601" y="4755447"/>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1617206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152400" y="193795"/>
            <a:ext cx="7863840" cy="457200"/>
          </a:xfrm>
          <a:prstGeom prst="rect">
            <a:avLst/>
          </a:prstGeom>
        </p:spPr>
        <p:txBody>
          <a:bodyPr>
            <a:normAutofit/>
          </a:bodyPr>
          <a:lstStyle/>
          <a:p>
            <a:pPr marL="0" indent="0">
              <a:buNone/>
            </a:pPr>
            <a:r>
              <a:rPr lang="en-US" sz="1600" b="1" spc="0" dirty="0">
                <a:solidFill>
                  <a:schemeClr val="tx1">
                    <a:lumMod val="85000"/>
                    <a:lumOff val="15000"/>
                  </a:schemeClr>
                </a:solidFill>
                <a:latin typeface="Montserrat" panose="02000505000000020004" pitchFamily="2" charset="0"/>
              </a:rPr>
              <a:t>Table of Contents</a:t>
            </a:r>
          </a:p>
        </p:txBody>
      </p:sp>
      <p:graphicFrame>
        <p:nvGraphicFramePr>
          <p:cNvPr id="6" name="Table 5">
            <a:extLst>
              <a:ext uri="{FF2B5EF4-FFF2-40B4-BE49-F238E27FC236}">
                <a16:creationId xmlns:a16="http://schemas.microsoft.com/office/drawing/2014/main" id="{B447EB88-FF2A-4CEF-92A1-1C1B5802DE79}"/>
              </a:ext>
            </a:extLst>
          </p:cNvPr>
          <p:cNvGraphicFramePr>
            <a:graphicFrameLocks noGrp="1"/>
          </p:cNvGraphicFramePr>
          <p:nvPr>
            <p:extLst>
              <p:ext uri="{D42A27DB-BD31-4B8C-83A1-F6EECF244321}">
                <p14:modId xmlns:p14="http://schemas.microsoft.com/office/powerpoint/2010/main" val="3498655787"/>
              </p:ext>
            </p:extLst>
          </p:nvPr>
        </p:nvGraphicFramePr>
        <p:xfrm>
          <a:off x="152400" y="964261"/>
          <a:ext cx="8753066" cy="5707568"/>
        </p:xfrm>
        <a:graphic>
          <a:graphicData uri="http://schemas.openxmlformats.org/drawingml/2006/table">
            <a:tbl>
              <a:tblPr firstRow="1" bandRow="1">
                <a:tableStyleId>{5C22544A-7EE6-4342-B048-85BDC9FD1C3A}</a:tableStyleId>
              </a:tblPr>
              <a:tblGrid>
                <a:gridCol w="805010">
                  <a:extLst>
                    <a:ext uri="{9D8B030D-6E8A-4147-A177-3AD203B41FA5}">
                      <a16:colId xmlns:a16="http://schemas.microsoft.com/office/drawing/2014/main" val="20000"/>
                    </a:ext>
                  </a:extLst>
                </a:gridCol>
                <a:gridCol w="938709">
                  <a:extLst>
                    <a:ext uri="{9D8B030D-6E8A-4147-A177-3AD203B41FA5}">
                      <a16:colId xmlns:a16="http://schemas.microsoft.com/office/drawing/2014/main" val="20001"/>
                    </a:ext>
                  </a:extLst>
                </a:gridCol>
                <a:gridCol w="826502">
                  <a:extLst>
                    <a:ext uri="{9D8B030D-6E8A-4147-A177-3AD203B41FA5}">
                      <a16:colId xmlns:a16="http://schemas.microsoft.com/office/drawing/2014/main" val="20002"/>
                    </a:ext>
                  </a:extLst>
                </a:gridCol>
                <a:gridCol w="5175677">
                  <a:extLst>
                    <a:ext uri="{9D8B030D-6E8A-4147-A177-3AD203B41FA5}">
                      <a16:colId xmlns:a16="http://schemas.microsoft.com/office/drawing/2014/main" val="20003"/>
                    </a:ext>
                  </a:extLst>
                </a:gridCol>
                <a:gridCol w="1007168">
                  <a:extLst>
                    <a:ext uri="{9D8B030D-6E8A-4147-A177-3AD203B41FA5}">
                      <a16:colId xmlns:a16="http://schemas.microsoft.com/office/drawing/2014/main" val="280196381"/>
                    </a:ext>
                  </a:extLst>
                </a:gridCol>
              </a:tblGrid>
              <a:tr h="204160">
                <a:tc>
                  <a:txBody>
                    <a:bodyPr/>
                    <a:lstStyle/>
                    <a:p>
                      <a:pPr algn="ct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 </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nSpc>
                          <a:spcPts val="800"/>
                        </a:lnSpc>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Copper Sulphate: An Introduction &amp; Product Classification</a:t>
                      </a: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N"/>
                    </a:p>
                  </a:txBody>
                  <a:tcPr/>
                </a:tc>
                <a:tc hMerge="1">
                  <a:txBody>
                    <a:bodyPr/>
                    <a:lstStyle/>
                    <a:p>
                      <a:endParaRPr lang="en-IN"/>
                    </a:p>
                  </a:txBody>
                  <a:tcPr/>
                </a:tc>
                <a:tc>
                  <a:txBody>
                    <a:bodyPr/>
                    <a:lstStyle/>
                    <a:p>
                      <a:pPr algn="ctr">
                        <a:lnSpc>
                          <a:spcPts val="800"/>
                        </a:lnSpc>
                      </a:pP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04160">
                <a:tc>
                  <a:txBody>
                    <a:bodyPr/>
                    <a:lstStyle/>
                    <a:p>
                      <a:pPr algn="ct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Research Methodology </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N"/>
                    </a:p>
                  </a:txBody>
                  <a:tcPr/>
                </a:tc>
                <a:tc hMerge="1">
                  <a:txBody>
                    <a:bodyPr/>
                    <a:lstStyle/>
                    <a:p>
                      <a:endParaRPr lang="en-IN"/>
                    </a:p>
                  </a:txBody>
                  <a:tcPr/>
                </a:tc>
                <a:tc>
                  <a:txBody>
                    <a:bodyPr/>
                    <a:lstStyle/>
                    <a:p>
                      <a:pPr algn="ctr">
                        <a:lnSpc>
                          <a:spcPts val="800"/>
                        </a:lnSpc>
                      </a:pP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04160">
                <a:tc>
                  <a:txBody>
                    <a:bodyPr/>
                    <a:lstStyle/>
                    <a:p>
                      <a:pPr algn="ct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3.</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indent="0">
                        <a:lnSpc>
                          <a:spcPts val="800"/>
                        </a:lnSpc>
                        <a:buNone/>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Executive Summary</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a:txBody>
                    <a:bodyPr/>
                    <a:lstStyle/>
                    <a:p>
                      <a:pPr marL="0" indent="0" algn="ctr">
                        <a:lnSpc>
                          <a:spcPts val="800"/>
                        </a:lnSpc>
                        <a:buNone/>
                      </a:pP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04160">
                <a:tc>
                  <a:txBody>
                    <a:bodyPr/>
                    <a:lstStyle/>
                    <a:p>
                      <a:pPr algn="ct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4.</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Voice of Customer/End User Analysi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a:txBody>
                    <a:bodyPr/>
                    <a:lstStyle/>
                    <a:p>
                      <a:pPr algn="ctr">
                        <a:lnSpc>
                          <a:spcPts val="800"/>
                        </a:lnSpc>
                      </a:pP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006521"/>
                  </a:ext>
                </a:extLst>
              </a:tr>
              <a:tr h="204160">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4.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jor Influencing Factor Affecting Vendor Selection</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90617488"/>
                  </a:ext>
                </a:extLst>
              </a:tr>
              <a:tr h="204160">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800"/>
                        </a:lnSpc>
                      </a:pPr>
                      <a:r>
                        <a:rPr kumimoji="0" lang="en-IN" sz="9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4.2.</a:t>
                      </a: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hallenges Faced (Need-Gap Analysi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631344"/>
                  </a:ext>
                </a:extLst>
              </a:tr>
              <a:tr h="204160">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800"/>
                        </a:lnSpc>
                      </a:pPr>
                      <a:r>
                        <a:rPr kumimoji="0" lang="en-IN" sz="9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4.3.</a:t>
                      </a: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Satisfaction Level of Product Pricing (N=50)</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1492581"/>
                  </a:ext>
                </a:extLst>
              </a:tr>
              <a:tr h="204160">
                <a:tc>
                  <a:txBody>
                    <a:bodyPr/>
                    <a:lstStyle/>
                    <a:p>
                      <a:pPr algn="ct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5.</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nSpc>
                          <a:spcPts val="800"/>
                        </a:lnSpc>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a:t>
                      </a: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 Market Outlook</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lnSpc>
                          <a:spcPts val="800"/>
                        </a:lnSpc>
                      </a:pP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04160">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ize &amp; Forecast </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04160">
                <a:tc>
                  <a:txBody>
                    <a:bodyPr/>
                    <a:lstStyle/>
                    <a:p>
                      <a:pPr marL="0" algn="ctr" defTabSz="914400" rtl="0" eaLnBrk="1" latinLnBrk="0" hangingPunct="1">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1.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Value &amp; Volum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04160">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hare &amp; Forecast </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13563">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2.</a:t>
                      </a: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Type (Hydrous, Anhydrou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endPar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6622988"/>
                  </a:ext>
                </a:extLst>
              </a:tr>
              <a:tr h="242756">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2.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Grade (Industrial Grade, Reagent Grad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endPar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9638667"/>
                  </a:ext>
                </a:extLst>
              </a:tr>
              <a:tr h="361945">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2.</a:t>
                      </a: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3.</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ct val="1000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End Use (Agriculture, Animal Husbandry, Healthcare, Industrial , Chemicals,  Leather and Textiles &amp; Other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endPar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1308338"/>
                  </a:ext>
                </a:extLst>
              </a:tr>
              <a:tr h="361945">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2.</a:t>
                      </a: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4.</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ct val="1000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Country (Indonesia, Malaysia, Philippines, Vietnam, Thailand, and Rest of South-east Asia)</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endPar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8997402"/>
                  </a:ext>
                </a:extLst>
              </a:tr>
              <a:tr h="213563">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2.</a:t>
                      </a: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Company (2020)</a:t>
                      </a:r>
                      <a:endPar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endPar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5771213"/>
                  </a:ext>
                </a:extLst>
              </a:tr>
              <a:tr h="204160">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3.</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Mapping</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solidFill>
                      <a:schemeClr val="bg1"/>
                    </a:solid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8483593"/>
                  </a:ext>
                </a:extLst>
              </a:tr>
              <a:tr h="204160">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6.</a:t>
                      </a: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0" indent="0" algn="l"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Indonesia Copper Sulphate Market Outlook</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63487633"/>
                  </a:ext>
                </a:extLst>
              </a:tr>
              <a:tr h="204160">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6.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ize &amp; Forecast</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35828036"/>
                  </a:ext>
                </a:extLst>
              </a:tr>
              <a:tr h="204160">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6.1.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Value &amp; Volum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0818660"/>
                  </a:ext>
                </a:extLst>
              </a:tr>
              <a:tr h="204160">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6.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hare &amp; Forecast </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804690"/>
                  </a:ext>
                </a:extLst>
              </a:tr>
              <a:tr h="213563">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6.2.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Grad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endPar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178626"/>
                  </a:ext>
                </a:extLst>
              </a:tr>
              <a:tr h="213563">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6.2.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End Us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endPar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4095285"/>
                  </a:ext>
                </a:extLst>
              </a:tr>
              <a:tr h="204160">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6.3.</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pper Sulphate Trade Dynamic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054245"/>
                  </a:ext>
                </a:extLst>
              </a:tr>
              <a:tr h="204160">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6.4.</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mpetition Outlook</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6093598"/>
                  </a:ext>
                </a:extLst>
              </a:tr>
              <a:tr h="204160">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7.</a:t>
                      </a: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0" indent="0" algn="l"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Thailand Copper Sulphate Market Outlook</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1530667"/>
                  </a:ext>
                </a:extLst>
              </a:tr>
            </a:tbl>
          </a:graphicData>
        </a:graphic>
      </p:graphicFrame>
      <p:graphicFrame>
        <p:nvGraphicFramePr>
          <p:cNvPr id="5" name="Table 4">
            <a:extLst>
              <a:ext uri="{FF2B5EF4-FFF2-40B4-BE49-F238E27FC236}">
                <a16:creationId xmlns:a16="http://schemas.microsoft.com/office/drawing/2014/main" id="{406D5549-74F7-4076-A3FA-766382669FB3}"/>
              </a:ext>
            </a:extLst>
          </p:cNvPr>
          <p:cNvGraphicFramePr>
            <a:graphicFrameLocks noGrp="1"/>
          </p:cNvGraphicFramePr>
          <p:nvPr>
            <p:extLst>
              <p:ext uri="{D42A27DB-BD31-4B8C-83A1-F6EECF244321}">
                <p14:modId xmlns:p14="http://schemas.microsoft.com/office/powerpoint/2010/main" val="3482081965"/>
              </p:ext>
            </p:extLst>
          </p:nvPr>
        </p:nvGraphicFramePr>
        <p:xfrm>
          <a:off x="152400" y="756172"/>
          <a:ext cx="8518075" cy="208089"/>
        </p:xfrm>
        <a:graphic>
          <a:graphicData uri="http://schemas.openxmlformats.org/drawingml/2006/table">
            <a:tbl>
              <a:tblPr firstRow="1" bandRow="1">
                <a:tableStyleId>{5C22544A-7EE6-4342-B048-85BDC9FD1C3A}</a:tableStyleId>
              </a:tblPr>
              <a:tblGrid>
                <a:gridCol w="685800">
                  <a:extLst>
                    <a:ext uri="{9D8B030D-6E8A-4147-A177-3AD203B41FA5}">
                      <a16:colId xmlns:a16="http://schemas.microsoft.com/office/drawing/2014/main" val="20000"/>
                    </a:ext>
                  </a:extLst>
                </a:gridCol>
                <a:gridCol w="6927574">
                  <a:extLst>
                    <a:ext uri="{9D8B030D-6E8A-4147-A177-3AD203B41FA5}">
                      <a16:colId xmlns:a16="http://schemas.microsoft.com/office/drawing/2014/main" val="20001"/>
                    </a:ext>
                  </a:extLst>
                </a:gridCol>
                <a:gridCol w="904701">
                  <a:extLst>
                    <a:ext uri="{9D8B030D-6E8A-4147-A177-3AD203B41FA5}">
                      <a16:colId xmlns:a16="http://schemas.microsoft.com/office/drawing/2014/main" val="540729773"/>
                    </a:ext>
                  </a:extLst>
                </a:gridCol>
              </a:tblGrid>
              <a:tr h="208089">
                <a:tc>
                  <a:txBody>
                    <a:bodyPr/>
                    <a:lstStyle/>
                    <a:p>
                      <a:pPr algn="ctr">
                        <a:lnSpc>
                          <a:spcPts val="6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S. No.</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algn="ctr">
                        <a:lnSpc>
                          <a:spcPts val="600"/>
                        </a:lnSpc>
                      </a:pPr>
                      <a:r>
                        <a:rPr lang="en-IN" sz="900" dirty="0">
                          <a:solidFill>
                            <a:schemeClr val="tx1"/>
                          </a:solidFill>
                          <a:latin typeface="Verdana" panose="020B0604030504040204" pitchFamily="34" charset="0"/>
                          <a:ea typeface="Verdana" panose="020B0604030504040204" pitchFamily="34" charset="0"/>
                          <a:cs typeface="Verdana" panose="020B0604030504040204" pitchFamily="34" charset="0"/>
                        </a:rPr>
                        <a:t>Content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algn="ctr">
                        <a:lnSpc>
                          <a:spcPts val="600"/>
                        </a:lnSpc>
                      </a:pPr>
                      <a:r>
                        <a:rPr lang="en-IN" sz="900" dirty="0">
                          <a:solidFill>
                            <a:schemeClr val="tx1"/>
                          </a:solidFill>
                          <a:latin typeface="Verdana" panose="020B0604030504040204" pitchFamily="34" charset="0"/>
                          <a:ea typeface="Verdana" panose="020B0604030504040204" pitchFamily="34" charset="0"/>
                          <a:cs typeface="Verdana" panose="020B0604030504040204" pitchFamily="34" charset="0"/>
                        </a:rPr>
                        <a:t>Page No.</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6012053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6B1D01B8-32F7-47CA-AEE2-F21C067B30D7}"/>
              </a:ext>
            </a:extLst>
          </p:cNvPr>
          <p:cNvSpPr/>
          <p:nvPr/>
        </p:nvSpPr>
        <p:spPr>
          <a:xfrm>
            <a:off x="0" y="754379"/>
            <a:ext cx="6032500" cy="1083212"/>
          </a:xfrm>
          <a:custGeom>
            <a:avLst/>
            <a:gdLst>
              <a:gd name="connsiteX0" fmla="*/ 0 w 6032500"/>
              <a:gd name="connsiteY0" fmla="*/ 0 h 1083212"/>
              <a:gd name="connsiteX1" fmla="*/ 6032500 w 6032500"/>
              <a:gd name="connsiteY1" fmla="*/ 0 h 1083212"/>
              <a:gd name="connsiteX2" fmla="*/ 6032500 w 6032500"/>
              <a:gd name="connsiteY2" fmla="*/ 1083212 h 1083212"/>
              <a:gd name="connsiteX3" fmla="*/ 0 w 6032500"/>
              <a:gd name="connsiteY3" fmla="*/ 1083212 h 1083212"/>
              <a:gd name="connsiteX4" fmla="*/ 0 w 6032500"/>
              <a:gd name="connsiteY4" fmla="*/ 0 h 1083212"/>
              <a:gd name="connsiteX0" fmla="*/ 0 w 6032500"/>
              <a:gd name="connsiteY0" fmla="*/ 0 h 1083212"/>
              <a:gd name="connsiteX1" fmla="*/ 6032500 w 6032500"/>
              <a:gd name="connsiteY1" fmla="*/ 0 h 1083212"/>
              <a:gd name="connsiteX2" fmla="*/ 5526063 w 6032500"/>
              <a:gd name="connsiteY2" fmla="*/ 1083212 h 1083212"/>
              <a:gd name="connsiteX3" fmla="*/ 0 w 6032500"/>
              <a:gd name="connsiteY3" fmla="*/ 1083212 h 1083212"/>
              <a:gd name="connsiteX4" fmla="*/ 0 w 6032500"/>
              <a:gd name="connsiteY4" fmla="*/ 0 h 108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0" h="1083212">
                <a:moveTo>
                  <a:pt x="0" y="0"/>
                </a:moveTo>
                <a:lnTo>
                  <a:pt x="6032500" y="0"/>
                </a:lnTo>
                <a:lnTo>
                  <a:pt x="5526063" y="1083212"/>
                </a:lnTo>
                <a:lnTo>
                  <a:pt x="0" y="1083212"/>
                </a:lnTo>
                <a:lnTo>
                  <a:pt x="0" y="0"/>
                </a:lnTo>
                <a:close/>
              </a:path>
            </a:pathLst>
          </a:custGeom>
          <a:solidFill>
            <a:sysClr val="window" lastClr="FFFFFF"/>
          </a:solidFill>
          <a:ln w="12700" cap="flat" cmpd="sng" algn="ctr">
            <a:noFill/>
            <a:prstDash val="solid"/>
            <a:miter lim="800000"/>
          </a:ln>
          <a:effectLst>
            <a:innerShdw blurRad="76200" dist="76200" dir="18900000">
              <a:prstClr val="black">
                <a:alpha val="46000"/>
              </a:prstClr>
            </a:innerShdw>
          </a:effectLst>
        </p:spPr>
        <p:txBody>
          <a:bodyPr rtlCol="0" anchor="ctr"/>
          <a:lstStyle/>
          <a:p>
            <a:pPr marL="0" lvl="1">
              <a:defRPr/>
            </a:pPr>
            <a:r>
              <a:rPr lang="en-IN" sz="2400" b="1" dirty="0">
                <a:solidFill>
                  <a:prstClr val="black"/>
                </a:solidFill>
                <a:latin typeface="Arial" panose="020B0604020202020204" pitchFamily="34" charset="0"/>
                <a:cs typeface="Arial" panose="020B0604020202020204" pitchFamily="34" charset="0"/>
              </a:rPr>
              <a:t>South-East Asia Copper Sulphate  Market Outlook</a:t>
            </a:r>
            <a:endParaRPr kumimoji="0" lang="en-US"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p:txBody>
      </p:sp>
      <p:pic>
        <p:nvPicPr>
          <p:cNvPr id="5" name="Picture 4" descr="A view of a city&#10;&#10;Description automatically generated">
            <a:extLst>
              <a:ext uri="{FF2B5EF4-FFF2-40B4-BE49-F238E27FC236}">
                <a16:creationId xmlns:a16="http://schemas.microsoft.com/office/drawing/2014/main" id="{8F4337C8-F297-4EB8-B6C9-201EC9A963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046920"/>
            <a:ext cx="5943600" cy="4506280"/>
          </a:xfrm>
          <a:prstGeom prst="rect">
            <a:avLst/>
          </a:prstGeom>
        </p:spPr>
      </p:pic>
      <p:pic>
        <p:nvPicPr>
          <p:cNvPr id="6" name="Picture 5" descr="A building with a metal pole&#10;&#10;Description automatically generated">
            <a:extLst>
              <a:ext uri="{FF2B5EF4-FFF2-40B4-BE49-F238E27FC236}">
                <a16:creationId xmlns:a16="http://schemas.microsoft.com/office/drawing/2014/main" id="{948C3CF1-C37C-4F68-B1C9-5430C5BF3D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27677" y="2046920"/>
            <a:ext cx="5116323" cy="4506280"/>
          </a:xfrm>
          <a:prstGeom prst="rect">
            <a:avLst/>
          </a:prstGeom>
        </p:spPr>
      </p:pic>
    </p:spTree>
    <p:extLst>
      <p:ext uri="{BB962C8B-B14F-4D97-AF65-F5344CB8AC3E}">
        <p14:creationId xmlns:p14="http://schemas.microsoft.com/office/powerpoint/2010/main" val="39700781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6D56440-7BB6-4355-9CC6-D51E1E67FF63}"/>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alue (USD Million), 2016-2026F</a:t>
            </a:r>
          </a:p>
        </p:txBody>
      </p:sp>
      <p:graphicFrame>
        <p:nvGraphicFramePr>
          <p:cNvPr id="8" name="Chart 7">
            <a:extLst>
              <a:ext uri="{FF2B5EF4-FFF2-40B4-BE49-F238E27FC236}">
                <a16:creationId xmlns:a16="http://schemas.microsoft.com/office/drawing/2014/main" id="{A26F37D2-0FE5-434C-BED8-194559B16CDB}"/>
              </a:ext>
            </a:extLst>
          </p:cNvPr>
          <p:cNvGraphicFramePr/>
          <p:nvPr>
            <p:extLst>
              <p:ext uri="{D42A27DB-BD31-4B8C-83A1-F6EECF244321}">
                <p14:modId xmlns:p14="http://schemas.microsoft.com/office/powerpoint/2010/main" val="1780519581"/>
              </p:ext>
            </p:extLst>
          </p:nvPr>
        </p:nvGraphicFramePr>
        <p:xfrm>
          <a:off x="222309" y="1577887"/>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alue</a:t>
            </a:r>
          </a:p>
        </p:txBody>
      </p:sp>
      <p:grpSp>
        <p:nvGrpSpPr>
          <p:cNvPr id="37" name="Group 36">
            <a:extLst>
              <a:ext uri="{FF2B5EF4-FFF2-40B4-BE49-F238E27FC236}">
                <a16:creationId xmlns:a16="http://schemas.microsoft.com/office/drawing/2014/main" id="{6386A73A-847E-4130-81BE-863495E3ED04}"/>
              </a:ext>
            </a:extLst>
          </p:cNvPr>
          <p:cNvGrpSpPr/>
          <p:nvPr/>
        </p:nvGrpSpPr>
        <p:grpSpPr>
          <a:xfrm>
            <a:off x="4356406" y="1285936"/>
            <a:ext cx="3753924" cy="516701"/>
            <a:chOff x="4524751" y="1404135"/>
            <a:chExt cx="3555640" cy="516701"/>
          </a:xfrm>
        </p:grpSpPr>
        <p:cxnSp>
          <p:nvCxnSpPr>
            <p:cNvPr id="38" name="Connector: Elbow 37">
              <a:extLst>
                <a:ext uri="{FF2B5EF4-FFF2-40B4-BE49-F238E27FC236}">
                  <a16:creationId xmlns:a16="http://schemas.microsoft.com/office/drawing/2014/main" id="{B81336F6-D7FE-4B7B-AED9-0CBC6E848C33}"/>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5549B13E-9C53-4126-B55B-A344435365DF}"/>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5</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89%</a:t>
              </a:r>
            </a:p>
          </p:txBody>
        </p:sp>
      </p:grpSp>
      <p:grpSp>
        <p:nvGrpSpPr>
          <p:cNvPr id="17" name="Group 16">
            <a:extLst>
              <a:ext uri="{FF2B5EF4-FFF2-40B4-BE49-F238E27FC236}">
                <a16:creationId xmlns:a16="http://schemas.microsoft.com/office/drawing/2014/main" id="{2F515B5B-3EE0-42B7-8BCE-353FD362EF1C}"/>
              </a:ext>
            </a:extLst>
          </p:cNvPr>
          <p:cNvGrpSpPr/>
          <p:nvPr/>
        </p:nvGrpSpPr>
        <p:grpSpPr>
          <a:xfrm>
            <a:off x="543338" y="1285936"/>
            <a:ext cx="3184509" cy="516701"/>
            <a:chOff x="4524751" y="1404135"/>
            <a:chExt cx="3302533" cy="516701"/>
          </a:xfrm>
        </p:grpSpPr>
        <p:cxnSp>
          <p:nvCxnSpPr>
            <p:cNvPr id="18" name="Connector: Elbow 17">
              <a:extLst>
                <a:ext uri="{FF2B5EF4-FFF2-40B4-BE49-F238E27FC236}">
                  <a16:creationId xmlns:a16="http://schemas.microsoft.com/office/drawing/2014/main" id="{C428651D-8F06-4BA0-87B1-94DBEBF0A9ED}"/>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C5E4E871-8419-4F85-9872-9FF7D1AA6DD1}"/>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3</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9%</a:t>
              </a:r>
            </a:p>
          </p:txBody>
        </p:sp>
      </p:grpSp>
      <p:sp>
        <p:nvSpPr>
          <p:cNvPr id="12" name="TextBox 11">
            <a:extLst>
              <a:ext uri="{FF2B5EF4-FFF2-40B4-BE49-F238E27FC236}">
                <a16:creationId xmlns:a16="http://schemas.microsoft.com/office/drawing/2014/main" id="{37300E58-946F-4EB1-8B71-1FAB2049C12D}"/>
              </a:ext>
            </a:extLst>
          </p:cNvPr>
          <p:cNvSpPr txBox="1"/>
          <p:nvPr/>
        </p:nvSpPr>
        <p:spPr>
          <a:xfrm>
            <a:off x="6553037" y="3402149"/>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pSp>
        <p:nvGrpSpPr>
          <p:cNvPr id="13" name="Group 12">
            <a:extLst>
              <a:ext uri="{FF2B5EF4-FFF2-40B4-BE49-F238E27FC236}">
                <a16:creationId xmlns:a16="http://schemas.microsoft.com/office/drawing/2014/main" id="{C2D0D41D-52B1-45AD-B380-52817C4D5AC0}"/>
              </a:ext>
            </a:extLst>
          </p:cNvPr>
          <p:cNvGrpSpPr/>
          <p:nvPr/>
        </p:nvGrpSpPr>
        <p:grpSpPr>
          <a:xfrm>
            <a:off x="4890052" y="3833151"/>
            <a:ext cx="3869053" cy="2713392"/>
            <a:chOff x="2551852" y="593416"/>
            <a:chExt cx="6300745" cy="4834012"/>
          </a:xfrm>
        </p:grpSpPr>
        <p:sp>
          <p:nvSpPr>
            <p:cNvPr id="14" name="Rectangle 13">
              <a:extLst>
                <a:ext uri="{FF2B5EF4-FFF2-40B4-BE49-F238E27FC236}">
                  <a16:creationId xmlns:a16="http://schemas.microsoft.com/office/drawing/2014/main" id="{125EB96C-6A18-47EE-B49F-B0416F009D29}"/>
                </a:ext>
              </a:extLst>
            </p:cNvPr>
            <p:cNvSpPr/>
            <p:nvPr/>
          </p:nvSpPr>
          <p:spPr>
            <a:xfrm>
              <a:off x="6660411" y="3300644"/>
              <a:ext cx="2192186" cy="1531172"/>
            </a:xfrm>
            <a:prstGeom prst="rect">
              <a:avLst/>
            </a:prstGeom>
            <a:solidFill>
              <a:srgbClr val="12818C"/>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Lower Cost of Production resulting in Competitiveness in  International </a:t>
              </a:r>
              <a:r>
                <a:rPr lang="en-US" sz="900" dirty="0">
                  <a:solidFill>
                    <a:prstClr val="white"/>
                  </a:solidFill>
                  <a:latin typeface="Verdana" panose="020B0604030504040204" pitchFamily="34" charset="0"/>
                  <a:ea typeface="Verdana" panose="020B0604030504040204" pitchFamily="34" charset="0"/>
                  <a:cs typeface="Verdana" panose="020B0604030504040204" pitchFamily="34" charset="0"/>
                </a:rPr>
                <a:t>M</a:t>
              </a:r>
              <a:r>
                <a:rPr kumimoji="0" lang="en-US" sz="900" b="0" i="0" u="none" kern="1200" cap="none" spc="0" normalizeH="0" baseline="0" noProof="0" dirty="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rket</a:t>
              </a:r>
              <a:endParaRPr kumimoji="0" lang="en-US" sz="900" b="0" i="0" u="non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 name="Rectangle 14">
              <a:extLst>
                <a:ext uri="{FF2B5EF4-FFF2-40B4-BE49-F238E27FC236}">
                  <a16:creationId xmlns:a16="http://schemas.microsoft.com/office/drawing/2014/main" id="{DB1F39E5-4BD2-4B8C-AED3-7900DF33958C}"/>
                </a:ext>
              </a:extLst>
            </p:cNvPr>
            <p:cNvSpPr/>
            <p:nvPr/>
          </p:nvSpPr>
          <p:spPr>
            <a:xfrm>
              <a:off x="6623823" y="2085077"/>
              <a:ext cx="2192186" cy="1124611"/>
            </a:xfrm>
            <a:prstGeom prst="rect">
              <a:avLst/>
            </a:prstGeom>
            <a:solidFill>
              <a:srgbClr val="12818C"/>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t>
              </a:r>
              <a:r>
                <a:rPr lang="en-US" sz="900" dirty="0">
                  <a:solidFill>
                    <a:prstClr val="white"/>
                  </a:solidFill>
                  <a:latin typeface="Verdana" panose="020B0604030504040204" pitchFamily="34" charset="0"/>
                  <a:ea typeface="Verdana" panose="020B0604030504040204" pitchFamily="34" charset="0"/>
                  <a:cs typeface="Verdana" panose="020B0604030504040204" pitchFamily="34" charset="0"/>
                </a:rPr>
                <a:t>Availability of Raw Material </a:t>
              </a:r>
              <a:endParaRPr kumimoji="0" lang="en-US" sz="900" b="0" i="0" u="non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a:extLst>
                <a:ext uri="{FF2B5EF4-FFF2-40B4-BE49-F238E27FC236}">
                  <a16:creationId xmlns:a16="http://schemas.microsoft.com/office/drawing/2014/main" id="{E6015C84-A5A8-41EB-AEF4-25B3B79F6DE3}"/>
                </a:ext>
              </a:extLst>
            </p:cNvPr>
            <p:cNvSpPr/>
            <p:nvPr/>
          </p:nvSpPr>
          <p:spPr>
            <a:xfrm>
              <a:off x="2565776" y="3423035"/>
              <a:ext cx="1657596" cy="729549"/>
            </a:xfrm>
            <a:prstGeom prst="rect">
              <a:avLst/>
            </a:prstGeom>
            <a:solidFill>
              <a:srgbClr val="0D6069"/>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Technology Innovations</a:t>
              </a:r>
            </a:p>
          </p:txBody>
        </p:sp>
        <p:sp>
          <p:nvSpPr>
            <p:cNvPr id="20" name="Rectangle 19">
              <a:extLst>
                <a:ext uri="{FF2B5EF4-FFF2-40B4-BE49-F238E27FC236}">
                  <a16:creationId xmlns:a16="http://schemas.microsoft.com/office/drawing/2014/main" id="{14116CBF-2928-439F-B644-FDE6BA390A6F}"/>
                </a:ext>
              </a:extLst>
            </p:cNvPr>
            <p:cNvSpPr/>
            <p:nvPr/>
          </p:nvSpPr>
          <p:spPr>
            <a:xfrm>
              <a:off x="2551852" y="1841384"/>
              <a:ext cx="1657596" cy="1278498"/>
            </a:xfrm>
            <a:prstGeom prst="rect">
              <a:avLst/>
            </a:prstGeom>
            <a:solidFill>
              <a:srgbClr val="0D6069"/>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dirty="0">
                  <a:solidFill>
                    <a:prstClr val="white"/>
                  </a:solidFill>
                  <a:latin typeface="Verdana" panose="020B0604030504040204" pitchFamily="34" charset="0"/>
                  <a:ea typeface="Verdana" panose="020B0604030504040204" pitchFamily="34" charset="0"/>
                  <a:cs typeface="Verdana" panose="020B0604030504040204" pitchFamily="34" charset="0"/>
                </a:rPr>
                <a:t>Growing Agricultur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nd Animal Husbandry Sector</a:t>
              </a:r>
            </a:p>
          </p:txBody>
        </p:sp>
        <p:grpSp>
          <p:nvGrpSpPr>
            <p:cNvPr id="22" name="Group 21">
              <a:extLst>
                <a:ext uri="{FF2B5EF4-FFF2-40B4-BE49-F238E27FC236}">
                  <a16:creationId xmlns:a16="http://schemas.microsoft.com/office/drawing/2014/main" id="{297D25BD-6133-4819-A336-8BB3603B28BC}"/>
                </a:ext>
              </a:extLst>
            </p:cNvPr>
            <p:cNvGrpSpPr/>
            <p:nvPr/>
          </p:nvGrpSpPr>
          <p:grpSpPr>
            <a:xfrm>
              <a:off x="4117174" y="1127021"/>
              <a:ext cx="2558270" cy="4300407"/>
              <a:chOff x="501777" y="780209"/>
              <a:chExt cx="2558270" cy="4730448"/>
            </a:xfrm>
            <a:effectLst>
              <a:outerShdw blurRad="50800" dist="38100" dir="10800000" algn="r" rotWithShape="0">
                <a:prstClr val="black">
                  <a:alpha val="40000"/>
                </a:prstClr>
              </a:outerShdw>
            </a:effectLst>
          </p:grpSpPr>
          <p:sp>
            <p:nvSpPr>
              <p:cNvPr id="29" name="Flowchart: Data 28">
                <a:extLst>
                  <a:ext uri="{FF2B5EF4-FFF2-40B4-BE49-F238E27FC236}">
                    <a16:creationId xmlns:a16="http://schemas.microsoft.com/office/drawing/2014/main" id="{F2DBD0D4-D920-49FC-9E2E-27181D4FFFD6}"/>
                  </a:ext>
                </a:extLst>
              </p:cNvPr>
              <p:cNvSpPr/>
              <p:nvPr/>
            </p:nvSpPr>
            <p:spPr>
              <a:xfrm rot="5400000">
                <a:off x="-826008" y="2893796"/>
                <a:ext cx="3944645" cy="1289075"/>
              </a:xfrm>
              <a:prstGeom prst="flowChartInputOutput">
                <a:avLst/>
              </a:prstGeom>
              <a:solidFill>
                <a:srgbClr val="1281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Flowchart: Data 29">
                <a:extLst>
                  <a:ext uri="{FF2B5EF4-FFF2-40B4-BE49-F238E27FC236}">
                    <a16:creationId xmlns:a16="http://schemas.microsoft.com/office/drawing/2014/main" id="{6C3AB6F4-A336-414E-9934-49D1AB43EE8B}"/>
                  </a:ext>
                </a:extLst>
              </p:cNvPr>
              <p:cNvSpPr/>
              <p:nvPr/>
            </p:nvSpPr>
            <p:spPr>
              <a:xfrm rot="5400000" flipV="1">
                <a:off x="443186" y="2893797"/>
                <a:ext cx="3944645" cy="1289075"/>
              </a:xfrm>
              <a:prstGeom prst="flowChartInputOutput">
                <a:avLst/>
              </a:prstGeom>
              <a:solidFill>
                <a:srgbClr val="0D60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 name="Flowchart: Decision 30">
                <a:extLst>
                  <a:ext uri="{FF2B5EF4-FFF2-40B4-BE49-F238E27FC236}">
                    <a16:creationId xmlns:a16="http://schemas.microsoft.com/office/drawing/2014/main" id="{737D47FA-8A06-497C-AFAF-2A1783E6DA3D}"/>
                  </a:ext>
                </a:extLst>
              </p:cNvPr>
              <p:cNvSpPr/>
              <p:nvPr/>
            </p:nvSpPr>
            <p:spPr>
              <a:xfrm>
                <a:off x="501777" y="780209"/>
                <a:ext cx="2558270" cy="1605182"/>
              </a:xfrm>
              <a:prstGeom prst="flowChartDecision">
                <a:avLst/>
              </a:prstGeom>
              <a:solidFill>
                <a:srgbClr val="132C4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w="0"/>
                  <a:solidFill>
                    <a:srgbClr val="4472C4"/>
                  </a:solidFill>
                  <a:effectLst>
                    <a:outerShdw blurRad="38100" dist="25400" dir="5400000" algn="ctr" rotWithShape="0">
                      <a:srgbClr val="6E747A">
                        <a:alpha val="43000"/>
                      </a:srgbClr>
                    </a:outerShdw>
                  </a:effectLst>
                  <a:uLnTx/>
                  <a:uFillTx/>
                  <a:latin typeface="Calibri" panose="020F0502020204030204"/>
                  <a:ea typeface="+mn-ea"/>
                  <a:cs typeface="+mn-cs"/>
                </a:endParaRPr>
              </a:p>
            </p:txBody>
          </p:sp>
        </p:grpSp>
        <p:grpSp>
          <p:nvGrpSpPr>
            <p:cNvPr id="23" name="Group 22">
              <a:extLst>
                <a:ext uri="{FF2B5EF4-FFF2-40B4-BE49-F238E27FC236}">
                  <a16:creationId xmlns:a16="http://schemas.microsoft.com/office/drawing/2014/main" id="{48099D2C-9565-406B-B710-5BF288E27D2B}"/>
                </a:ext>
              </a:extLst>
            </p:cNvPr>
            <p:cNvGrpSpPr/>
            <p:nvPr/>
          </p:nvGrpSpPr>
          <p:grpSpPr>
            <a:xfrm>
              <a:off x="4848675" y="593416"/>
              <a:ext cx="1075384" cy="1131032"/>
              <a:chOff x="4055884" y="2044964"/>
              <a:chExt cx="2789269" cy="2933603"/>
            </a:xfrm>
            <a:effectLst>
              <a:outerShdw blurRad="50800" dist="38100" dir="10800000" algn="r" rotWithShape="0">
                <a:prstClr val="black">
                  <a:alpha val="40000"/>
                </a:prstClr>
              </a:outerShdw>
            </a:effectLst>
          </p:grpSpPr>
          <p:pic>
            <p:nvPicPr>
              <p:cNvPr id="27" name="Picture 26" descr="A close up of a sign&#10;&#10;Description generated with very high confidence">
                <a:extLst>
                  <a:ext uri="{FF2B5EF4-FFF2-40B4-BE49-F238E27FC236}">
                    <a16:creationId xmlns:a16="http://schemas.microsoft.com/office/drawing/2014/main" id="{646468A4-55AA-4E52-9063-620850FD91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55884" y="2044964"/>
                <a:ext cx="2279570" cy="2933603"/>
              </a:xfrm>
              <a:prstGeom prst="rect">
                <a:avLst/>
              </a:prstGeom>
            </p:spPr>
          </p:pic>
          <p:pic>
            <p:nvPicPr>
              <p:cNvPr id="28" name="Picture 27" descr="A picture containing vector graphics&#10;&#10;Description generated with very high confidence">
                <a:extLst>
                  <a:ext uri="{FF2B5EF4-FFF2-40B4-BE49-F238E27FC236}">
                    <a16:creationId xmlns:a16="http://schemas.microsoft.com/office/drawing/2014/main" id="{C642CDFB-8311-4297-8EF6-283E4C2D284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25755" y="3581656"/>
                <a:ext cx="1019398" cy="1019398"/>
              </a:xfrm>
              <a:prstGeom prst="rect">
                <a:avLst/>
              </a:prstGeom>
            </p:spPr>
          </p:pic>
        </p:grpSp>
        <p:sp>
          <p:nvSpPr>
            <p:cNvPr id="24" name="TextBox 23">
              <a:extLst>
                <a:ext uri="{FF2B5EF4-FFF2-40B4-BE49-F238E27FC236}">
                  <a16:creationId xmlns:a16="http://schemas.microsoft.com/office/drawing/2014/main" id="{8EB538A2-137C-434A-BFDE-C8144B057BE7}"/>
                </a:ext>
              </a:extLst>
            </p:cNvPr>
            <p:cNvSpPr txBox="1"/>
            <p:nvPr/>
          </p:nvSpPr>
          <p:spPr>
            <a:xfrm>
              <a:off x="4347373" y="1739680"/>
              <a:ext cx="2082475" cy="472774"/>
            </a:xfrm>
            <a:prstGeom prst="rect">
              <a:avLst/>
            </a:prstGeom>
            <a:noFill/>
            <a:scene3d>
              <a:camera prst="orthographicFront">
                <a:rot lat="19199995" lon="0" rev="0"/>
              </a:camera>
              <a:lightRig rig="threePt" dir="t"/>
            </a:scene3d>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Key Influencers</a:t>
              </a:r>
            </a:p>
          </p:txBody>
        </p:sp>
        <p:pic>
          <p:nvPicPr>
            <p:cNvPr id="25" name="Picture 20">
              <a:extLst>
                <a:ext uri="{FF2B5EF4-FFF2-40B4-BE49-F238E27FC236}">
                  <a16:creationId xmlns:a16="http://schemas.microsoft.com/office/drawing/2014/main" id="{7A54CDC4-C5D1-4E34-8D42-848813F2FF9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4407634" y="2708488"/>
              <a:ext cx="630611" cy="2337672"/>
            </a:xfrm>
            <a:prstGeom prst="rect">
              <a:avLst/>
            </a:prstGeom>
            <a:scene3d>
              <a:camera prst="orthographicFront">
                <a:rot lat="2050752" lon="2470406" rev="35918"/>
              </a:camera>
              <a:lightRig rig="threePt" dir="t"/>
            </a:scene3d>
          </p:spPr>
        </p:pic>
        <p:pic>
          <p:nvPicPr>
            <p:cNvPr id="26" name="Picture 25">
              <a:extLst>
                <a:ext uri="{FF2B5EF4-FFF2-40B4-BE49-F238E27FC236}">
                  <a16:creationId xmlns:a16="http://schemas.microsoft.com/office/drawing/2014/main" id="{414CBD53-B0E6-4ED6-A68D-420E968B8CCC}"/>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5590514" y="2552547"/>
              <a:ext cx="901595" cy="2433213"/>
            </a:xfrm>
            <a:prstGeom prst="rect">
              <a:avLst/>
            </a:prstGeom>
            <a:scene3d>
              <a:camera prst="orthographicFront">
                <a:rot lat="1475687" lon="19477747" rev="600000"/>
              </a:camera>
              <a:lightRig rig="threePt" dir="t"/>
            </a:scene3d>
          </p:spPr>
        </p:pic>
      </p:grpSp>
      <p:sp>
        <p:nvSpPr>
          <p:cNvPr id="35" name="TextBox 34">
            <a:extLst>
              <a:ext uri="{FF2B5EF4-FFF2-40B4-BE49-F238E27FC236}">
                <a16:creationId xmlns:a16="http://schemas.microsoft.com/office/drawing/2014/main" id="{F6013715-52BA-44C8-922F-EE7DB4E36D3E}"/>
              </a:ext>
            </a:extLst>
          </p:cNvPr>
          <p:cNvSpPr txBox="1"/>
          <p:nvPr/>
        </p:nvSpPr>
        <p:spPr>
          <a:xfrm>
            <a:off x="6633918" y="621221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2" name="TextBox 1">
            <a:extLst>
              <a:ext uri="{FF2B5EF4-FFF2-40B4-BE49-F238E27FC236}">
                <a16:creationId xmlns:a16="http://schemas.microsoft.com/office/drawing/2014/main" id="{140C7BB3-AE21-42F6-8786-4515F4B5EE91}"/>
              </a:ext>
            </a:extLst>
          </p:cNvPr>
          <p:cNvSpPr txBox="1"/>
          <p:nvPr/>
        </p:nvSpPr>
        <p:spPr>
          <a:xfrm>
            <a:off x="213748" y="3894102"/>
            <a:ext cx="4445337" cy="2369559"/>
          </a:xfrm>
          <a:prstGeom prst="rect">
            <a:avLst/>
          </a:prstGeom>
          <a:solidFill>
            <a:schemeClr val="accent6">
              <a:lumMod val="60000"/>
              <a:lumOff val="40000"/>
            </a:schemeClr>
          </a:solidFill>
        </p:spPr>
        <p:txBody>
          <a:bodyPr wrap="square" rtlCol="0">
            <a:spAutoFit/>
          </a:bodyPr>
          <a:lstStyle/>
          <a:p>
            <a:pPr algn="just">
              <a:lnSpc>
                <a:spcPct val="150000"/>
              </a:lnSpc>
            </a:pPr>
            <a:r>
              <a:rPr lang="en-US" sz="1000" dirty="0">
                <a:latin typeface="Verdana" panose="020B0604030504040204" pitchFamily="34" charset="0"/>
                <a:ea typeface="Verdana" panose="020B0604030504040204" pitchFamily="34" charset="0"/>
                <a:cs typeface="Verdana" panose="020B0604030504040204" pitchFamily="34" charset="0"/>
              </a:rPr>
              <a:t>Growing usage of Copper Sulphate in fertilizer and animal feed application coupled with growing government initiatives towards major South-East Asian Countries such as Malaysia, Thailand, Indonesia are set to propel the South-East Asia Copper Sulphate Market by a CAGR of  5.89% by value. Also growing technological advancements for better quality products and growth in industrialization in major South-East Asian countries due to shift of global sentiments from China occurred due to US-China trade war and the COVID-19 pandemic is expected to grow the South-East Asian Copper Sulphate Market.</a:t>
            </a:r>
          </a:p>
        </p:txBody>
      </p:sp>
    </p:spTree>
    <p:extLst>
      <p:ext uri="{BB962C8B-B14F-4D97-AF65-F5344CB8AC3E}">
        <p14:creationId xmlns:p14="http://schemas.microsoft.com/office/powerpoint/2010/main" val="8660178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6500" y="266036"/>
            <a:ext cx="7751929" cy="307777"/>
          </a:xfrm>
          <a:prstGeom prst="rect">
            <a:avLst/>
          </a:prstGeom>
          <a:noFill/>
        </p:spPr>
        <p:txBody>
          <a:bodyPr vert="horz" wrap="square" lIns="91440" tIns="45720" rIns="91440" bIns="45720" rtlCol="0" anchor="ctr">
            <a:spAutoFit/>
          </a:bodyPr>
          <a:lstStyle>
            <a:defPPr>
              <a:defRPr lang="en-US"/>
            </a:defPPr>
            <a:lvl1pPr marR="0" lvl="0" indent="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            Southeast Asia Copper Sulphate Market</a:t>
            </a:r>
          </a:p>
        </p:txBody>
      </p:sp>
      <p:sp>
        <p:nvSpPr>
          <p:cNvPr id="19" name="TextBox 18"/>
          <p:cNvSpPr txBox="1"/>
          <p:nvPr/>
        </p:nvSpPr>
        <p:spPr>
          <a:xfrm>
            <a:off x="374356" y="2193579"/>
            <a:ext cx="8458201" cy="2196435"/>
          </a:xfrm>
          <a:prstGeom prst="rect">
            <a:avLst/>
          </a:prstGeom>
          <a:noFill/>
        </p:spPr>
        <p:txBody>
          <a:bodyPr wrap="square" rtlCol="0">
            <a:spAutoFit/>
          </a:bodyPr>
          <a:lstStyle/>
          <a:p>
            <a:pPr marL="171450" marR="0" lvl="1" indent="-171450" algn="just" defTabSz="4572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IN" sz="1000" b="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Verdana" panose="020B0604030504040204" pitchFamily="34" charset="0"/>
              </a:rPr>
              <a:t>Growing infrastructure-based developments</a:t>
            </a:r>
            <a:r>
              <a:rPr kumimoji="0" lang="en-IN" sz="1000" b="0" i="0" u="none" strike="noStrike" kern="1200" cap="none" spc="0" normalizeH="0" noProof="0" dirty="0">
                <a:ln>
                  <a:noFill/>
                </a:ln>
                <a:effectLst/>
                <a:uLnTx/>
                <a:uFillTx/>
                <a:latin typeface="Verdana" panose="020B0604030504040204" pitchFamily="34" charset="0"/>
                <a:ea typeface="Verdana" panose="020B0604030504040204" pitchFamily="34" charset="0"/>
                <a:cs typeface="Verdana" panose="020B0604030504040204" pitchFamily="34" charset="0"/>
              </a:rPr>
              <a:t> </a:t>
            </a:r>
            <a:r>
              <a:rPr kumimoji="0" lang="en-IN" sz="1000" b="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Verdana" panose="020B0604030504040204" pitchFamily="34" charset="0"/>
              </a:rPr>
              <a:t>in Southeast</a:t>
            </a:r>
            <a:r>
              <a:rPr lang="en-IN" sz="1000" dirty="0">
                <a:latin typeface="Verdana" panose="020B0604030504040204" pitchFamily="34" charset="0"/>
                <a:ea typeface="Verdana" panose="020B0604030504040204" pitchFamily="34" charset="0"/>
                <a:cs typeface="Verdana" panose="020B0604030504040204" pitchFamily="34" charset="0"/>
              </a:rPr>
              <a:t> </a:t>
            </a:r>
            <a:r>
              <a:rPr kumimoji="0" lang="en-IN" sz="1000" b="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Verdana" panose="020B0604030504040204" pitchFamily="34" charset="0"/>
              </a:rPr>
              <a:t>Asia region is expected</a:t>
            </a:r>
            <a:r>
              <a:rPr kumimoji="0" lang="en-IN" sz="1000" b="0" i="0" u="none" strike="noStrike" kern="1200" cap="none" spc="0" normalizeH="0" noProof="0" dirty="0">
                <a:ln>
                  <a:noFill/>
                </a:ln>
                <a:effectLst/>
                <a:uLnTx/>
                <a:uFillTx/>
                <a:latin typeface="Verdana" panose="020B0604030504040204" pitchFamily="34" charset="0"/>
                <a:ea typeface="Verdana" panose="020B0604030504040204" pitchFamily="34" charset="0"/>
                <a:cs typeface="Verdana" panose="020B0604030504040204" pitchFamily="34" charset="0"/>
              </a:rPr>
              <a:t> to positively influence the </a:t>
            </a:r>
            <a:r>
              <a:rPr kumimoji="0" lang="en-IN" sz="1000" b="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Verdana" panose="020B0604030504040204" pitchFamily="34" charset="0"/>
              </a:rPr>
              <a:t>region’s copper sulphate market during forecast period.</a:t>
            </a:r>
            <a:r>
              <a:rPr kumimoji="0" lang="en-US" sz="1000" b="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Verdana" panose="020B0604030504040204" pitchFamily="34" charset="0"/>
              </a:rPr>
              <a:t> </a:t>
            </a:r>
            <a:r>
              <a:rPr kumimoji="0" lang="en-IN" sz="1000" b="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Verdana" panose="020B0604030504040204" pitchFamily="34" charset="0"/>
              </a:rPr>
              <a:t>Moreover, major infrastructure developments which are in the pipeline or at starting stage in the region are anticipated to boost the demand for food, meat and poultry processing industry. </a:t>
            </a:r>
            <a:r>
              <a:rPr kumimoji="0" lang="en-US" sz="1000" b="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Verdana" panose="020B0604030504040204" pitchFamily="34" charset="0"/>
              </a:rPr>
              <a:t>The governments of several countries in Southeast </a:t>
            </a:r>
            <a:r>
              <a:rPr lang="en-US" sz="1000" dirty="0">
                <a:latin typeface="Verdana" panose="020B0604030504040204" pitchFamily="34" charset="0"/>
                <a:ea typeface="Verdana" panose="020B0604030504040204" pitchFamily="34" charset="0"/>
                <a:cs typeface="Verdana" panose="020B0604030504040204" pitchFamily="34" charset="0"/>
              </a:rPr>
              <a:t>Asia </a:t>
            </a:r>
            <a:r>
              <a:rPr kumimoji="0" lang="en-US" sz="1000" b="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Verdana" panose="020B0604030504040204" pitchFamily="34" charset="0"/>
              </a:rPr>
              <a:t>are taking active measures to facilitate infrastructural development in their countries, which is likely to positively influence the sales of both industrial and reagent grade during forecast period. Thailand, Indonesia and Malaysia are the major countries that </a:t>
            </a:r>
            <a:r>
              <a:rPr lang="en-US" sz="1000" dirty="0">
                <a:latin typeface="Verdana" panose="020B0604030504040204" pitchFamily="34" charset="0"/>
                <a:ea typeface="Verdana" panose="020B0604030504040204" pitchFamily="34" charset="0"/>
                <a:cs typeface="Verdana" panose="020B0604030504040204" pitchFamily="34" charset="0"/>
              </a:rPr>
              <a:t>are witnessing massive boom in infrastructure projects. Thus, these countries are anticipated to contribute towards the growth of Southeast Asia copper sulphate market during forecast period.</a:t>
            </a:r>
            <a:endParaRPr kumimoji="0" lang="en-IN" sz="1000" b="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0" name="Slide Number Placeholder 5">
            <a:extLst>
              <a:ext uri="{FF2B5EF4-FFF2-40B4-BE49-F238E27FC236}">
                <a16:creationId xmlns:a16="http://schemas.microsoft.com/office/drawing/2014/main" id="{648EBE04-2324-41B9-BEAB-935206F6D6F1}"/>
              </a:ext>
            </a:extLst>
          </p:cNvPr>
          <p:cNvSpPr>
            <a:spLocks noGrp="1"/>
          </p:cNvSpPr>
          <p:nvPr>
            <p:ph type="sldNum" sz="quarter" idx="4294967295"/>
          </p:nvPr>
        </p:nvSpPr>
        <p:spPr>
          <a:xfrm>
            <a:off x="8702765" y="6506031"/>
            <a:ext cx="514350" cy="208902"/>
          </a:xfrm>
          <a:prstGeom prst="rect">
            <a:avLst/>
          </a:prstGeom>
        </p:spPr>
        <p:txBody>
          <a:bodyPr vert="horz" lIns="91440" tIns="45720" rIns="91440" bIns="45720" rtlCol="0" anchor="ctr"/>
          <a:lstStyle>
            <a:lvl1pPr algn="ctr">
              <a:defRPr lang="en-IN" sz="1200" smtClean="0">
                <a:solidFill>
                  <a:schemeClr val="tx1"/>
                </a:solidFill>
              </a:defRPr>
            </a:lvl1pPr>
          </a:lstStyle>
          <a:p>
            <a:pPr>
              <a:defRPr/>
            </a:pPr>
            <a:fld id="{119CB551-2FCE-4FD9-9B7A-055CD22EB67A}" type="slidenum">
              <a:rPr lang="en-US" smtClean="0"/>
              <a:pPr>
                <a:defRPr/>
              </a:pPr>
              <a:t>22</a:t>
            </a:fld>
            <a:endParaRPr lang="en-US" dirty="0"/>
          </a:p>
        </p:txBody>
      </p:sp>
      <p:sp>
        <p:nvSpPr>
          <p:cNvPr id="21" name="Footer Placeholder 4">
            <a:extLst>
              <a:ext uri="{FF2B5EF4-FFF2-40B4-BE49-F238E27FC236}">
                <a16:creationId xmlns:a16="http://schemas.microsoft.com/office/drawing/2014/main" id="{89FE0576-5405-4879-A39E-E420312DEAD8}"/>
              </a:ext>
            </a:extLst>
          </p:cNvPr>
          <p:cNvSpPr>
            <a:spLocks noGrp="1"/>
          </p:cNvSpPr>
          <p:nvPr>
            <p:ph type="ftr" sz="quarter" idx="4294967295"/>
          </p:nvPr>
        </p:nvSpPr>
        <p:spPr>
          <a:xfrm>
            <a:off x="8248830" y="6699596"/>
            <a:ext cx="968285" cy="158404"/>
          </a:xfrm>
          <a:prstGeom prst="rect">
            <a:avLst/>
          </a:prstGeom>
        </p:spPr>
        <p:txBody>
          <a:bodyPr vert="horz" lIns="91440" tIns="45720" rIns="91440" bIns="45720" rtlCol="0" anchor="ctr"/>
          <a:lstStyle>
            <a:lvl1pPr algn="l">
              <a:defRPr lang="en-US" altLang="zh-CN" sz="700" smtClean="0">
                <a:solidFill>
                  <a:schemeClr val="tx1"/>
                </a:solidFill>
              </a:defRPr>
            </a:lvl1pPr>
          </a:lstStyle>
          <a:p>
            <a:pPr>
              <a:defRPr/>
            </a:pPr>
            <a:r>
              <a:rPr lang="en-IN" dirty="0"/>
              <a:t>© TechSci Research</a:t>
            </a:r>
          </a:p>
        </p:txBody>
      </p:sp>
      <p:sp>
        <p:nvSpPr>
          <p:cNvPr id="22" name="Rectangle 21">
            <a:extLst>
              <a:ext uri="{FF2B5EF4-FFF2-40B4-BE49-F238E27FC236}">
                <a16:creationId xmlns:a16="http://schemas.microsoft.com/office/drawing/2014/main" id="{653B3183-B3EA-4424-B2A5-E5F5068E5B9E}"/>
              </a:ext>
            </a:extLst>
          </p:cNvPr>
          <p:cNvSpPr/>
          <p:nvPr/>
        </p:nvSpPr>
        <p:spPr>
          <a:xfrm>
            <a:off x="374356" y="726909"/>
            <a:ext cx="8328409" cy="1273105"/>
          </a:xfrm>
          <a:prstGeom prst="rect">
            <a:avLst/>
          </a:prstGeom>
        </p:spPr>
        <p:txBody>
          <a:bodyPr wrap="square">
            <a:spAutoFit/>
          </a:bodyPr>
          <a:lstStyle/>
          <a:p>
            <a:pPr marL="0" lvl="1" algn="just">
              <a:lnSpc>
                <a:spcPct val="200000"/>
              </a:lnSpc>
              <a:defRPr/>
            </a:pPr>
            <a:endParaRPr lang="en-US" sz="1000" dirty="0">
              <a:latin typeface="Verdana" panose="020B0604030504040204" pitchFamily="34" charset="0"/>
              <a:ea typeface="Verdana" panose="020B0604030504040204" pitchFamily="34" charset="0"/>
              <a:cs typeface="Verdana" panose="020B0604030504040204" pitchFamily="34" charset="0"/>
            </a:endParaRPr>
          </a:p>
          <a:p>
            <a:pPr marL="171450" lvl="1" indent="-171450" algn="just">
              <a:lnSpc>
                <a:spcPct val="200000"/>
              </a:lnSpc>
              <a:buFont typeface="Arial" panose="020B0604020202020204" pitchFamily="34" charset="0"/>
              <a:buChar char="•"/>
              <a:defRPr/>
            </a:pPr>
            <a:r>
              <a:rPr lang="en-IN" sz="1000" dirty="0">
                <a:latin typeface="Verdana" panose="020B0604030504040204" pitchFamily="34" charset="0"/>
                <a:ea typeface="Verdana" panose="020B0604030504040204" pitchFamily="34" charset="0"/>
                <a:cs typeface="Verdana" panose="020B0604030504040204" pitchFamily="34" charset="0"/>
              </a:rPr>
              <a:t>In terms of sales, Indonesia, Vietnam, Thailand and Malaysia are the most prominent market in </a:t>
            </a:r>
            <a:r>
              <a:rPr lang="en-US" sz="1000" dirty="0">
                <a:latin typeface="Verdana" panose="020B0604030504040204" pitchFamily="34" charset="0"/>
                <a:ea typeface="Verdana" panose="020B0604030504040204" pitchFamily="34" charset="0"/>
                <a:cs typeface="Verdana" panose="020B0604030504040204" pitchFamily="34" charset="0"/>
              </a:rPr>
              <a:t>Southeast Asia</a:t>
            </a:r>
            <a:r>
              <a:rPr lang="en-IN" sz="1000" dirty="0">
                <a:latin typeface="Verdana" panose="020B0604030504040204" pitchFamily="34" charset="0"/>
                <a:ea typeface="Verdana" panose="020B0604030504040204" pitchFamily="34" charset="0"/>
                <a:cs typeface="Verdana" panose="020B0604030504040204" pitchFamily="34" charset="0"/>
              </a:rPr>
              <a:t> region. Agriculture and Animal Husbandry industry in Indonesia is witnessing increased investments </a:t>
            </a:r>
            <a:r>
              <a:rPr lang="en-US" sz="1000" dirty="0">
                <a:latin typeface="Verdana" panose="020B0604030504040204" pitchFamily="34" charset="0"/>
                <a:ea typeface="Verdana" panose="020B0604030504040204" pitchFamily="34" charset="0"/>
                <a:cs typeface="Verdana" panose="020B0604030504040204" pitchFamily="34" charset="0"/>
              </a:rPr>
              <a:t>owing to </a:t>
            </a:r>
            <a:r>
              <a:rPr lang="en-IN" sz="1000" dirty="0">
                <a:latin typeface="Verdana" panose="020B0604030504040204" pitchFamily="34" charset="0"/>
                <a:ea typeface="Verdana" panose="020B0604030504040204" pitchFamily="34" charset="0"/>
                <a:cs typeface="Verdana" panose="020B0604030504040204" pitchFamily="34" charset="0"/>
              </a:rPr>
              <a:t>rising domestic and export demand of processed food thus the copper sulphate industry is expected to show a robust growth in the region.</a:t>
            </a:r>
          </a:p>
        </p:txBody>
      </p:sp>
      <p:sp>
        <p:nvSpPr>
          <p:cNvPr id="23" name="Subtitle 3">
            <a:extLst>
              <a:ext uri="{FF2B5EF4-FFF2-40B4-BE49-F238E27FC236}">
                <a16:creationId xmlns:a16="http://schemas.microsoft.com/office/drawing/2014/main" id="{E460BFF5-43CD-4DEC-937D-64A834873738}"/>
              </a:ext>
            </a:extLst>
          </p:cNvPr>
          <p:cNvSpPr txBox="1">
            <a:spLocks/>
          </p:cNvSpPr>
          <p:nvPr/>
        </p:nvSpPr>
        <p:spPr>
          <a:xfrm>
            <a:off x="374355" y="4594042"/>
            <a:ext cx="8458201" cy="1767002"/>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defTabSz="457200" fontAlgn="base">
              <a:lnSpc>
                <a:spcPct val="200000"/>
              </a:lnSpc>
              <a:spcBef>
                <a:spcPts val="1200"/>
              </a:spcBef>
              <a:spcAft>
                <a:spcPct val="0"/>
              </a:spcAft>
              <a:defRPr/>
            </a:pPr>
            <a:r>
              <a:rPr lang="en-IN" sz="1000" dirty="0">
                <a:latin typeface="Verdana"/>
              </a:rPr>
              <a:t>Countries such as Thailand and Indonesia could benefit if US proceeds with a trade war with China. Some Chinese copper sulphate manufacturers have already started moving some of their food processing industry to Southeast Asian countries such as Thailand, Malaysia, among others due to US China trade war. US-China trade war is also beneficial for Vietnam; and the country has witnessed growth in terms of investment from foreign investors, increased manufacturing and increased exports to countries like US. </a:t>
            </a:r>
            <a:endParaRPr lang="en-IN" sz="1000" dirty="0">
              <a:solidFill>
                <a:srgbClr val="FF0000"/>
              </a:solidFill>
              <a:latin typeface="Verdana"/>
            </a:endParaRPr>
          </a:p>
        </p:txBody>
      </p:sp>
    </p:spTree>
    <p:extLst>
      <p:ext uri="{BB962C8B-B14F-4D97-AF65-F5344CB8AC3E}">
        <p14:creationId xmlns:p14="http://schemas.microsoft.com/office/powerpoint/2010/main" val="28167675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14320C3F-EF7D-410F-BFF2-8168F2D77AA0}"/>
              </a:ext>
            </a:extLst>
          </p:cNvPr>
          <p:cNvGraphicFramePr/>
          <p:nvPr/>
        </p:nvGraphicFramePr>
        <p:xfrm>
          <a:off x="219965" y="1645745"/>
          <a:ext cx="8268194" cy="1899415"/>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a:extLst>
              <a:ext uri="{FF2B5EF4-FFF2-40B4-BE49-F238E27FC236}">
                <a16:creationId xmlns:a16="http://schemas.microsoft.com/office/drawing/2014/main" id="{B83D75AB-0E3C-4B82-996F-87A7453E4A1F}"/>
              </a:ext>
            </a:extLst>
          </p:cNvPr>
          <p:cNvGrpSpPr/>
          <p:nvPr/>
        </p:nvGrpSpPr>
        <p:grpSpPr>
          <a:xfrm>
            <a:off x="4354062" y="1302008"/>
            <a:ext cx="3756268" cy="516701"/>
            <a:chOff x="4524751" y="1404135"/>
            <a:chExt cx="3555640" cy="516701"/>
          </a:xfrm>
        </p:grpSpPr>
        <p:cxnSp>
          <p:nvCxnSpPr>
            <p:cNvPr id="4" name="Connector: Elbow 3">
              <a:extLst>
                <a:ext uri="{FF2B5EF4-FFF2-40B4-BE49-F238E27FC236}">
                  <a16:creationId xmlns:a16="http://schemas.microsoft.com/office/drawing/2014/main" id="{95A6DFC4-4495-4F6A-A9EF-3E83D56C7111}"/>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F95BE91-1C09-4CB4-83F8-DAB4DE213186}"/>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4.73%</a:t>
              </a:r>
            </a:p>
          </p:txBody>
        </p:sp>
      </p:grpSp>
      <p:grpSp>
        <p:nvGrpSpPr>
          <p:cNvPr id="6" name="Group 5">
            <a:extLst>
              <a:ext uri="{FF2B5EF4-FFF2-40B4-BE49-F238E27FC236}">
                <a16:creationId xmlns:a16="http://schemas.microsoft.com/office/drawing/2014/main" id="{1F1797BD-8E39-4379-B7B5-4BD9B632F27D}"/>
              </a:ext>
            </a:extLst>
          </p:cNvPr>
          <p:cNvGrpSpPr/>
          <p:nvPr/>
        </p:nvGrpSpPr>
        <p:grpSpPr>
          <a:xfrm>
            <a:off x="543338" y="1296572"/>
            <a:ext cx="3182166" cy="516701"/>
            <a:chOff x="4524751" y="1404135"/>
            <a:chExt cx="3302533" cy="516701"/>
          </a:xfrm>
        </p:grpSpPr>
        <p:cxnSp>
          <p:nvCxnSpPr>
            <p:cNvPr id="7" name="Connector: Elbow 6">
              <a:extLst>
                <a:ext uri="{FF2B5EF4-FFF2-40B4-BE49-F238E27FC236}">
                  <a16:creationId xmlns:a16="http://schemas.microsoft.com/office/drawing/2014/main" id="{2F52B0F6-27F3-4CEB-A84F-9018459DA4B8}"/>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CE477C8-FC35-4CC6-BFD4-63C00C156893}"/>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2.74%</a:t>
              </a:r>
            </a:p>
          </p:txBody>
        </p:sp>
      </p:grpSp>
      <p:sp>
        <p:nvSpPr>
          <p:cNvPr id="9" name="TextBox 8">
            <a:extLst>
              <a:ext uri="{FF2B5EF4-FFF2-40B4-BE49-F238E27FC236}">
                <a16:creationId xmlns:a16="http://schemas.microsoft.com/office/drawing/2014/main" id="{786AB1F4-AC9C-4AFF-8AAA-46411A146ED7}"/>
              </a:ext>
            </a:extLst>
          </p:cNvPr>
          <p:cNvSpPr txBox="1"/>
          <p:nvPr/>
        </p:nvSpPr>
        <p:spPr>
          <a:xfrm>
            <a:off x="211741" y="915190"/>
            <a:ext cx="8066818" cy="292068"/>
          </a:xfrm>
          <a:prstGeom prst="rect">
            <a:avLst/>
          </a:prstGeom>
          <a:noFill/>
        </p:spPr>
        <p:txBody>
          <a:bodyPr wrap="square" rtlCol="0">
            <a:spAutoFit/>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2: South-East Asia Copper Sulphate Market Size, By Volume (Kilo Tonnes), 2016-2026F</a:t>
            </a:r>
          </a:p>
        </p:txBody>
      </p:sp>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South-East Asia Copper Sulphate Market Size, By Volume</a:t>
            </a:r>
          </a:p>
        </p:txBody>
      </p:sp>
      <p:sp>
        <p:nvSpPr>
          <p:cNvPr id="12" name="TextBox 11">
            <a:extLst>
              <a:ext uri="{FF2B5EF4-FFF2-40B4-BE49-F238E27FC236}">
                <a16:creationId xmlns:a16="http://schemas.microsoft.com/office/drawing/2014/main" id="{2F5A7A9D-5385-4492-9E41-C01C8B14D0A2}"/>
              </a:ext>
            </a:extLst>
          </p:cNvPr>
          <p:cNvSpPr txBox="1"/>
          <p:nvPr/>
        </p:nvSpPr>
        <p:spPr>
          <a:xfrm>
            <a:off x="6445376" y="342900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3" name="Chart 12">
            <a:extLst>
              <a:ext uri="{FF2B5EF4-FFF2-40B4-BE49-F238E27FC236}">
                <a16:creationId xmlns:a16="http://schemas.microsoft.com/office/drawing/2014/main" id="{FDC11117-2145-4DF4-B633-682A3697C111}"/>
              </a:ext>
            </a:extLst>
          </p:cNvPr>
          <p:cNvGraphicFramePr/>
          <p:nvPr>
            <p:extLst>
              <p:ext uri="{D42A27DB-BD31-4B8C-83A1-F6EECF244321}">
                <p14:modId xmlns:p14="http://schemas.microsoft.com/office/powerpoint/2010/main" val="1691397470"/>
              </p:ext>
            </p:extLst>
          </p:nvPr>
        </p:nvGraphicFramePr>
        <p:xfrm>
          <a:off x="198120" y="4454399"/>
          <a:ext cx="4934562" cy="2092144"/>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862BEED9-E15D-4042-B4D9-AA2CDC5206BD}"/>
              </a:ext>
            </a:extLst>
          </p:cNvPr>
          <p:cNvSpPr txBox="1"/>
          <p:nvPr/>
        </p:nvSpPr>
        <p:spPr>
          <a:xfrm>
            <a:off x="214086" y="3939370"/>
            <a:ext cx="4139976" cy="292068"/>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en-IN" sz="10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outh-East Asia</a:t>
            </a:r>
            <a:r>
              <a:rPr kumimoji="0" lang="en-US" sz="10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IN" sz="10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rop Protection Sales (%), 2020</a:t>
            </a:r>
          </a:p>
        </p:txBody>
      </p:sp>
      <p:sp>
        <p:nvSpPr>
          <p:cNvPr id="21" name="TextBox 20">
            <a:extLst>
              <a:ext uri="{FF2B5EF4-FFF2-40B4-BE49-F238E27FC236}">
                <a16:creationId xmlns:a16="http://schemas.microsoft.com/office/drawing/2014/main" id="{D359190B-D156-4EAE-ADC8-4617B64DF7FE}"/>
              </a:ext>
            </a:extLst>
          </p:cNvPr>
          <p:cNvSpPr txBox="1"/>
          <p:nvPr/>
        </p:nvSpPr>
        <p:spPr>
          <a:xfrm>
            <a:off x="2754646" y="6483626"/>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20" name="Chart 19">
            <a:extLst>
              <a:ext uri="{FF2B5EF4-FFF2-40B4-BE49-F238E27FC236}">
                <a16:creationId xmlns:a16="http://schemas.microsoft.com/office/drawing/2014/main" id="{9F8FB8D0-58BB-4554-A2D5-9B7DE66D6EEA}"/>
              </a:ext>
            </a:extLst>
          </p:cNvPr>
          <p:cNvGraphicFramePr/>
          <p:nvPr>
            <p:extLst>
              <p:ext uri="{D42A27DB-BD31-4B8C-83A1-F6EECF244321}">
                <p14:modId xmlns:p14="http://schemas.microsoft.com/office/powerpoint/2010/main" val="3653159077"/>
              </p:ext>
            </p:extLst>
          </p:nvPr>
        </p:nvGraphicFramePr>
        <p:xfrm>
          <a:off x="5058519" y="4463833"/>
          <a:ext cx="4040208" cy="2025914"/>
        </p:xfrm>
        <a:graphic>
          <a:graphicData uri="http://schemas.openxmlformats.org/drawingml/2006/chart">
            <c:chart xmlns:c="http://schemas.openxmlformats.org/drawingml/2006/chart" xmlns:r="http://schemas.openxmlformats.org/officeDocument/2006/relationships" r:id="rId4"/>
          </a:graphicData>
        </a:graphic>
      </p:graphicFrame>
      <p:sp>
        <p:nvSpPr>
          <p:cNvPr id="22" name="TextBox 21">
            <a:extLst>
              <a:ext uri="{FF2B5EF4-FFF2-40B4-BE49-F238E27FC236}">
                <a16:creationId xmlns:a16="http://schemas.microsoft.com/office/drawing/2014/main" id="{A18B96FA-1CB4-4B08-B9BA-D1383CE3A9D7}"/>
              </a:ext>
            </a:extLst>
          </p:cNvPr>
          <p:cNvSpPr txBox="1"/>
          <p:nvPr/>
        </p:nvSpPr>
        <p:spPr>
          <a:xfrm>
            <a:off x="5160666" y="3923360"/>
            <a:ext cx="4270912" cy="292068"/>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en-IN" sz="10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outh-East Asia</a:t>
            </a:r>
            <a:r>
              <a:rPr kumimoji="0" lang="en-US" sz="10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GDP Growth Rate</a:t>
            </a:r>
            <a:r>
              <a:rPr kumimoji="0" lang="en-IN" sz="10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 year) </a:t>
            </a:r>
          </a:p>
        </p:txBody>
      </p:sp>
      <p:sp>
        <p:nvSpPr>
          <p:cNvPr id="23" name="TextBox 22">
            <a:extLst>
              <a:ext uri="{FF2B5EF4-FFF2-40B4-BE49-F238E27FC236}">
                <a16:creationId xmlns:a16="http://schemas.microsoft.com/office/drawing/2014/main" id="{90633666-4990-45D7-8879-2B3CD62AC45B}"/>
              </a:ext>
            </a:extLst>
          </p:cNvPr>
          <p:cNvSpPr txBox="1"/>
          <p:nvPr/>
        </p:nvSpPr>
        <p:spPr>
          <a:xfrm>
            <a:off x="6618605" y="6455059"/>
            <a:ext cx="2170145"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sian Development Bank </a:t>
            </a:r>
          </a:p>
        </p:txBody>
      </p:sp>
    </p:spTree>
    <p:extLst>
      <p:ext uri="{BB962C8B-B14F-4D97-AF65-F5344CB8AC3E}">
        <p14:creationId xmlns:p14="http://schemas.microsoft.com/office/powerpoint/2010/main" val="37377176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hare &amp; Size, By Type  </a:t>
            </a:r>
          </a:p>
        </p:txBody>
      </p:sp>
      <p:graphicFrame>
        <p:nvGraphicFramePr>
          <p:cNvPr id="4" name="Chart 3">
            <a:extLst>
              <a:ext uri="{FF2B5EF4-FFF2-40B4-BE49-F238E27FC236}">
                <a16:creationId xmlns:a16="http://schemas.microsoft.com/office/drawing/2014/main" id="{85BDBC80-6A02-4FE4-AFDC-2E1A4DD91455}"/>
              </a:ext>
            </a:extLst>
          </p:cNvPr>
          <p:cNvGraphicFramePr/>
          <p:nvPr/>
        </p:nvGraphicFramePr>
        <p:xfrm>
          <a:off x="291548" y="1264480"/>
          <a:ext cx="8560904" cy="2727250"/>
        </p:xfrm>
        <a:graphic>
          <a:graphicData uri="http://schemas.openxmlformats.org/drawingml/2006/chart">
            <c:chart xmlns:c="http://schemas.openxmlformats.org/drawingml/2006/chart" xmlns:r="http://schemas.openxmlformats.org/officeDocument/2006/relationships" r:id="rId2"/>
          </a:graphicData>
        </a:graphic>
      </p:graphicFrame>
      <p:sp>
        <p:nvSpPr>
          <p:cNvPr id="28" name="TextBox 27">
            <a:extLst>
              <a:ext uri="{FF2B5EF4-FFF2-40B4-BE49-F238E27FC236}">
                <a16:creationId xmlns:a16="http://schemas.microsoft.com/office/drawing/2014/main" id="{DDF0E565-D0AB-44F0-A5D8-D1B068022189}"/>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Type</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USD Million), 2016-2026F</a:t>
            </a:r>
          </a:p>
        </p:txBody>
      </p:sp>
      <p:sp>
        <p:nvSpPr>
          <p:cNvPr id="8" name="TextBox 7">
            <a:extLst>
              <a:ext uri="{FF2B5EF4-FFF2-40B4-BE49-F238E27FC236}">
                <a16:creationId xmlns:a16="http://schemas.microsoft.com/office/drawing/2014/main" id="{377E04C2-64EC-4071-91D2-2DF2EB9F00BB}"/>
              </a:ext>
            </a:extLst>
          </p:cNvPr>
          <p:cNvSpPr txBox="1"/>
          <p:nvPr/>
        </p:nvSpPr>
        <p:spPr>
          <a:xfrm>
            <a:off x="291548" y="4373217"/>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1: South-East Asia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Valu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USD Million</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16-2026F</a:t>
            </a:r>
          </a:p>
        </p:txBody>
      </p:sp>
      <p:graphicFrame>
        <p:nvGraphicFramePr>
          <p:cNvPr id="2" name="Table 1">
            <a:extLst>
              <a:ext uri="{FF2B5EF4-FFF2-40B4-BE49-F238E27FC236}">
                <a16:creationId xmlns:a16="http://schemas.microsoft.com/office/drawing/2014/main" id="{E3E26B77-2059-42D7-A752-C180EB481B67}"/>
              </a:ext>
            </a:extLst>
          </p:cNvPr>
          <p:cNvGraphicFramePr>
            <a:graphicFrameLocks noGrp="1"/>
          </p:cNvGraphicFramePr>
          <p:nvPr/>
        </p:nvGraphicFramePr>
        <p:xfrm>
          <a:off x="357849" y="4929808"/>
          <a:ext cx="8362084" cy="888306"/>
        </p:xfrm>
        <a:graphic>
          <a:graphicData uri="http://schemas.openxmlformats.org/drawingml/2006/table">
            <a:tbl>
              <a:tblPr>
                <a:tableStyleId>{8EC20E35-A176-4012-BC5E-935CFFF8708E}</a:tableStyleId>
              </a:tblPr>
              <a:tblGrid>
                <a:gridCol w="1764152">
                  <a:extLst>
                    <a:ext uri="{9D8B030D-6E8A-4147-A177-3AD203B41FA5}">
                      <a16:colId xmlns:a16="http://schemas.microsoft.com/office/drawing/2014/main" val="2017731148"/>
                    </a:ext>
                  </a:extLst>
                </a:gridCol>
                <a:gridCol w="599812">
                  <a:extLst>
                    <a:ext uri="{9D8B030D-6E8A-4147-A177-3AD203B41FA5}">
                      <a16:colId xmlns:a16="http://schemas.microsoft.com/office/drawing/2014/main" val="2667391389"/>
                    </a:ext>
                  </a:extLst>
                </a:gridCol>
                <a:gridCol w="599812">
                  <a:extLst>
                    <a:ext uri="{9D8B030D-6E8A-4147-A177-3AD203B41FA5}">
                      <a16:colId xmlns:a16="http://schemas.microsoft.com/office/drawing/2014/main" val="3750729452"/>
                    </a:ext>
                  </a:extLst>
                </a:gridCol>
                <a:gridCol w="599812">
                  <a:extLst>
                    <a:ext uri="{9D8B030D-6E8A-4147-A177-3AD203B41FA5}">
                      <a16:colId xmlns:a16="http://schemas.microsoft.com/office/drawing/2014/main" val="425130346"/>
                    </a:ext>
                  </a:extLst>
                </a:gridCol>
                <a:gridCol w="599812">
                  <a:extLst>
                    <a:ext uri="{9D8B030D-6E8A-4147-A177-3AD203B41FA5}">
                      <a16:colId xmlns:a16="http://schemas.microsoft.com/office/drawing/2014/main" val="1091415442"/>
                    </a:ext>
                  </a:extLst>
                </a:gridCol>
                <a:gridCol w="599812">
                  <a:extLst>
                    <a:ext uri="{9D8B030D-6E8A-4147-A177-3AD203B41FA5}">
                      <a16:colId xmlns:a16="http://schemas.microsoft.com/office/drawing/2014/main" val="2869642291"/>
                    </a:ext>
                  </a:extLst>
                </a:gridCol>
                <a:gridCol w="599812">
                  <a:extLst>
                    <a:ext uri="{9D8B030D-6E8A-4147-A177-3AD203B41FA5}">
                      <a16:colId xmlns:a16="http://schemas.microsoft.com/office/drawing/2014/main" val="1492483844"/>
                    </a:ext>
                  </a:extLst>
                </a:gridCol>
                <a:gridCol w="599812">
                  <a:extLst>
                    <a:ext uri="{9D8B030D-6E8A-4147-A177-3AD203B41FA5}">
                      <a16:colId xmlns:a16="http://schemas.microsoft.com/office/drawing/2014/main" val="536896032"/>
                    </a:ext>
                  </a:extLst>
                </a:gridCol>
                <a:gridCol w="599812">
                  <a:extLst>
                    <a:ext uri="{9D8B030D-6E8A-4147-A177-3AD203B41FA5}">
                      <a16:colId xmlns:a16="http://schemas.microsoft.com/office/drawing/2014/main" val="2293403703"/>
                    </a:ext>
                  </a:extLst>
                </a:gridCol>
                <a:gridCol w="599812">
                  <a:extLst>
                    <a:ext uri="{9D8B030D-6E8A-4147-A177-3AD203B41FA5}">
                      <a16:colId xmlns:a16="http://schemas.microsoft.com/office/drawing/2014/main" val="2748373219"/>
                    </a:ext>
                  </a:extLst>
                </a:gridCol>
                <a:gridCol w="599812">
                  <a:extLst>
                    <a:ext uri="{9D8B030D-6E8A-4147-A177-3AD203B41FA5}">
                      <a16:colId xmlns:a16="http://schemas.microsoft.com/office/drawing/2014/main" val="316596246"/>
                    </a:ext>
                  </a:extLst>
                </a:gridCol>
                <a:gridCol w="599812">
                  <a:extLst>
                    <a:ext uri="{9D8B030D-6E8A-4147-A177-3AD203B41FA5}">
                      <a16:colId xmlns:a16="http://schemas.microsoft.com/office/drawing/2014/main" val="2656604351"/>
                    </a:ext>
                  </a:extLst>
                </a:gridCol>
              </a:tblGrid>
              <a:tr h="296102">
                <a:tc>
                  <a:txBody>
                    <a:bodyPr/>
                    <a:lstStyle/>
                    <a:p>
                      <a:pPr algn="l" fontAlgn="b"/>
                      <a:r>
                        <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Type </a:t>
                      </a: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4277395723"/>
                  </a:ext>
                </a:extLst>
              </a:tr>
              <a:tr h="296102">
                <a:tc>
                  <a:txBody>
                    <a:bodyPr/>
                    <a:lstStyle/>
                    <a:p>
                      <a:pPr algn="l" fontAlgn="b"/>
                      <a:r>
                        <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Hydrous</a:t>
                      </a: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74.25</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79.00</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84.49</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89.69</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85.14</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94.74</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94.75</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00.25</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06.22</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12.69</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19.61</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3614340383"/>
                  </a:ext>
                </a:extLst>
              </a:tr>
              <a:tr h="296102">
                <a:tc>
                  <a:txBody>
                    <a:bodyPr/>
                    <a:lstStyle/>
                    <a:p>
                      <a:pPr algn="l" fontAlgn="b"/>
                      <a:r>
                        <a:rPr lang="en-IN" sz="1000" b="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Anhydrous</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a:solidFill>
                            <a:srgbClr val="000000"/>
                          </a:solidFill>
                          <a:effectLst/>
                          <a:latin typeface="Cambria" panose="02040503050406030204" pitchFamily="18" charset="0"/>
                        </a:rPr>
                        <a:t>16.41</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7.37</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18.56</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19.5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8.44</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19.24</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20.27</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21.33</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2.4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3.70</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5.04</a:t>
                      </a:r>
                    </a:p>
                  </a:txBody>
                  <a:tcPr marL="9525" marR="9525" marT="9525" marB="0" anchor="b"/>
                </a:tc>
                <a:extLst>
                  <a:ext uri="{0D108BD9-81ED-4DB2-BD59-A6C34878D82A}">
                    <a16:rowId xmlns:a16="http://schemas.microsoft.com/office/drawing/2014/main" val="3954528466"/>
                  </a:ext>
                </a:extLst>
              </a:tr>
            </a:tbl>
          </a:graphicData>
        </a:graphic>
      </p:graphicFrame>
      <p:sp>
        <p:nvSpPr>
          <p:cNvPr id="10" name="TextBox 9">
            <a:extLst>
              <a:ext uri="{FF2B5EF4-FFF2-40B4-BE49-F238E27FC236}">
                <a16:creationId xmlns:a16="http://schemas.microsoft.com/office/drawing/2014/main" id="{9108363F-647E-4D57-9EB9-E3426B3CE745}"/>
              </a:ext>
            </a:extLst>
          </p:cNvPr>
          <p:cNvSpPr txBox="1"/>
          <p:nvPr/>
        </p:nvSpPr>
        <p:spPr>
          <a:xfrm>
            <a:off x="6527069" y="4000972"/>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1" name="TextBox 10">
            <a:extLst>
              <a:ext uri="{FF2B5EF4-FFF2-40B4-BE49-F238E27FC236}">
                <a16:creationId xmlns:a16="http://schemas.microsoft.com/office/drawing/2014/main" id="{61F2B0EA-93D6-4B0C-91C9-C825AD948931}"/>
              </a:ext>
            </a:extLst>
          </p:cNvPr>
          <p:cNvSpPr txBox="1"/>
          <p:nvPr/>
        </p:nvSpPr>
        <p:spPr>
          <a:xfrm>
            <a:off x="6646384" y="5867193"/>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7781067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hare &amp; Size, By </a:t>
            </a:r>
            <a:r>
              <a:rPr lang="en-IN" sz="1400" b="1" dirty="0">
                <a:solidFill>
                  <a:prstClr val="black"/>
                </a:solidFill>
                <a:latin typeface="Arial" panose="020B0604020202020204" pitchFamily="34" charset="0"/>
                <a:cs typeface="Arial" panose="020B0604020202020204" pitchFamily="34" charset="0"/>
              </a:rPr>
              <a:t>Grad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a:t>
            </a:r>
          </a:p>
        </p:txBody>
      </p:sp>
      <p:graphicFrame>
        <p:nvGraphicFramePr>
          <p:cNvPr id="4" name="Chart 3">
            <a:extLst>
              <a:ext uri="{FF2B5EF4-FFF2-40B4-BE49-F238E27FC236}">
                <a16:creationId xmlns:a16="http://schemas.microsoft.com/office/drawing/2014/main" id="{85BDBC80-6A02-4FE4-AFDC-2E1A4DD91455}"/>
              </a:ext>
            </a:extLst>
          </p:cNvPr>
          <p:cNvGraphicFramePr/>
          <p:nvPr/>
        </p:nvGraphicFramePr>
        <p:xfrm>
          <a:off x="291548" y="1264480"/>
          <a:ext cx="8560904" cy="2727250"/>
        </p:xfrm>
        <a:graphic>
          <a:graphicData uri="http://schemas.openxmlformats.org/drawingml/2006/chart">
            <c:chart xmlns:c="http://schemas.openxmlformats.org/drawingml/2006/chart" xmlns:r="http://schemas.openxmlformats.org/officeDocument/2006/relationships" r:id="rId2"/>
          </a:graphicData>
        </a:graphic>
      </p:graphicFrame>
      <p:sp>
        <p:nvSpPr>
          <p:cNvPr id="28" name="TextBox 27">
            <a:extLst>
              <a:ext uri="{FF2B5EF4-FFF2-40B4-BE49-F238E27FC236}">
                <a16:creationId xmlns:a16="http://schemas.microsoft.com/office/drawing/2014/main" id="{DDF0E565-D0AB-44F0-A5D8-D1B068022189}"/>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4: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Grade</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USD Million), 2016-2026F</a:t>
            </a:r>
          </a:p>
        </p:txBody>
      </p:sp>
      <p:sp>
        <p:nvSpPr>
          <p:cNvPr id="8" name="TextBox 7">
            <a:extLst>
              <a:ext uri="{FF2B5EF4-FFF2-40B4-BE49-F238E27FC236}">
                <a16:creationId xmlns:a16="http://schemas.microsoft.com/office/drawing/2014/main" id="{377E04C2-64EC-4071-91D2-2DF2EB9F00BB}"/>
              </a:ext>
            </a:extLst>
          </p:cNvPr>
          <p:cNvSpPr txBox="1"/>
          <p:nvPr/>
        </p:nvSpPr>
        <p:spPr>
          <a:xfrm>
            <a:off x="291548" y="4373217"/>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2: South-East Asia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Valu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USD Million</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16-2026F</a:t>
            </a:r>
          </a:p>
        </p:txBody>
      </p:sp>
      <p:graphicFrame>
        <p:nvGraphicFramePr>
          <p:cNvPr id="2" name="Table 1">
            <a:extLst>
              <a:ext uri="{FF2B5EF4-FFF2-40B4-BE49-F238E27FC236}">
                <a16:creationId xmlns:a16="http://schemas.microsoft.com/office/drawing/2014/main" id="{E3E26B77-2059-42D7-A752-C180EB481B67}"/>
              </a:ext>
            </a:extLst>
          </p:cNvPr>
          <p:cNvGraphicFramePr>
            <a:graphicFrameLocks noGrp="1"/>
          </p:cNvGraphicFramePr>
          <p:nvPr>
            <p:extLst>
              <p:ext uri="{D42A27DB-BD31-4B8C-83A1-F6EECF244321}">
                <p14:modId xmlns:p14="http://schemas.microsoft.com/office/powerpoint/2010/main" val="3909585015"/>
              </p:ext>
            </p:extLst>
          </p:nvPr>
        </p:nvGraphicFramePr>
        <p:xfrm>
          <a:off x="371102" y="4784034"/>
          <a:ext cx="8362084" cy="888306"/>
        </p:xfrm>
        <a:graphic>
          <a:graphicData uri="http://schemas.openxmlformats.org/drawingml/2006/table">
            <a:tbl>
              <a:tblPr>
                <a:tableStyleId>{8EC20E35-A176-4012-BC5E-935CFFF8708E}</a:tableStyleId>
              </a:tblPr>
              <a:tblGrid>
                <a:gridCol w="1764152">
                  <a:extLst>
                    <a:ext uri="{9D8B030D-6E8A-4147-A177-3AD203B41FA5}">
                      <a16:colId xmlns:a16="http://schemas.microsoft.com/office/drawing/2014/main" val="2017731148"/>
                    </a:ext>
                  </a:extLst>
                </a:gridCol>
                <a:gridCol w="599812">
                  <a:extLst>
                    <a:ext uri="{9D8B030D-6E8A-4147-A177-3AD203B41FA5}">
                      <a16:colId xmlns:a16="http://schemas.microsoft.com/office/drawing/2014/main" val="2667391389"/>
                    </a:ext>
                  </a:extLst>
                </a:gridCol>
                <a:gridCol w="599812">
                  <a:extLst>
                    <a:ext uri="{9D8B030D-6E8A-4147-A177-3AD203B41FA5}">
                      <a16:colId xmlns:a16="http://schemas.microsoft.com/office/drawing/2014/main" val="3750729452"/>
                    </a:ext>
                  </a:extLst>
                </a:gridCol>
                <a:gridCol w="599812">
                  <a:extLst>
                    <a:ext uri="{9D8B030D-6E8A-4147-A177-3AD203B41FA5}">
                      <a16:colId xmlns:a16="http://schemas.microsoft.com/office/drawing/2014/main" val="425130346"/>
                    </a:ext>
                  </a:extLst>
                </a:gridCol>
                <a:gridCol w="599812">
                  <a:extLst>
                    <a:ext uri="{9D8B030D-6E8A-4147-A177-3AD203B41FA5}">
                      <a16:colId xmlns:a16="http://schemas.microsoft.com/office/drawing/2014/main" val="1091415442"/>
                    </a:ext>
                  </a:extLst>
                </a:gridCol>
                <a:gridCol w="599812">
                  <a:extLst>
                    <a:ext uri="{9D8B030D-6E8A-4147-A177-3AD203B41FA5}">
                      <a16:colId xmlns:a16="http://schemas.microsoft.com/office/drawing/2014/main" val="2869642291"/>
                    </a:ext>
                  </a:extLst>
                </a:gridCol>
                <a:gridCol w="599812">
                  <a:extLst>
                    <a:ext uri="{9D8B030D-6E8A-4147-A177-3AD203B41FA5}">
                      <a16:colId xmlns:a16="http://schemas.microsoft.com/office/drawing/2014/main" val="1492483844"/>
                    </a:ext>
                  </a:extLst>
                </a:gridCol>
                <a:gridCol w="599812">
                  <a:extLst>
                    <a:ext uri="{9D8B030D-6E8A-4147-A177-3AD203B41FA5}">
                      <a16:colId xmlns:a16="http://schemas.microsoft.com/office/drawing/2014/main" val="536896032"/>
                    </a:ext>
                  </a:extLst>
                </a:gridCol>
                <a:gridCol w="599812">
                  <a:extLst>
                    <a:ext uri="{9D8B030D-6E8A-4147-A177-3AD203B41FA5}">
                      <a16:colId xmlns:a16="http://schemas.microsoft.com/office/drawing/2014/main" val="2293403703"/>
                    </a:ext>
                  </a:extLst>
                </a:gridCol>
                <a:gridCol w="599812">
                  <a:extLst>
                    <a:ext uri="{9D8B030D-6E8A-4147-A177-3AD203B41FA5}">
                      <a16:colId xmlns:a16="http://schemas.microsoft.com/office/drawing/2014/main" val="2748373219"/>
                    </a:ext>
                  </a:extLst>
                </a:gridCol>
                <a:gridCol w="599812">
                  <a:extLst>
                    <a:ext uri="{9D8B030D-6E8A-4147-A177-3AD203B41FA5}">
                      <a16:colId xmlns:a16="http://schemas.microsoft.com/office/drawing/2014/main" val="316596246"/>
                    </a:ext>
                  </a:extLst>
                </a:gridCol>
                <a:gridCol w="599812">
                  <a:extLst>
                    <a:ext uri="{9D8B030D-6E8A-4147-A177-3AD203B41FA5}">
                      <a16:colId xmlns:a16="http://schemas.microsoft.com/office/drawing/2014/main" val="2656604351"/>
                    </a:ext>
                  </a:extLst>
                </a:gridCol>
              </a:tblGrid>
              <a:tr h="296102">
                <a:tc>
                  <a:txBody>
                    <a:bodyPr/>
                    <a:lstStyle/>
                    <a:p>
                      <a:pPr algn="l" fontAlgn="b"/>
                      <a:r>
                        <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Grade </a:t>
                      </a: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4277395723"/>
                  </a:ext>
                </a:extLst>
              </a:tr>
              <a:tr h="296102">
                <a:tc>
                  <a:txBody>
                    <a:bodyPr/>
                    <a:lstStyle/>
                    <a:p>
                      <a:pPr algn="l" fontAlgn="b"/>
                      <a:r>
                        <a:rPr lang="en-IN" sz="1000" b="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dirty="0">
                          <a:solidFill>
                            <a:srgbClr val="000000"/>
                          </a:solidFill>
                          <a:effectLst/>
                          <a:latin typeface="Cambria" panose="02040503050406030204" pitchFamily="18" charset="0"/>
                        </a:rPr>
                        <a:t>83.73</a:t>
                      </a:r>
                    </a:p>
                  </a:txBody>
                  <a:tcPr marL="9525" marR="9525" marT="9525" marB="0" anchor="ctr"/>
                </a:tc>
                <a:tc>
                  <a:txBody>
                    <a:bodyPr/>
                    <a:lstStyle/>
                    <a:p>
                      <a:pPr algn="ctr" fontAlgn="b"/>
                      <a:r>
                        <a:rPr lang="en-IN" sz="1100" b="0" i="0" u="none" strike="noStrike" dirty="0">
                          <a:solidFill>
                            <a:srgbClr val="000000"/>
                          </a:solidFill>
                          <a:effectLst/>
                          <a:latin typeface="Cambria" panose="02040503050406030204" pitchFamily="18" charset="0"/>
                        </a:rPr>
                        <a:t>91.17</a:t>
                      </a:r>
                    </a:p>
                  </a:txBody>
                  <a:tcPr marL="9525" marR="9525" marT="9525" marB="0" anchor="ctr"/>
                </a:tc>
                <a:tc>
                  <a:txBody>
                    <a:bodyPr/>
                    <a:lstStyle/>
                    <a:p>
                      <a:pPr algn="ctr" fontAlgn="b"/>
                      <a:r>
                        <a:rPr lang="en-IN" sz="1100" b="0" i="0" u="none" strike="noStrike" dirty="0">
                          <a:solidFill>
                            <a:srgbClr val="000000"/>
                          </a:solidFill>
                          <a:effectLst/>
                          <a:latin typeface="Cambria" panose="02040503050406030204" pitchFamily="18" charset="0"/>
                        </a:rPr>
                        <a:t>96.70</a:t>
                      </a:r>
                    </a:p>
                  </a:txBody>
                  <a:tcPr marL="9525" marR="9525" marT="9525" marB="0" anchor="ctr"/>
                </a:tc>
                <a:tc>
                  <a:txBody>
                    <a:bodyPr/>
                    <a:lstStyle/>
                    <a:p>
                      <a:pPr algn="ctr" fontAlgn="b"/>
                      <a:r>
                        <a:rPr lang="en-IN" sz="1100" b="0" i="0" u="none" strike="noStrike" dirty="0">
                          <a:solidFill>
                            <a:srgbClr val="000000"/>
                          </a:solidFill>
                          <a:effectLst/>
                          <a:latin typeface="Cambria" panose="02040503050406030204" pitchFamily="18" charset="0"/>
                        </a:rPr>
                        <a:t>102.27</a:t>
                      </a:r>
                    </a:p>
                  </a:txBody>
                  <a:tcPr marL="9525" marR="9525" marT="9525" marB="0" anchor="ctr"/>
                </a:tc>
                <a:tc>
                  <a:txBody>
                    <a:bodyPr/>
                    <a:lstStyle/>
                    <a:p>
                      <a:pPr algn="ctr" fontAlgn="b"/>
                      <a:r>
                        <a:rPr lang="en-IN" sz="1100" b="0" i="0" u="none" strike="noStrike" dirty="0">
                          <a:solidFill>
                            <a:srgbClr val="000000"/>
                          </a:solidFill>
                          <a:effectLst/>
                          <a:latin typeface="Cambria" panose="02040503050406030204" pitchFamily="18" charset="0"/>
                        </a:rPr>
                        <a:t>95.68</a:t>
                      </a:r>
                    </a:p>
                  </a:txBody>
                  <a:tcPr marL="9525" marR="9525" marT="9525" marB="0" anchor="ctr"/>
                </a:tc>
                <a:tc>
                  <a:txBody>
                    <a:bodyPr/>
                    <a:lstStyle/>
                    <a:p>
                      <a:pPr algn="ctr" fontAlgn="b"/>
                      <a:r>
                        <a:rPr lang="en-IN" sz="1100" b="0" i="0" u="none" strike="noStrike" dirty="0">
                          <a:solidFill>
                            <a:srgbClr val="000000"/>
                          </a:solidFill>
                          <a:effectLst/>
                          <a:latin typeface="Cambria" panose="02040503050406030204" pitchFamily="18" charset="0"/>
                        </a:rPr>
                        <a:t>100.63</a:t>
                      </a:r>
                    </a:p>
                  </a:txBody>
                  <a:tcPr marL="9525" marR="9525" marT="9525" marB="0" anchor="ctr"/>
                </a:tc>
                <a:tc>
                  <a:txBody>
                    <a:bodyPr/>
                    <a:lstStyle/>
                    <a:p>
                      <a:pPr algn="ctr" fontAlgn="b"/>
                      <a:r>
                        <a:rPr lang="en-IN" sz="1100" b="0" i="0" u="none" strike="noStrike">
                          <a:solidFill>
                            <a:srgbClr val="000000"/>
                          </a:solidFill>
                          <a:effectLst/>
                          <a:latin typeface="Cambria" panose="02040503050406030204" pitchFamily="18" charset="0"/>
                        </a:rPr>
                        <a:t>106.71</a:t>
                      </a:r>
                    </a:p>
                  </a:txBody>
                  <a:tcPr marL="9525" marR="9525" marT="9525" marB="0" anchor="ctr"/>
                </a:tc>
                <a:tc>
                  <a:txBody>
                    <a:bodyPr/>
                    <a:lstStyle/>
                    <a:p>
                      <a:pPr algn="ctr" fontAlgn="b"/>
                      <a:r>
                        <a:rPr lang="en-IN" sz="1100" b="0" i="0" u="none" strike="noStrike" dirty="0">
                          <a:solidFill>
                            <a:srgbClr val="000000"/>
                          </a:solidFill>
                          <a:effectLst/>
                          <a:latin typeface="Cambria" panose="02040503050406030204" pitchFamily="18" charset="0"/>
                        </a:rPr>
                        <a:t>113.01</a:t>
                      </a:r>
                    </a:p>
                  </a:txBody>
                  <a:tcPr marL="9525" marR="9525" marT="9525" marB="0" anchor="ctr"/>
                </a:tc>
                <a:tc>
                  <a:txBody>
                    <a:bodyPr/>
                    <a:lstStyle/>
                    <a:p>
                      <a:pPr algn="ctr" fontAlgn="b"/>
                      <a:r>
                        <a:rPr lang="en-IN" sz="1100" b="0" i="0" u="none" strike="noStrike" dirty="0">
                          <a:solidFill>
                            <a:srgbClr val="000000"/>
                          </a:solidFill>
                          <a:effectLst/>
                          <a:latin typeface="Cambria" panose="02040503050406030204" pitchFamily="18" charset="0"/>
                        </a:rPr>
                        <a:t>119.80</a:t>
                      </a:r>
                    </a:p>
                  </a:txBody>
                  <a:tcPr marL="9525" marR="9525" marT="9525" marB="0" anchor="ctr"/>
                </a:tc>
                <a:tc>
                  <a:txBody>
                    <a:bodyPr/>
                    <a:lstStyle/>
                    <a:p>
                      <a:pPr algn="ctr" fontAlgn="b"/>
                      <a:r>
                        <a:rPr lang="en-IN" sz="1100" b="0" i="0" u="none" strike="noStrike">
                          <a:solidFill>
                            <a:srgbClr val="000000"/>
                          </a:solidFill>
                          <a:effectLst/>
                          <a:latin typeface="Cambria" panose="02040503050406030204" pitchFamily="18" charset="0"/>
                        </a:rPr>
                        <a:t>127.05</a:t>
                      </a:r>
                    </a:p>
                  </a:txBody>
                  <a:tcPr marL="9525" marR="9525" marT="9525" marB="0" anchor="ctr"/>
                </a:tc>
                <a:tc>
                  <a:txBody>
                    <a:bodyPr/>
                    <a:lstStyle/>
                    <a:p>
                      <a:pPr algn="ctr" fontAlgn="b"/>
                      <a:r>
                        <a:rPr lang="en-IN" sz="1100" b="0" i="0" u="none" strike="noStrike" dirty="0">
                          <a:solidFill>
                            <a:srgbClr val="000000"/>
                          </a:solidFill>
                          <a:effectLst/>
                          <a:latin typeface="Cambria" panose="02040503050406030204" pitchFamily="18" charset="0"/>
                        </a:rPr>
                        <a:t>134.99</a:t>
                      </a:r>
                    </a:p>
                  </a:txBody>
                  <a:tcPr marL="9525" marR="9525" marT="9525" marB="0" anchor="ctr"/>
                </a:tc>
                <a:extLst>
                  <a:ext uri="{0D108BD9-81ED-4DB2-BD59-A6C34878D82A}">
                    <a16:rowId xmlns:a16="http://schemas.microsoft.com/office/drawing/2014/main" val="3614340383"/>
                  </a:ext>
                </a:extLst>
              </a:tr>
              <a:tr h="296102">
                <a:tc>
                  <a:txBody>
                    <a:bodyPr/>
                    <a:lstStyle/>
                    <a:p>
                      <a:pPr algn="l" fontAlgn="b"/>
                      <a:r>
                        <a:rPr lang="en-US"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Reagent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a:solidFill>
                            <a:srgbClr val="000000"/>
                          </a:solidFill>
                          <a:effectLst/>
                          <a:latin typeface="Cambria" panose="02040503050406030204" pitchFamily="18" charset="0"/>
                        </a:rPr>
                        <a:t>6.94</a:t>
                      </a:r>
                    </a:p>
                  </a:txBody>
                  <a:tcPr marL="9525" marR="9525" marT="9525" marB="0" anchor="ctr"/>
                </a:tc>
                <a:tc>
                  <a:txBody>
                    <a:bodyPr/>
                    <a:lstStyle/>
                    <a:p>
                      <a:pPr algn="ctr" fontAlgn="b"/>
                      <a:r>
                        <a:rPr lang="en-IN" sz="1100" b="0" i="0" u="none" strike="noStrike">
                          <a:solidFill>
                            <a:srgbClr val="000000"/>
                          </a:solidFill>
                          <a:effectLst/>
                          <a:latin typeface="Cambria" panose="02040503050406030204" pitchFamily="18" charset="0"/>
                        </a:rPr>
                        <a:t>5.20</a:t>
                      </a:r>
                    </a:p>
                  </a:txBody>
                  <a:tcPr marL="9525" marR="9525" marT="9525" marB="0" anchor="ctr"/>
                </a:tc>
                <a:tc>
                  <a:txBody>
                    <a:bodyPr/>
                    <a:lstStyle/>
                    <a:p>
                      <a:pPr algn="ctr" fontAlgn="b"/>
                      <a:r>
                        <a:rPr lang="en-IN" sz="1100" b="0" i="0" u="none" strike="noStrike">
                          <a:solidFill>
                            <a:srgbClr val="000000"/>
                          </a:solidFill>
                          <a:effectLst/>
                          <a:latin typeface="Cambria" panose="02040503050406030204" pitchFamily="18" charset="0"/>
                        </a:rPr>
                        <a:t>6.34</a:t>
                      </a:r>
                    </a:p>
                  </a:txBody>
                  <a:tcPr marL="9525" marR="9525" marT="9525" marB="0" anchor="ctr"/>
                </a:tc>
                <a:tc>
                  <a:txBody>
                    <a:bodyPr/>
                    <a:lstStyle/>
                    <a:p>
                      <a:pPr algn="ctr" fontAlgn="b"/>
                      <a:r>
                        <a:rPr lang="en-IN" sz="1100" b="0" i="0" u="none" strike="noStrike">
                          <a:solidFill>
                            <a:srgbClr val="000000"/>
                          </a:solidFill>
                          <a:effectLst/>
                          <a:latin typeface="Cambria" panose="02040503050406030204" pitchFamily="18" charset="0"/>
                        </a:rPr>
                        <a:t>6.96</a:t>
                      </a:r>
                    </a:p>
                  </a:txBody>
                  <a:tcPr marL="9525" marR="9525" marT="9525" marB="0" anchor="ctr"/>
                </a:tc>
                <a:tc>
                  <a:txBody>
                    <a:bodyPr/>
                    <a:lstStyle/>
                    <a:p>
                      <a:pPr algn="ctr" fontAlgn="b"/>
                      <a:r>
                        <a:rPr lang="en-IN" sz="1100" b="0" i="0" u="none" strike="noStrike">
                          <a:solidFill>
                            <a:srgbClr val="000000"/>
                          </a:solidFill>
                          <a:effectLst/>
                          <a:latin typeface="Cambria" panose="02040503050406030204" pitchFamily="18" charset="0"/>
                        </a:rPr>
                        <a:t>7.90</a:t>
                      </a:r>
                    </a:p>
                  </a:txBody>
                  <a:tcPr marL="9525" marR="9525" marT="9525" marB="0" anchor="ctr"/>
                </a:tc>
                <a:tc>
                  <a:txBody>
                    <a:bodyPr/>
                    <a:lstStyle/>
                    <a:p>
                      <a:pPr algn="ctr" fontAlgn="b"/>
                      <a:r>
                        <a:rPr lang="en-IN" sz="1100" b="0" i="0" u="none" strike="noStrike">
                          <a:solidFill>
                            <a:srgbClr val="000000"/>
                          </a:solidFill>
                          <a:effectLst/>
                          <a:latin typeface="Cambria" panose="02040503050406030204" pitchFamily="18" charset="0"/>
                        </a:rPr>
                        <a:t>8.02</a:t>
                      </a:r>
                    </a:p>
                  </a:txBody>
                  <a:tcPr marL="9525" marR="9525" marT="9525" marB="0" anchor="ctr"/>
                </a:tc>
                <a:tc>
                  <a:txBody>
                    <a:bodyPr/>
                    <a:lstStyle/>
                    <a:p>
                      <a:pPr algn="ctr" fontAlgn="b"/>
                      <a:r>
                        <a:rPr lang="en-IN" sz="1100" b="0" i="0" u="none" strike="noStrike">
                          <a:solidFill>
                            <a:srgbClr val="000000"/>
                          </a:solidFill>
                          <a:effectLst/>
                          <a:latin typeface="Cambria" panose="02040503050406030204" pitchFamily="18" charset="0"/>
                        </a:rPr>
                        <a:t>8.31</a:t>
                      </a:r>
                    </a:p>
                  </a:txBody>
                  <a:tcPr marL="9525" marR="9525" marT="9525" marB="0" anchor="ctr"/>
                </a:tc>
                <a:tc>
                  <a:txBody>
                    <a:bodyPr/>
                    <a:lstStyle/>
                    <a:p>
                      <a:pPr algn="ctr" fontAlgn="b"/>
                      <a:r>
                        <a:rPr lang="en-IN" sz="1100" b="0" i="0" u="none" strike="noStrike">
                          <a:solidFill>
                            <a:srgbClr val="000000"/>
                          </a:solidFill>
                          <a:effectLst/>
                          <a:latin typeface="Cambria" panose="02040503050406030204" pitchFamily="18" charset="0"/>
                        </a:rPr>
                        <a:t>8.57</a:t>
                      </a:r>
                    </a:p>
                  </a:txBody>
                  <a:tcPr marL="9525" marR="9525" marT="9525" marB="0" anchor="ctr"/>
                </a:tc>
                <a:tc>
                  <a:txBody>
                    <a:bodyPr/>
                    <a:lstStyle/>
                    <a:p>
                      <a:pPr algn="ctr" fontAlgn="b"/>
                      <a:r>
                        <a:rPr lang="en-IN" sz="1100" b="0" i="0" u="none" strike="noStrike">
                          <a:solidFill>
                            <a:srgbClr val="000000"/>
                          </a:solidFill>
                          <a:effectLst/>
                          <a:latin typeface="Cambria" panose="02040503050406030204" pitchFamily="18" charset="0"/>
                        </a:rPr>
                        <a:t>8.87</a:t>
                      </a:r>
                    </a:p>
                  </a:txBody>
                  <a:tcPr marL="9525" marR="9525" marT="9525" marB="0" anchor="ctr"/>
                </a:tc>
                <a:tc>
                  <a:txBody>
                    <a:bodyPr/>
                    <a:lstStyle/>
                    <a:p>
                      <a:pPr algn="ctr" fontAlgn="b"/>
                      <a:r>
                        <a:rPr lang="en-IN" sz="1100" b="0" i="0" u="none" strike="noStrike" dirty="0">
                          <a:solidFill>
                            <a:srgbClr val="000000"/>
                          </a:solidFill>
                          <a:effectLst/>
                          <a:latin typeface="Cambria" panose="02040503050406030204" pitchFamily="18" charset="0"/>
                        </a:rPr>
                        <a:t>9.33</a:t>
                      </a:r>
                    </a:p>
                  </a:txBody>
                  <a:tcPr marL="9525" marR="9525" marT="9525" marB="0" anchor="ctr"/>
                </a:tc>
                <a:tc>
                  <a:txBody>
                    <a:bodyPr/>
                    <a:lstStyle/>
                    <a:p>
                      <a:pPr algn="ctr" fontAlgn="b"/>
                      <a:r>
                        <a:rPr lang="en-IN" sz="1100" b="0" i="0" u="none" strike="noStrike" dirty="0">
                          <a:solidFill>
                            <a:srgbClr val="000000"/>
                          </a:solidFill>
                          <a:effectLst/>
                          <a:latin typeface="Cambria" panose="02040503050406030204" pitchFamily="18" charset="0"/>
                        </a:rPr>
                        <a:t>9.66</a:t>
                      </a:r>
                    </a:p>
                  </a:txBody>
                  <a:tcPr marL="9525" marR="9525" marT="9525" marB="0" anchor="ctr"/>
                </a:tc>
                <a:extLst>
                  <a:ext uri="{0D108BD9-81ED-4DB2-BD59-A6C34878D82A}">
                    <a16:rowId xmlns:a16="http://schemas.microsoft.com/office/drawing/2014/main" val="3954528466"/>
                  </a:ext>
                </a:extLst>
              </a:tr>
            </a:tbl>
          </a:graphicData>
        </a:graphic>
      </p:graphicFrame>
      <p:sp>
        <p:nvSpPr>
          <p:cNvPr id="10" name="TextBox 9">
            <a:extLst>
              <a:ext uri="{FF2B5EF4-FFF2-40B4-BE49-F238E27FC236}">
                <a16:creationId xmlns:a16="http://schemas.microsoft.com/office/drawing/2014/main" id="{1A001F4D-F626-4A81-AB4A-75680DDD30D3}"/>
              </a:ext>
            </a:extLst>
          </p:cNvPr>
          <p:cNvSpPr txBox="1"/>
          <p:nvPr/>
        </p:nvSpPr>
        <p:spPr>
          <a:xfrm>
            <a:off x="6553022" y="3943383"/>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1" name="TextBox 10">
            <a:extLst>
              <a:ext uri="{FF2B5EF4-FFF2-40B4-BE49-F238E27FC236}">
                <a16:creationId xmlns:a16="http://schemas.microsoft.com/office/drawing/2014/main" id="{BF615529-1E80-4DA8-B47F-E519EFDB13D0}"/>
              </a:ext>
            </a:extLst>
          </p:cNvPr>
          <p:cNvSpPr txBox="1"/>
          <p:nvPr/>
        </p:nvSpPr>
        <p:spPr>
          <a:xfrm>
            <a:off x="6646384" y="5669166"/>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25931040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457200">
              <a:lnSpc>
                <a:spcPts val="1700"/>
              </a:lnSpc>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a:t>
            </a:r>
            <a:r>
              <a:rPr lang="en-IN" sz="1400" b="1" dirty="0">
                <a:solidFill>
                  <a:prstClr val="black"/>
                </a:solidFill>
                <a:latin typeface="Arial" panose="020B0604020202020204" pitchFamily="34" charset="0"/>
                <a:cs typeface="Arial" panose="020B0604020202020204" pitchFamily="34" charset="0"/>
              </a:rPr>
              <a:t>Share &amp; Size, </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y End Use</a:t>
            </a:r>
          </a:p>
        </p:txBody>
      </p:sp>
      <p:graphicFrame>
        <p:nvGraphicFramePr>
          <p:cNvPr id="4" name="Chart 3">
            <a:extLst>
              <a:ext uri="{FF2B5EF4-FFF2-40B4-BE49-F238E27FC236}">
                <a16:creationId xmlns:a16="http://schemas.microsoft.com/office/drawing/2014/main" id="{85BDBC80-6A02-4FE4-AFDC-2E1A4DD91455}"/>
              </a:ext>
            </a:extLst>
          </p:cNvPr>
          <p:cNvGraphicFramePr/>
          <p:nvPr/>
        </p:nvGraphicFramePr>
        <p:xfrm>
          <a:off x="198120" y="1076004"/>
          <a:ext cx="8560904" cy="2727250"/>
        </p:xfrm>
        <a:graphic>
          <a:graphicData uri="http://schemas.openxmlformats.org/drawingml/2006/chart">
            <c:chart xmlns:c="http://schemas.openxmlformats.org/drawingml/2006/chart" xmlns:r="http://schemas.openxmlformats.org/officeDocument/2006/relationships" r:id="rId2"/>
          </a:graphicData>
        </a:graphic>
      </p:graphicFrame>
      <p:sp>
        <p:nvSpPr>
          <p:cNvPr id="28" name="TextBox 27">
            <a:extLst>
              <a:ext uri="{FF2B5EF4-FFF2-40B4-BE49-F238E27FC236}">
                <a16:creationId xmlns:a16="http://schemas.microsoft.com/office/drawing/2014/main" id="{DDF0E565-D0AB-44F0-A5D8-D1B068022189}"/>
              </a:ext>
            </a:extLst>
          </p:cNvPr>
          <p:cNvSpPr txBox="1"/>
          <p:nvPr/>
        </p:nvSpPr>
        <p:spPr>
          <a:xfrm>
            <a:off x="293640"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5: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End Use, By Value (USD Million), 2016-2026F</a:t>
            </a:r>
          </a:p>
        </p:txBody>
      </p:sp>
      <p:sp>
        <p:nvSpPr>
          <p:cNvPr id="8" name="TextBox 7">
            <a:extLst>
              <a:ext uri="{FF2B5EF4-FFF2-40B4-BE49-F238E27FC236}">
                <a16:creationId xmlns:a16="http://schemas.microsoft.com/office/drawing/2014/main" id="{377E04C2-64EC-4071-91D2-2DF2EB9F00BB}"/>
              </a:ext>
            </a:extLst>
          </p:cNvPr>
          <p:cNvSpPr txBox="1"/>
          <p:nvPr/>
        </p:nvSpPr>
        <p:spPr>
          <a:xfrm>
            <a:off x="293640" y="3979049"/>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3 : South-East Asia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End Use, By Value (USD Million), 2016-2026F</a:t>
            </a:r>
          </a:p>
        </p:txBody>
      </p:sp>
      <p:graphicFrame>
        <p:nvGraphicFramePr>
          <p:cNvPr id="2" name="Table 1">
            <a:extLst>
              <a:ext uri="{FF2B5EF4-FFF2-40B4-BE49-F238E27FC236}">
                <a16:creationId xmlns:a16="http://schemas.microsoft.com/office/drawing/2014/main" id="{E3E26B77-2059-42D7-A752-C180EB481B67}"/>
              </a:ext>
            </a:extLst>
          </p:cNvPr>
          <p:cNvGraphicFramePr>
            <a:graphicFrameLocks noGrp="1"/>
          </p:cNvGraphicFramePr>
          <p:nvPr>
            <p:extLst>
              <p:ext uri="{D42A27DB-BD31-4B8C-83A1-F6EECF244321}">
                <p14:modId xmlns:p14="http://schemas.microsoft.com/office/powerpoint/2010/main" val="1767754557"/>
              </p:ext>
            </p:extLst>
          </p:nvPr>
        </p:nvGraphicFramePr>
        <p:xfrm>
          <a:off x="362820" y="4343764"/>
          <a:ext cx="8362080" cy="2067874"/>
        </p:xfrm>
        <a:graphic>
          <a:graphicData uri="http://schemas.openxmlformats.org/drawingml/2006/table">
            <a:tbl>
              <a:tblPr>
                <a:tableStyleId>{8EC20E35-A176-4012-BC5E-935CFFF8708E}</a:tableStyleId>
              </a:tblPr>
              <a:tblGrid>
                <a:gridCol w="2099417">
                  <a:extLst>
                    <a:ext uri="{9D8B030D-6E8A-4147-A177-3AD203B41FA5}">
                      <a16:colId xmlns:a16="http://schemas.microsoft.com/office/drawing/2014/main" val="2017731148"/>
                    </a:ext>
                  </a:extLst>
                </a:gridCol>
                <a:gridCol w="569333">
                  <a:extLst>
                    <a:ext uri="{9D8B030D-6E8A-4147-A177-3AD203B41FA5}">
                      <a16:colId xmlns:a16="http://schemas.microsoft.com/office/drawing/2014/main" val="2667391389"/>
                    </a:ext>
                  </a:extLst>
                </a:gridCol>
                <a:gridCol w="569333">
                  <a:extLst>
                    <a:ext uri="{9D8B030D-6E8A-4147-A177-3AD203B41FA5}">
                      <a16:colId xmlns:a16="http://schemas.microsoft.com/office/drawing/2014/main" val="3750729452"/>
                    </a:ext>
                  </a:extLst>
                </a:gridCol>
                <a:gridCol w="569333">
                  <a:extLst>
                    <a:ext uri="{9D8B030D-6E8A-4147-A177-3AD203B41FA5}">
                      <a16:colId xmlns:a16="http://schemas.microsoft.com/office/drawing/2014/main" val="425130346"/>
                    </a:ext>
                  </a:extLst>
                </a:gridCol>
                <a:gridCol w="569333">
                  <a:extLst>
                    <a:ext uri="{9D8B030D-6E8A-4147-A177-3AD203B41FA5}">
                      <a16:colId xmlns:a16="http://schemas.microsoft.com/office/drawing/2014/main" val="1091415442"/>
                    </a:ext>
                  </a:extLst>
                </a:gridCol>
                <a:gridCol w="569333">
                  <a:extLst>
                    <a:ext uri="{9D8B030D-6E8A-4147-A177-3AD203B41FA5}">
                      <a16:colId xmlns:a16="http://schemas.microsoft.com/office/drawing/2014/main" val="2869642291"/>
                    </a:ext>
                  </a:extLst>
                </a:gridCol>
                <a:gridCol w="569333">
                  <a:extLst>
                    <a:ext uri="{9D8B030D-6E8A-4147-A177-3AD203B41FA5}">
                      <a16:colId xmlns:a16="http://schemas.microsoft.com/office/drawing/2014/main" val="1492483844"/>
                    </a:ext>
                  </a:extLst>
                </a:gridCol>
                <a:gridCol w="569333">
                  <a:extLst>
                    <a:ext uri="{9D8B030D-6E8A-4147-A177-3AD203B41FA5}">
                      <a16:colId xmlns:a16="http://schemas.microsoft.com/office/drawing/2014/main" val="536896032"/>
                    </a:ext>
                  </a:extLst>
                </a:gridCol>
                <a:gridCol w="569333">
                  <a:extLst>
                    <a:ext uri="{9D8B030D-6E8A-4147-A177-3AD203B41FA5}">
                      <a16:colId xmlns:a16="http://schemas.microsoft.com/office/drawing/2014/main" val="2293403703"/>
                    </a:ext>
                  </a:extLst>
                </a:gridCol>
                <a:gridCol w="569333">
                  <a:extLst>
                    <a:ext uri="{9D8B030D-6E8A-4147-A177-3AD203B41FA5}">
                      <a16:colId xmlns:a16="http://schemas.microsoft.com/office/drawing/2014/main" val="2748373219"/>
                    </a:ext>
                  </a:extLst>
                </a:gridCol>
                <a:gridCol w="569333">
                  <a:extLst>
                    <a:ext uri="{9D8B030D-6E8A-4147-A177-3AD203B41FA5}">
                      <a16:colId xmlns:a16="http://schemas.microsoft.com/office/drawing/2014/main" val="316596246"/>
                    </a:ext>
                  </a:extLst>
                </a:gridCol>
                <a:gridCol w="569333">
                  <a:extLst>
                    <a:ext uri="{9D8B030D-6E8A-4147-A177-3AD203B41FA5}">
                      <a16:colId xmlns:a16="http://schemas.microsoft.com/office/drawing/2014/main" val="2656604351"/>
                    </a:ext>
                  </a:extLst>
                </a:gridCol>
              </a:tblGrid>
              <a:tr h="256478">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End Use </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p>
                  </a:txBody>
                  <a:tcPr marL="0" marR="0" marT="0" marB="0" anchor="ctr"/>
                </a:tc>
                <a:extLst>
                  <a:ext uri="{0D108BD9-81ED-4DB2-BD59-A6C34878D82A}">
                    <a16:rowId xmlns:a16="http://schemas.microsoft.com/office/drawing/2014/main" val="4277395723"/>
                  </a:ext>
                </a:extLst>
              </a:tr>
              <a:tr h="263306">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9525" marR="9525" marT="9525" marB="0" anchor="ctr"/>
                </a:tc>
                <a:tc>
                  <a:txBody>
                    <a:bodyPr/>
                    <a:lstStyle/>
                    <a:p>
                      <a:pPr algn="ctr" fontAlgn="b"/>
                      <a:r>
                        <a:rPr lang="en-IN" sz="1100" b="0" u="none" strike="noStrike">
                          <a:solidFill>
                            <a:srgbClr val="000000"/>
                          </a:solidFill>
                          <a:effectLst/>
                        </a:rPr>
                        <a:t>38.55</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dirty="0">
                          <a:solidFill>
                            <a:srgbClr val="000000"/>
                          </a:solidFill>
                          <a:effectLst/>
                        </a:rPr>
                        <a:t>41.36</a:t>
                      </a:r>
                      <a:endParaRPr lang="en-IN" sz="1100" b="0" i="0" u="none" strike="noStrike" dirty="0">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43.43</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dirty="0">
                          <a:solidFill>
                            <a:srgbClr val="000000"/>
                          </a:solidFill>
                          <a:effectLst/>
                        </a:rPr>
                        <a:t>46.12</a:t>
                      </a:r>
                      <a:endParaRPr lang="en-IN" sz="1100" b="0" i="0" u="none" strike="noStrike" dirty="0">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43.42</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45.49</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47.97</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50.59</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53.35</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dirty="0">
                          <a:solidFill>
                            <a:srgbClr val="000000"/>
                          </a:solidFill>
                          <a:effectLst/>
                        </a:rPr>
                        <a:t>56.33</a:t>
                      </a:r>
                      <a:endParaRPr lang="en-IN" sz="1100" b="0" i="0" u="none" strike="noStrike" dirty="0">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dirty="0">
                          <a:solidFill>
                            <a:srgbClr val="000000"/>
                          </a:solidFill>
                          <a:effectLst/>
                        </a:rPr>
                        <a:t>59.46</a:t>
                      </a:r>
                      <a:endParaRPr lang="en-IN" sz="1100" b="0" i="0" u="none" strike="noStrike" dirty="0">
                        <a:solidFill>
                          <a:srgbClr val="000000"/>
                        </a:solidFill>
                        <a:effectLst/>
                        <a:latin typeface="Cambria" panose="02040503050406030204" pitchFamily="18" charset="0"/>
                      </a:endParaRPr>
                    </a:p>
                  </a:txBody>
                  <a:tcPr marL="9525" marR="9525" marT="9525" marB="0" anchor="b"/>
                </a:tc>
                <a:extLst>
                  <a:ext uri="{0D108BD9-81ED-4DB2-BD59-A6C34878D82A}">
                    <a16:rowId xmlns:a16="http://schemas.microsoft.com/office/drawing/2014/main" val="3614340383"/>
                  </a:ext>
                </a:extLst>
              </a:tr>
              <a:tr h="2564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noProof="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Animal Husbandry</a:t>
                      </a:r>
                    </a:p>
                  </a:txBody>
                  <a:tcPr marL="9525" marR="9525" marT="9525" marB="0" anchor="ctr"/>
                </a:tc>
                <a:tc>
                  <a:txBody>
                    <a:bodyPr/>
                    <a:lstStyle/>
                    <a:p>
                      <a:pPr algn="ctr" fontAlgn="b"/>
                      <a:r>
                        <a:rPr lang="en-IN" sz="1100" b="0" u="none" strike="noStrike">
                          <a:solidFill>
                            <a:srgbClr val="000000"/>
                          </a:solidFill>
                          <a:effectLst/>
                        </a:rPr>
                        <a:t>20.14</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21.78</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23.65</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25.33</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24.25</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25.62</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27.36</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29.01</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30.81</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32.84</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dirty="0">
                          <a:solidFill>
                            <a:srgbClr val="000000"/>
                          </a:solidFill>
                          <a:effectLst/>
                        </a:rPr>
                        <a:t>34.95</a:t>
                      </a:r>
                      <a:endParaRPr lang="en-IN" sz="1100" b="0" i="0" u="none" strike="noStrike" dirty="0">
                        <a:solidFill>
                          <a:srgbClr val="000000"/>
                        </a:solidFill>
                        <a:effectLst/>
                        <a:latin typeface="Cambria" panose="02040503050406030204" pitchFamily="18" charset="0"/>
                      </a:endParaRPr>
                    </a:p>
                  </a:txBody>
                  <a:tcPr marL="9525" marR="9525" marT="9525" marB="0" anchor="b"/>
                </a:tc>
                <a:extLst>
                  <a:ext uri="{0D108BD9-81ED-4DB2-BD59-A6C34878D82A}">
                    <a16:rowId xmlns:a16="http://schemas.microsoft.com/office/drawing/2014/main" val="2094423544"/>
                  </a:ext>
                </a:extLst>
              </a:tr>
              <a:tr h="2564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noProof="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Healthcare</a:t>
                      </a:r>
                    </a:p>
                  </a:txBody>
                  <a:tcPr marL="9525" marR="9525" marT="9525" marB="0" anchor="ctr"/>
                </a:tc>
                <a:tc>
                  <a:txBody>
                    <a:bodyPr/>
                    <a:lstStyle/>
                    <a:p>
                      <a:pPr algn="ctr" fontAlgn="b"/>
                      <a:r>
                        <a:rPr lang="en-IN" sz="1100" b="0" u="none" strike="noStrike">
                          <a:solidFill>
                            <a:srgbClr val="000000"/>
                          </a:solidFill>
                          <a:effectLst/>
                        </a:rPr>
                        <a:t>13.84</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13.98</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15.46</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16.56</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16.08</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17.29</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18.41</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19.60</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dirty="0">
                          <a:solidFill>
                            <a:srgbClr val="000000"/>
                          </a:solidFill>
                          <a:effectLst/>
                        </a:rPr>
                        <a:t>20.85</a:t>
                      </a:r>
                      <a:endParaRPr lang="en-IN" sz="1100" b="0" i="0" u="none" strike="noStrike" dirty="0">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22.40</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dirty="0">
                          <a:solidFill>
                            <a:srgbClr val="000000"/>
                          </a:solidFill>
                          <a:effectLst/>
                        </a:rPr>
                        <a:t>23.91</a:t>
                      </a:r>
                      <a:endParaRPr lang="en-IN" sz="1100" b="0" i="0" u="none" strike="noStrike" dirty="0">
                        <a:solidFill>
                          <a:srgbClr val="000000"/>
                        </a:solidFill>
                        <a:effectLst/>
                        <a:latin typeface="Cambria" panose="02040503050406030204" pitchFamily="18" charset="0"/>
                      </a:endParaRPr>
                    </a:p>
                  </a:txBody>
                  <a:tcPr marL="9525" marR="9525" marT="9525" marB="0" anchor="b"/>
                </a:tc>
                <a:extLst>
                  <a:ext uri="{0D108BD9-81ED-4DB2-BD59-A6C34878D82A}">
                    <a16:rowId xmlns:a16="http://schemas.microsoft.com/office/drawing/2014/main" val="741399779"/>
                  </a:ext>
                </a:extLst>
              </a:tr>
              <a:tr h="256478">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a:t>
                      </a:r>
                    </a:p>
                  </a:txBody>
                  <a:tcPr marL="9525" marR="9525" marT="9525" marB="0" anchor="ctr"/>
                </a:tc>
                <a:tc>
                  <a:txBody>
                    <a:bodyPr/>
                    <a:lstStyle/>
                    <a:p>
                      <a:pPr algn="ctr" fontAlgn="b"/>
                      <a:r>
                        <a:rPr lang="en-IN" sz="1100" b="0" u="none" strike="noStrike" dirty="0">
                          <a:solidFill>
                            <a:srgbClr val="000000"/>
                          </a:solidFill>
                          <a:effectLst/>
                        </a:rPr>
                        <a:t>6.99</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a:solidFill>
                            <a:srgbClr val="000000"/>
                          </a:solidFill>
                          <a:effectLst/>
                        </a:rPr>
                        <a:t>7.53</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8.31</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8.62</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7.55</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7.81</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8.29</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8.80</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9.37</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9.99</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dirty="0">
                          <a:solidFill>
                            <a:srgbClr val="000000"/>
                          </a:solidFill>
                          <a:effectLst/>
                        </a:rPr>
                        <a:t>10.67</a:t>
                      </a:r>
                      <a:endParaRPr lang="en-IN" sz="1100" b="0" i="0" u="none" strike="noStrike" dirty="0">
                        <a:solidFill>
                          <a:srgbClr val="000000"/>
                        </a:solidFill>
                        <a:effectLst/>
                        <a:latin typeface="Cambria" panose="02040503050406030204" pitchFamily="18" charset="0"/>
                      </a:endParaRPr>
                    </a:p>
                  </a:txBody>
                  <a:tcPr marL="9525" marR="9525" marT="9525" marB="0" anchor="b"/>
                </a:tc>
                <a:extLst>
                  <a:ext uri="{0D108BD9-81ED-4DB2-BD59-A6C34878D82A}">
                    <a16:rowId xmlns:a16="http://schemas.microsoft.com/office/drawing/2014/main" val="865856288"/>
                  </a:ext>
                </a:extLst>
              </a:tr>
              <a:tr h="231869">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Chemicals</a:t>
                      </a:r>
                    </a:p>
                  </a:txBody>
                  <a:tcPr marL="9525" marR="9525" marT="9525" marB="0" anchor="ctr"/>
                </a:tc>
                <a:tc>
                  <a:txBody>
                    <a:bodyPr/>
                    <a:lstStyle/>
                    <a:p>
                      <a:pPr algn="ctr" fontAlgn="b"/>
                      <a:r>
                        <a:rPr lang="en-IN" sz="1100" b="0" u="none" strike="noStrike">
                          <a:solidFill>
                            <a:srgbClr val="000000"/>
                          </a:solidFill>
                          <a:effectLst/>
                        </a:rPr>
                        <a:t>3.66</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3.67</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4.17</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4.33</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3.78</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dirty="0">
                          <a:solidFill>
                            <a:srgbClr val="000000"/>
                          </a:solidFill>
                          <a:effectLst/>
                        </a:rPr>
                        <a:t>4.04</a:t>
                      </a:r>
                      <a:endParaRPr lang="en-IN" sz="1100" b="0" i="0" u="none" strike="noStrike" dirty="0">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4.31</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4.53</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4.69</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4.91</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dirty="0">
                          <a:solidFill>
                            <a:srgbClr val="000000"/>
                          </a:solidFill>
                          <a:effectLst/>
                        </a:rPr>
                        <a:t>5.17</a:t>
                      </a:r>
                      <a:endParaRPr lang="en-IN" sz="1100" b="0" i="0" u="none" strike="noStrike" dirty="0">
                        <a:solidFill>
                          <a:srgbClr val="000000"/>
                        </a:solidFill>
                        <a:effectLst/>
                        <a:latin typeface="Cambria" panose="02040503050406030204" pitchFamily="18" charset="0"/>
                      </a:endParaRPr>
                    </a:p>
                  </a:txBody>
                  <a:tcPr marL="9525" marR="9525" marT="9525" marB="0" anchor="b"/>
                </a:tc>
                <a:extLst>
                  <a:ext uri="{0D108BD9-81ED-4DB2-BD59-A6C34878D82A}">
                    <a16:rowId xmlns:a16="http://schemas.microsoft.com/office/drawing/2014/main" val="3954528466"/>
                  </a:ext>
                </a:extLst>
              </a:tr>
              <a:tr h="290309">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Leather and Textiles</a:t>
                      </a:r>
                    </a:p>
                  </a:txBody>
                  <a:tcPr marL="9525" marR="9525" marT="9525" marB="0" anchor="ctr"/>
                </a:tc>
                <a:tc>
                  <a:txBody>
                    <a:bodyPr/>
                    <a:lstStyle/>
                    <a:p>
                      <a:pPr algn="ctr" fontAlgn="b"/>
                      <a:r>
                        <a:rPr lang="en-IN" sz="1100" b="0" u="none" strike="noStrike" dirty="0">
                          <a:solidFill>
                            <a:srgbClr val="000000"/>
                          </a:solidFill>
                          <a:effectLst/>
                        </a:rPr>
                        <a:t>2.5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69</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8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99</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67</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80</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9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3.10</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3.2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3.42</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3.59</a:t>
                      </a:r>
                      <a:endParaRPr lang="en-IN" sz="1100" b="0" i="0" u="none" strike="noStrike" dirty="0">
                        <a:solidFill>
                          <a:srgbClr val="000000"/>
                        </a:solidFill>
                        <a:effectLst/>
                        <a:latin typeface="Cambria" panose="02040503050406030204" pitchFamily="18" charset="0"/>
                      </a:endParaRPr>
                    </a:p>
                  </a:txBody>
                  <a:tcPr marL="9525" marR="9525" marT="9525" marB="0" anchor="ctr"/>
                </a:tc>
                <a:extLst>
                  <a:ext uri="{0D108BD9-81ED-4DB2-BD59-A6C34878D82A}">
                    <a16:rowId xmlns:a16="http://schemas.microsoft.com/office/drawing/2014/main" val="587225213"/>
                  </a:ext>
                </a:extLst>
              </a:tr>
              <a:tr h="256478">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Others</a:t>
                      </a:r>
                    </a:p>
                  </a:txBody>
                  <a:tcPr marL="9525" marR="9525" marT="9525" marB="0" anchor="ctr"/>
                </a:tc>
                <a:tc>
                  <a:txBody>
                    <a:bodyPr/>
                    <a:lstStyle/>
                    <a:p>
                      <a:pPr algn="ctr" fontAlgn="b"/>
                      <a:r>
                        <a:rPr lang="en-IN" sz="1100" b="0" u="none" strike="noStrike">
                          <a:solidFill>
                            <a:srgbClr val="000000"/>
                          </a:solidFill>
                          <a:effectLst/>
                        </a:rPr>
                        <a:t>4.92</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5.34</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5.16</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5.27</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5.83</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5.60</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5.73</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5.95</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6.33</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a:solidFill>
                            <a:srgbClr val="000000"/>
                          </a:solidFill>
                          <a:effectLst/>
                        </a:rPr>
                        <a:t>6.50</a:t>
                      </a:r>
                      <a:endParaRPr lang="en-IN" sz="1100" b="0" i="0" u="none" strike="noStrike">
                        <a:solidFill>
                          <a:srgbClr val="000000"/>
                        </a:solidFill>
                        <a:effectLst/>
                        <a:latin typeface="Cambria" panose="02040503050406030204" pitchFamily="18" charset="0"/>
                      </a:endParaRPr>
                    </a:p>
                  </a:txBody>
                  <a:tcPr marL="9525" marR="9525" marT="9525" marB="0" anchor="b"/>
                </a:tc>
                <a:tc>
                  <a:txBody>
                    <a:bodyPr/>
                    <a:lstStyle/>
                    <a:p>
                      <a:pPr algn="ctr" fontAlgn="b"/>
                      <a:r>
                        <a:rPr lang="en-IN" sz="1100" b="0" u="none" strike="noStrike" dirty="0">
                          <a:solidFill>
                            <a:srgbClr val="000000"/>
                          </a:solidFill>
                          <a:effectLst/>
                        </a:rPr>
                        <a:t>6.89</a:t>
                      </a:r>
                      <a:endParaRPr lang="en-IN" sz="1100" b="0" i="0" u="none" strike="noStrike" dirty="0">
                        <a:solidFill>
                          <a:srgbClr val="000000"/>
                        </a:solidFill>
                        <a:effectLst/>
                        <a:latin typeface="Cambria" panose="02040503050406030204" pitchFamily="18" charset="0"/>
                      </a:endParaRPr>
                    </a:p>
                  </a:txBody>
                  <a:tcPr marL="9525" marR="9525" marT="9525" marB="0" anchor="b"/>
                </a:tc>
                <a:extLst>
                  <a:ext uri="{0D108BD9-81ED-4DB2-BD59-A6C34878D82A}">
                    <a16:rowId xmlns:a16="http://schemas.microsoft.com/office/drawing/2014/main" val="1631373380"/>
                  </a:ext>
                </a:extLst>
              </a:tr>
            </a:tbl>
          </a:graphicData>
        </a:graphic>
      </p:graphicFrame>
      <p:sp>
        <p:nvSpPr>
          <p:cNvPr id="10" name="TextBox 9">
            <a:extLst>
              <a:ext uri="{FF2B5EF4-FFF2-40B4-BE49-F238E27FC236}">
                <a16:creationId xmlns:a16="http://schemas.microsoft.com/office/drawing/2014/main" id="{4F68D609-1A29-4D33-9FC2-DED9FCC6C561}"/>
              </a:ext>
            </a:extLst>
          </p:cNvPr>
          <p:cNvSpPr txBox="1"/>
          <p:nvPr/>
        </p:nvSpPr>
        <p:spPr>
          <a:xfrm>
            <a:off x="5181601" y="3718455"/>
            <a:ext cx="3543300"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include: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 name="TextBox 8">
            <a:extLst>
              <a:ext uri="{FF2B5EF4-FFF2-40B4-BE49-F238E27FC236}">
                <a16:creationId xmlns:a16="http://schemas.microsoft.com/office/drawing/2014/main" id="{D906A4A5-1EFE-4BA5-96B2-B27CFE93094F}"/>
              </a:ext>
            </a:extLst>
          </p:cNvPr>
          <p:cNvSpPr txBox="1"/>
          <p:nvPr/>
        </p:nvSpPr>
        <p:spPr>
          <a:xfrm>
            <a:off x="5275945" y="6396339"/>
            <a:ext cx="3543300"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include: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2596697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457200">
              <a:lnSpc>
                <a:spcPts val="1700"/>
              </a:lnSpc>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a:t>
            </a:r>
            <a:r>
              <a:rPr lang="en-IN" sz="1400" b="1" dirty="0">
                <a:solidFill>
                  <a:prstClr val="black"/>
                </a:solidFill>
                <a:latin typeface="Arial" panose="020B0604020202020204" pitchFamily="34" charset="0"/>
                <a:cs typeface="Arial" panose="020B0604020202020204" pitchFamily="34" charset="0"/>
              </a:rPr>
              <a:t>Share &amp; Size, </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y Country</a:t>
            </a:r>
          </a:p>
        </p:txBody>
      </p:sp>
      <p:graphicFrame>
        <p:nvGraphicFramePr>
          <p:cNvPr id="4" name="Chart 3">
            <a:extLst>
              <a:ext uri="{FF2B5EF4-FFF2-40B4-BE49-F238E27FC236}">
                <a16:creationId xmlns:a16="http://schemas.microsoft.com/office/drawing/2014/main" id="{85BDBC80-6A02-4FE4-AFDC-2E1A4DD91455}"/>
              </a:ext>
            </a:extLst>
          </p:cNvPr>
          <p:cNvGraphicFramePr/>
          <p:nvPr/>
        </p:nvGraphicFramePr>
        <p:xfrm>
          <a:off x="291548" y="1264480"/>
          <a:ext cx="8560904" cy="2508092"/>
        </p:xfrm>
        <a:graphic>
          <a:graphicData uri="http://schemas.openxmlformats.org/drawingml/2006/chart">
            <c:chart xmlns:c="http://schemas.openxmlformats.org/drawingml/2006/chart" xmlns:r="http://schemas.openxmlformats.org/officeDocument/2006/relationships" r:id="rId2"/>
          </a:graphicData>
        </a:graphic>
      </p:graphicFrame>
      <p:sp>
        <p:nvSpPr>
          <p:cNvPr id="28" name="TextBox 27">
            <a:extLst>
              <a:ext uri="{FF2B5EF4-FFF2-40B4-BE49-F238E27FC236}">
                <a16:creationId xmlns:a16="http://schemas.microsoft.com/office/drawing/2014/main" id="{DDF0E565-D0AB-44F0-A5D8-D1B068022189}"/>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6: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Country, By Value, (USD Million), 2016-2026F</a:t>
            </a:r>
          </a:p>
        </p:txBody>
      </p:sp>
      <p:sp>
        <p:nvSpPr>
          <p:cNvPr id="8" name="TextBox 7">
            <a:extLst>
              <a:ext uri="{FF2B5EF4-FFF2-40B4-BE49-F238E27FC236}">
                <a16:creationId xmlns:a16="http://schemas.microsoft.com/office/drawing/2014/main" id="{377E04C2-64EC-4071-91D2-2DF2EB9F00BB}"/>
              </a:ext>
            </a:extLst>
          </p:cNvPr>
          <p:cNvSpPr txBox="1"/>
          <p:nvPr/>
        </p:nvSpPr>
        <p:spPr>
          <a:xfrm>
            <a:off x="214086" y="3782429"/>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4: South-East Asia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Country, By Value, (USD Million), 2016-2026F</a:t>
            </a:r>
          </a:p>
        </p:txBody>
      </p:sp>
      <p:graphicFrame>
        <p:nvGraphicFramePr>
          <p:cNvPr id="2" name="Table 1">
            <a:extLst>
              <a:ext uri="{FF2B5EF4-FFF2-40B4-BE49-F238E27FC236}">
                <a16:creationId xmlns:a16="http://schemas.microsoft.com/office/drawing/2014/main" id="{E3E26B77-2059-42D7-A752-C180EB481B67}"/>
              </a:ext>
            </a:extLst>
          </p:cNvPr>
          <p:cNvGraphicFramePr>
            <a:graphicFrameLocks noGrp="1"/>
          </p:cNvGraphicFramePr>
          <p:nvPr>
            <p:extLst>
              <p:ext uri="{D42A27DB-BD31-4B8C-83A1-F6EECF244321}">
                <p14:modId xmlns:p14="http://schemas.microsoft.com/office/powerpoint/2010/main" val="385779585"/>
              </p:ext>
            </p:extLst>
          </p:nvPr>
        </p:nvGraphicFramePr>
        <p:xfrm>
          <a:off x="390956" y="4240372"/>
          <a:ext cx="8362088" cy="2141251"/>
        </p:xfrm>
        <a:graphic>
          <a:graphicData uri="http://schemas.openxmlformats.org/drawingml/2006/table">
            <a:tbl>
              <a:tblPr>
                <a:tableStyleId>{8EC20E35-A176-4012-BC5E-935CFFF8708E}</a:tableStyleId>
              </a:tblPr>
              <a:tblGrid>
                <a:gridCol w="893385">
                  <a:extLst>
                    <a:ext uri="{9D8B030D-6E8A-4147-A177-3AD203B41FA5}">
                      <a16:colId xmlns:a16="http://schemas.microsoft.com/office/drawing/2014/main" val="2017731148"/>
                    </a:ext>
                  </a:extLst>
                </a:gridCol>
                <a:gridCol w="678973">
                  <a:extLst>
                    <a:ext uri="{9D8B030D-6E8A-4147-A177-3AD203B41FA5}">
                      <a16:colId xmlns:a16="http://schemas.microsoft.com/office/drawing/2014/main" val="2667391389"/>
                    </a:ext>
                  </a:extLst>
                </a:gridCol>
                <a:gridCol w="678973">
                  <a:extLst>
                    <a:ext uri="{9D8B030D-6E8A-4147-A177-3AD203B41FA5}">
                      <a16:colId xmlns:a16="http://schemas.microsoft.com/office/drawing/2014/main" val="3750729452"/>
                    </a:ext>
                  </a:extLst>
                </a:gridCol>
                <a:gridCol w="678973">
                  <a:extLst>
                    <a:ext uri="{9D8B030D-6E8A-4147-A177-3AD203B41FA5}">
                      <a16:colId xmlns:a16="http://schemas.microsoft.com/office/drawing/2014/main" val="425130346"/>
                    </a:ext>
                  </a:extLst>
                </a:gridCol>
                <a:gridCol w="678973">
                  <a:extLst>
                    <a:ext uri="{9D8B030D-6E8A-4147-A177-3AD203B41FA5}">
                      <a16:colId xmlns:a16="http://schemas.microsoft.com/office/drawing/2014/main" val="1091415442"/>
                    </a:ext>
                  </a:extLst>
                </a:gridCol>
                <a:gridCol w="678973">
                  <a:extLst>
                    <a:ext uri="{9D8B030D-6E8A-4147-A177-3AD203B41FA5}">
                      <a16:colId xmlns:a16="http://schemas.microsoft.com/office/drawing/2014/main" val="2869642291"/>
                    </a:ext>
                  </a:extLst>
                </a:gridCol>
                <a:gridCol w="678973">
                  <a:extLst>
                    <a:ext uri="{9D8B030D-6E8A-4147-A177-3AD203B41FA5}">
                      <a16:colId xmlns:a16="http://schemas.microsoft.com/office/drawing/2014/main" val="1492483844"/>
                    </a:ext>
                  </a:extLst>
                </a:gridCol>
                <a:gridCol w="678973">
                  <a:extLst>
                    <a:ext uri="{9D8B030D-6E8A-4147-A177-3AD203B41FA5}">
                      <a16:colId xmlns:a16="http://schemas.microsoft.com/office/drawing/2014/main" val="536896032"/>
                    </a:ext>
                  </a:extLst>
                </a:gridCol>
                <a:gridCol w="678973">
                  <a:extLst>
                    <a:ext uri="{9D8B030D-6E8A-4147-A177-3AD203B41FA5}">
                      <a16:colId xmlns:a16="http://schemas.microsoft.com/office/drawing/2014/main" val="2293403703"/>
                    </a:ext>
                  </a:extLst>
                </a:gridCol>
                <a:gridCol w="678973">
                  <a:extLst>
                    <a:ext uri="{9D8B030D-6E8A-4147-A177-3AD203B41FA5}">
                      <a16:colId xmlns:a16="http://schemas.microsoft.com/office/drawing/2014/main" val="2748373219"/>
                    </a:ext>
                  </a:extLst>
                </a:gridCol>
                <a:gridCol w="678973">
                  <a:extLst>
                    <a:ext uri="{9D8B030D-6E8A-4147-A177-3AD203B41FA5}">
                      <a16:colId xmlns:a16="http://schemas.microsoft.com/office/drawing/2014/main" val="316596246"/>
                    </a:ext>
                  </a:extLst>
                </a:gridCol>
                <a:gridCol w="678973">
                  <a:extLst>
                    <a:ext uri="{9D8B030D-6E8A-4147-A177-3AD203B41FA5}">
                      <a16:colId xmlns:a16="http://schemas.microsoft.com/office/drawing/2014/main" val="2656604351"/>
                    </a:ext>
                  </a:extLst>
                </a:gridCol>
              </a:tblGrid>
              <a:tr h="312807">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Country</a:t>
                      </a: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4277395723"/>
                  </a:ext>
                </a:extLst>
              </a:tr>
              <a:tr h="283005">
                <a:tc>
                  <a:txBody>
                    <a:bodyPr/>
                    <a:lstStyle/>
                    <a:p>
                      <a:pPr marL="0" algn="l" defTabSz="914400" rtl="0" eaLnBrk="1" fontAlgn="b" latinLnBrk="0" hangingPunct="1"/>
                      <a:r>
                        <a:rPr lang="en-IN"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onesia</a:t>
                      </a:r>
                    </a:p>
                  </a:txBody>
                  <a:tcPr marL="0" marR="0" marT="0" marB="0" anchor="ctr"/>
                </a:tc>
                <a:tc>
                  <a:txBody>
                    <a:bodyPr/>
                    <a:lstStyle/>
                    <a:p>
                      <a:pPr algn="ctr" fontAlgn="ctr"/>
                      <a:r>
                        <a:rPr lang="en-IN" sz="1100" b="0" i="0" u="none" strike="noStrike">
                          <a:solidFill>
                            <a:srgbClr val="000000"/>
                          </a:solidFill>
                          <a:effectLst/>
                          <a:latin typeface="Cambria" panose="02040503050406030204" pitchFamily="18" charset="0"/>
                        </a:rPr>
                        <a:t>35.95</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37.88</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40.08</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42.57</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40.31</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42.38</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44.75</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47.19</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49.75</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2.38</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55.06</a:t>
                      </a:r>
                    </a:p>
                  </a:txBody>
                  <a:tcPr marL="9525" marR="9525" marT="9525" marB="0" anchor="ctr"/>
                </a:tc>
                <a:extLst>
                  <a:ext uri="{0D108BD9-81ED-4DB2-BD59-A6C34878D82A}">
                    <a16:rowId xmlns:a16="http://schemas.microsoft.com/office/drawing/2014/main" val="865856288"/>
                  </a:ext>
                </a:extLst>
              </a:tr>
              <a:tr h="283005">
                <a:tc>
                  <a:txBody>
                    <a:bodyPr/>
                    <a:lstStyle/>
                    <a:p>
                      <a:pPr marL="0" algn="l" defTabSz="914400" rtl="0" eaLnBrk="1" fontAlgn="b" latinLnBrk="0" hangingPunct="1"/>
                      <a:r>
                        <a:rPr lang="en-IN"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Malaysia</a:t>
                      </a:r>
                    </a:p>
                  </a:txBody>
                  <a:tcPr marL="0" marR="0" marT="0" marB="0" anchor="ctr"/>
                </a:tc>
                <a:tc>
                  <a:txBody>
                    <a:bodyPr/>
                    <a:lstStyle/>
                    <a:p>
                      <a:pPr algn="ctr" fontAlgn="ctr"/>
                      <a:r>
                        <a:rPr lang="en-IN" sz="1100" b="0" i="0" u="none" strike="noStrike">
                          <a:solidFill>
                            <a:srgbClr val="000000"/>
                          </a:solidFill>
                          <a:effectLst/>
                          <a:latin typeface="Cambria" panose="02040503050406030204" pitchFamily="18" charset="0"/>
                        </a:rPr>
                        <a:t>18.73</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19.99</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1.39</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22.58</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1.84</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3.01</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4.26</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5.59</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7.04</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8.63</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30.24</a:t>
                      </a:r>
                    </a:p>
                  </a:txBody>
                  <a:tcPr marL="9525" marR="9525" marT="9525" marB="0" anchor="ctr"/>
                </a:tc>
                <a:extLst>
                  <a:ext uri="{0D108BD9-81ED-4DB2-BD59-A6C34878D82A}">
                    <a16:rowId xmlns:a16="http://schemas.microsoft.com/office/drawing/2014/main" val="3954528466"/>
                  </a:ext>
                </a:extLst>
              </a:tr>
              <a:tr h="283005">
                <a:tc>
                  <a:txBody>
                    <a:bodyPr/>
                    <a:lstStyle/>
                    <a:p>
                      <a:pPr marL="0" algn="l" defTabSz="914400" rtl="0" eaLnBrk="1" fontAlgn="b" latinLnBrk="0" hangingPunct="1"/>
                      <a:r>
                        <a:rPr lang="en-IN"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Vietnam</a:t>
                      </a:r>
                    </a:p>
                  </a:txBody>
                  <a:tcPr marL="0" marR="0" marT="0" marB="0" anchor="ctr"/>
                </a:tc>
                <a:tc>
                  <a:txBody>
                    <a:bodyPr/>
                    <a:lstStyle/>
                    <a:p>
                      <a:pPr algn="ctr" fontAlgn="ctr"/>
                      <a:r>
                        <a:rPr lang="en-IN" sz="1100" b="0" i="0" u="none" strike="noStrike">
                          <a:solidFill>
                            <a:srgbClr val="000000"/>
                          </a:solidFill>
                          <a:effectLst/>
                          <a:latin typeface="Cambria" panose="02040503050406030204" pitchFamily="18" charset="0"/>
                        </a:rPr>
                        <a:t>18.67</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0.03</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1.89</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3.06</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1.97</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2.92</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4.50</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6.15</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8.00</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30.23</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32.78</a:t>
                      </a:r>
                    </a:p>
                  </a:txBody>
                  <a:tcPr marL="9525" marR="9525" marT="9525" marB="0" anchor="ctr"/>
                </a:tc>
                <a:extLst>
                  <a:ext uri="{0D108BD9-81ED-4DB2-BD59-A6C34878D82A}">
                    <a16:rowId xmlns:a16="http://schemas.microsoft.com/office/drawing/2014/main" val="3384936204"/>
                  </a:ext>
                </a:extLst>
              </a:tr>
              <a:tr h="283005">
                <a:tc>
                  <a:txBody>
                    <a:bodyPr/>
                    <a:lstStyle/>
                    <a:p>
                      <a:pPr marL="0" algn="l" defTabSz="914400" rtl="0" eaLnBrk="1" fontAlgn="b" latinLnBrk="0" hangingPunct="1"/>
                      <a:r>
                        <a:rPr lang="en-IN"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Philippines</a:t>
                      </a:r>
                    </a:p>
                  </a:txBody>
                  <a:tcPr marL="0" marR="0" marT="0" marB="0" anchor="ctr"/>
                </a:tc>
                <a:tc>
                  <a:txBody>
                    <a:bodyPr/>
                    <a:lstStyle/>
                    <a:p>
                      <a:pPr algn="ctr" fontAlgn="ctr"/>
                      <a:r>
                        <a:rPr lang="en-IN" sz="1100" b="0" i="0" u="none" strike="noStrike">
                          <a:solidFill>
                            <a:srgbClr val="000000"/>
                          </a:solidFill>
                          <a:effectLst/>
                          <a:latin typeface="Cambria" panose="02040503050406030204" pitchFamily="18" charset="0"/>
                        </a:rPr>
                        <a:t>8.13</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8.55</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9.00</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9.53</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8.79</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9.33</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9.86</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10.40</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10.96</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11.54</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12.17</a:t>
                      </a:r>
                    </a:p>
                  </a:txBody>
                  <a:tcPr marL="9525" marR="9525" marT="9525" marB="0" anchor="ctr"/>
                </a:tc>
                <a:extLst>
                  <a:ext uri="{0D108BD9-81ED-4DB2-BD59-A6C34878D82A}">
                    <a16:rowId xmlns:a16="http://schemas.microsoft.com/office/drawing/2014/main" val="3532000357"/>
                  </a:ext>
                </a:extLst>
              </a:tr>
              <a:tr h="283005">
                <a:tc>
                  <a:txBody>
                    <a:bodyPr/>
                    <a:lstStyle/>
                    <a:p>
                      <a:pPr marL="0" algn="l" defTabSz="914400" rtl="0" eaLnBrk="1" fontAlgn="b" latinLnBrk="0" hangingPunct="1"/>
                      <a:r>
                        <a:rPr lang="en-IN"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Thailand</a:t>
                      </a:r>
                    </a:p>
                  </a:txBody>
                  <a:tcPr marL="0" marR="0" marT="0" marB="0" anchor="ctr"/>
                </a:tc>
                <a:tc>
                  <a:txBody>
                    <a:bodyPr/>
                    <a:lstStyle/>
                    <a:p>
                      <a:pPr algn="ctr" fontAlgn="ctr"/>
                      <a:r>
                        <a:rPr lang="en-IN" sz="1100" b="0" i="0" u="none" strike="noStrike">
                          <a:solidFill>
                            <a:srgbClr val="000000"/>
                          </a:solidFill>
                          <a:effectLst/>
                          <a:latin typeface="Cambria" panose="02040503050406030204" pitchFamily="18" charset="0"/>
                        </a:rPr>
                        <a:t>4.37</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4.69</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05</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42</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07</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12</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41</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70</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6.03</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6.33</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6.70</a:t>
                      </a:r>
                    </a:p>
                  </a:txBody>
                  <a:tcPr marL="9525" marR="9525" marT="9525" marB="0" anchor="ctr"/>
                </a:tc>
                <a:extLst>
                  <a:ext uri="{0D108BD9-81ED-4DB2-BD59-A6C34878D82A}">
                    <a16:rowId xmlns:a16="http://schemas.microsoft.com/office/drawing/2014/main" val="2892999225"/>
                  </a:ext>
                </a:extLst>
              </a:tr>
              <a:tr h="413419">
                <a:tc>
                  <a:txBody>
                    <a:bodyPr/>
                    <a:lstStyle/>
                    <a:p>
                      <a:pPr marL="0" algn="l" defTabSz="914400" rtl="0" eaLnBrk="1" fontAlgn="b" latinLnBrk="0" hangingPunct="1"/>
                      <a:r>
                        <a:rPr lang="en-IN"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Rest of South East Asia</a:t>
                      </a:r>
                    </a:p>
                  </a:txBody>
                  <a:tcPr marL="0" marR="0" marT="0" marB="0" anchor="ctr"/>
                </a:tc>
                <a:tc>
                  <a:txBody>
                    <a:bodyPr/>
                    <a:lstStyle/>
                    <a:p>
                      <a:pPr algn="ctr" fontAlgn="ctr"/>
                      <a:r>
                        <a:rPr lang="en-IN" sz="1100" b="0" i="0" u="none" strike="noStrike">
                          <a:solidFill>
                            <a:srgbClr val="000000"/>
                          </a:solidFill>
                          <a:effectLst/>
                          <a:latin typeface="Cambria" panose="02040503050406030204" pitchFamily="18" charset="0"/>
                        </a:rPr>
                        <a:t>4.82</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23</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63</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6.07</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60</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89</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6.24</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6.55</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6.90</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7.28</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7.69</a:t>
                      </a:r>
                    </a:p>
                  </a:txBody>
                  <a:tcPr marL="9525" marR="9525" marT="9525" marB="0" anchor="ctr"/>
                </a:tc>
                <a:extLst>
                  <a:ext uri="{0D108BD9-81ED-4DB2-BD59-A6C34878D82A}">
                    <a16:rowId xmlns:a16="http://schemas.microsoft.com/office/drawing/2014/main" val="3579791866"/>
                  </a:ext>
                </a:extLst>
              </a:tr>
            </a:tbl>
          </a:graphicData>
        </a:graphic>
      </p:graphicFrame>
      <p:sp>
        <p:nvSpPr>
          <p:cNvPr id="10" name="TextBox 9">
            <a:extLst>
              <a:ext uri="{FF2B5EF4-FFF2-40B4-BE49-F238E27FC236}">
                <a16:creationId xmlns:a16="http://schemas.microsoft.com/office/drawing/2014/main" id="{CD551EE3-72E3-4BC3-95C6-BC6B3F2EC001}"/>
              </a:ext>
            </a:extLst>
          </p:cNvPr>
          <p:cNvSpPr txBox="1"/>
          <p:nvPr/>
        </p:nvSpPr>
        <p:spPr>
          <a:xfrm>
            <a:off x="6546976" y="372287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1" name="TextBox 10">
            <a:extLst>
              <a:ext uri="{FF2B5EF4-FFF2-40B4-BE49-F238E27FC236}">
                <a16:creationId xmlns:a16="http://schemas.microsoft.com/office/drawing/2014/main" id="{0B3BB6C7-47FE-4109-8527-2BCB19ADE5E0}"/>
              </a:ext>
            </a:extLst>
          </p:cNvPr>
          <p:cNvSpPr txBox="1"/>
          <p:nvPr/>
        </p:nvSpPr>
        <p:spPr>
          <a:xfrm>
            <a:off x="6546976" y="645324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21158901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hare, By Company</a:t>
            </a:r>
          </a:p>
        </p:txBody>
      </p:sp>
      <p:graphicFrame>
        <p:nvGraphicFramePr>
          <p:cNvPr id="6" name="Chart 5">
            <a:extLst>
              <a:ext uri="{FF2B5EF4-FFF2-40B4-BE49-F238E27FC236}">
                <a16:creationId xmlns:a16="http://schemas.microsoft.com/office/drawing/2014/main" id="{2F19E96E-40ED-4D61-97D8-EC23E9C26FC0}"/>
              </a:ext>
            </a:extLst>
          </p:cNvPr>
          <p:cNvGraphicFramePr/>
          <p:nvPr>
            <p:extLst>
              <p:ext uri="{D42A27DB-BD31-4B8C-83A1-F6EECF244321}">
                <p14:modId xmlns:p14="http://schemas.microsoft.com/office/powerpoint/2010/main" val="1159508661"/>
              </p:ext>
            </p:extLst>
          </p:nvPr>
        </p:nvGraphicFramePr>
        <p:xfrm>
          <a:off x="357146" y="1172805"/>
          <a:ext cx="6759271" cy="4061803"/>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a:extLst>
              <a:ext uri="{FF2B5EF4-FFF2-40B4-BE49-F238E27FC236}">
                <a16:creationId xmlns:a16="http://schemas.microsoft.com/office/drawing/2014/main" id="{147DDC35-A1C3-43AE-8CE0-BBAC8AE97FC0}"/>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7</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Company, By Value, 2020 (USD Million)</a:t>
            </a:r>
          </a:p>
        </p:txBody>
      </p:sp>
      <p:sp>
        <p:nvSpPr>
          <p:cNvPr id="8" name="TextBox 7">
            <a:extLst>
              <a:ext uri="{FF2B5EF4-FFF2-40B4-BE49-F238E27FC236}">
                <a16:creationId xmlns:a16="http://schemas.microsoft.com/office/drawing/2014/main" id="{DAC9C36E-973F-417A-9CBA-00EC241ECD8B}"/>
              </a:ext>
            </a:extLst>
          </p:cNvPr>
          <p:cNvSpPr txBox="1"/>
          <p:nvPr/>
        </p:nvSpPr>
        <p:spPr>
          <a:xfrm>
            <a:off x="5691691" y="4646198"/>
            <a:ext cx="3135572"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7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Others include </a:t>
            </a:r>
            <a:r>
              <a:rPr kumimoji="0" lang="en-IN" sz="7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Anona</a:t>
            </a:r>
            <a:r>
              <a:rPr kumimoji="0" lang="en-IN" sz="7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 Pte Ltd, Everest Chemical Technology Ltd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7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2" name="TextBox 1">
            <a:extLst>
              <a:ext uri="{FF2B5EF4-FFF2-40B4-BE49-F238E27FC236}">
                <a16:creationId xmlns:a16="http://schemas.microsoft.com/office/drawing/2014/main" id="{889837F7-32E6-4B05-8CB5-3AF10AE6A688}"/>
              </a:ext>
            </a:extLst>
          </p:cNvPr>
          <p:cNvSpPr txBox="1"/>
          <p:nvPr/>
        </p:nvSpPr>
        <p:spPr>
          <a:xfrm>
            <a:off x="214086" y="4953975"/>
            <a:ext cx="8382819" cy="1446230"/>
          </a:xfrm>
          <a:prstGeom prst="rect">
            <a:avLst/>
          </a:prstGeom>
          <a:solidFill>
            <a:schemeClr val="accent3">
              <a:lumMod val="60000"/>
              <a:lumOff val="40000"/>
            </a:schemeClr>
          </a:solidFill>
        </p:spPr>
        <p:txBody>
          <a:bodyPr wrap="square" rtlCol="0">
            <a:spAutoFit/>
          </a:bodyPr>
          <a:lstStyle/>
          <a:p>
            <a:pPr algn="just">
              <a:lnSpc>
                <a:spcPct val="150000"/>
              </a:lnSpc>
            </a:pPr>
            <a:r>
              <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rPr>
              <a:t>Top four companies accounted for 30.67% of the market share in 2020. The market is fragmented and import driven. Lam Seng Hang Indonesia PT is the leading market player with a market share of 11.74% in 2020, predominantly due to its strong supply chain management in South </a:t>
            </a:r>
            <a:r>
              <a:rPr lang="en-IN" sz="1000" dirty="0">
                <a:latin typeface="Verdana" panose="020B0604030504040204" pitchFamily="34" charset="0"/>
                <a:ea typeface="Verdana" panose="020B0604030504040204" pitchFamily="34" charset="0"/>
                <a:cs typeface="Verdana" panose="020B0604030504040204" pitchFamily="34" charset="0"/>
              </a:rPr>
              <a:t>E</a:t>
            </a:r>
            <a:r>
              <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rPr>
              <a:t>ast Asia market. The company has multiple offices and broader product portfolio that allow the company to capitalize on the market opportunities emanating in the </a:t>
            </a:r>
            <a:r>
              <a:rPr lang="en-IN" sz="1000" dirty="0">
                <a:latin typeface="Verdana" panose="020B0604030504040204" pitchFamily="34" charset="0"/>
                <a:ea typeface="Verdana" panose="020B0604030504040204" pitchFamily="34" charset="0"/>
                <a:cs typeface="Verdana" panose="020B0604030504040204" pitchFamily="34" charset="0"/>
              </a:rPr>
              <a:t>South East Asia region. </a:t>
            </a:r>
            <a:r>
              <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rPr>
              <a:t>The second largest market player is JL </a:t>
            </a:r>
            <a:r>
              <a:rPr lang="en-IN" sz="1000" dirty="0" err="1">
                <a:solidFill>
                  <a:schemeClr val="tx1"/>
                </a:solidFill>
                <a:latin typeface="Verdana" panose="020B0604030504040204" pitchFamily="34" charset="0"/>
                <a:ea typeface="Verdana" panose="020B0604030504040204" pitchFamily="34" charset="0"/>
                <a:cs typeface="Verdana" panose="020B0604030504040204" pitchFamily="34" charset="0"/>
              </a:rPr>
              <a:t>Chemtonic</a:t>
            </a:r>
            <a:r>
              <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rPr>
              <a:t> Co. Ltd which grabbed a market share of 7.41% in 2020, followed by </a:t>
            </a:r>
            <a:r>
              <a:rPr lang="en-IN" sz="1000" dirty="0" err="1">
                <a:solidFill>
                  <a:schemeClr val="tx1"/>
                </a:solidFill>
                <a:latin typeface="Verdana" panose="020B0604030504040204" pitchFamily="34" charset="0"/>
                <a:ea typeface="Verdana" panose="020B0604030504040204" pitchFamily="34" charset="0"/>
                <a:cs typeface="Verdana" panose="020B0604030504040204" pitchFamily="34" charset="0"/>
              </a:rPr>
              <a:t>Chemtronic</a:t>
            </a:r>
            <a:r>
              <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rPr>
              <a:t> Technology (Thailand) </a:t>
            </a:r>
            <a:r>
              <a:rPr lang="en-IN" sz="1000" dirty="0" err="1">
                <a:solidFill>
                  <a:schemeClr val="tx1"/>
                </a:solidFill>
                <a:latin typeface="Verdana" panose="020B0604030504040204" pitchFamily="34" charset="0"/>
                <a:ea typeface="Verdana" panose="020B0604030504040204" pitchFamily="34" charset="0"/>
                <a:cs typeface="Verdana" panose="020B0604030504040204" pitchFamily="34" charset="0"/>
              </a:rPr>
              <a:t>Co.Ltd</a:t>
            </a:r>
            <a:r>
              <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rPr>
              <a:t>. and </a:t>
            </a:r>
            <a:r>
              <a:rPr lang="en-IN" sz="1000" dirty="0" err="1">
                <a:solidFill>
                  <a:schemeClr val="tx1"/>
                </a:solidFill>
                <a:latin typeface="Verdana" panose="020B0604030504040204" pitchFamily="34" charset="0"/>
                <a:ea typeface="Verdana" panose="020B0604030504040204" pitchFamily="34" charset="0"/>
                <a:cs typeface="Verdana" panose="020B0604030504040204" pitchFamily="34" charset="0"/>
              </a:rPr>
              <a:t>Fajar</a:t>
            </a:r>
            <a:r>
              <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n-IN" sz="1000" dirty="0" err="1">
                <a:solidFill>
                  <a:schemeClr val="tx1"/>
                </a:solidFill>
                <a:latin typeface="Verdana" panose="020B0604030504040204" pitchFamily="34" charset="0"/>
                <a:ea typeface="Verdana" panose="020B0604030504040204" pitchFamily="34" charset="0"/>
                <a:cs typeface="Verdana" panose="020B0604030504040204" pitchFamily="34" charset="0"/>
              </a:rPr>
              <a:t>Zippindo</a:t>
            </a:r>
            <a:r>
              <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rPr>
              <a:t>. PT, with shares of 6.57% and 4.95% in the same year, respectively. </a:t>
            </a:r>
            <a:endParaRPr lang="en-US" sz="10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8775648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BDB2B55-1866-4851-B000-02E94297C30A}"/>
              </a:ext>
            </a:extLst>
          </p:cNvPr>
          <p:cNvGrpSpPr/>
          <p:nvPr/>
        </p:nvGrpSpPr>
        <p:grpSpPr>
          <a:xfrm>
            <a:off x="1552131" y="1513934"/>
            <a:ext cx="6723582" cy="4222101"/>
            <a:chOff x="10362541" y="-2262672"/>
            <a:chExt cx="7471928" cy="4782273"/>
          </a:xfrm>
        </p:grpSpPr>
        <p:sp>
          <p:nvSpPr>
            <p:cNvPr id="3" name="Rectangle 2">
              <a:extLst>
                <a:ext uri="{FF2B5EF4-FFF2-40B4-BE49-F238E27FC236}">
                  <a16:creationId xmlns:a16="http://schemas.microsoft.com/office/drawing/2014/main" id="{54394472-4A5D-4CDE-9993-F52ABA050D5A}"/>
                </a:ext>
              </a:extLst>
            </p:cNvPr>
            <p:cNvSpPr/>
            <p:nvPr/>
          </p:nvSpPr>
          <p:spPr>
            <a:xfrm>
              <a:off x="10377711" y="-2262672"/>
              <a:ext cx="2992423" cy="126665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4" name="Rectangle 3">
              <a:extLst>
                <a:ext uri="{FF2B5EF4-FFF2-40B4-BE49-F238E27FC236}">
                  <a16:creationId xmlns:a16="http://schemas.microsoft.com/office/drawing/2014/main" id="{60EC4BA1-AED7-490A-ABED-A4589888EF7A}"/>
                </a:ext>
              </a:extLst>
            </p:cNvPr>
            <p:cNvSpPr/>
            <p:nvPr/>
          </p:nvSpPr>
          <p:spPr>
            <a:xfrm>
              <a:off x="13384933" y="-2262670"/>
              <a:ext cx="4449536" cy="1274670"/>
            </a:xfrm>
            <a:prstGeom prst="rect">
              <a:avLst/>
            </a:prstGeom>
            <a:solidFill>
              <a:srgbClr val="E2F1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5" name="Rectangle 4">
              <a:extLst>
                <a:ext uri="{FF2B5EF4-FFF2-40B4-BE49-F238E27FC236}">
                  <a16:creationId xmlns:a16="http://schemas.microsoft.com/office/drawing/2014/main" id="{BD7607E0-0BA4-42D8-AE53-E585616B7C5D}"/>
                </a:ext>
              </a:extLst>
            </p:cNvPr>
            <p:cNvSpPr/>
            <p:nvPr/>
          </p:nvSpPr>
          <p:spPr>
            <a:xfrm>
              <a:off x="10362541" y="-954854"/>
              <a:ext cx="3037091" cy="347445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6" name="Rectangle 5">
              <a:extLst>
                <a:ext uri="{FF2B5EF4-FFF2-40B4-BE49-F238E27FC236}">
                  <a16:creationId xmlns:a16="http://schemas.microsoft.com/office/drawing/2014/main" id="{D3804755-86C1-4ED9-89B0-271CA956B0C7}"/>
                </a:ext>
              </a:extLst>
            </p:cNvPr>
            <p:cNvSpPr/>
            <p:nvPr/>
          </p:nvSpPr>
          <p:spPr>
            <a:xfrm>
              <a:off x="13414429" y="-988000"/>
              <a:ext cx="4415018" cy="35076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grpSp>
      <p:graphicFrame>
        <p:nvGraphicFramePr>
          <p:cNvPr id="7" name="Chart 6">
            <a:extLst>
              <a:ext uri="{FF2B5EF4-FFF2-40B4-BE49-F238E27FC236}">
                <a16:creationId xmlns:a16="http://schemas.microsoft.com/office/drawing/2014/main" id="{B3D4ED2D-46CF-493A-9E15-510C85C7FBE3}"/>
              </a:ext>
            </a:extLst>
          </p:cNvPr>
          <p:cNvGraphicFramePr/>
          <p:nvPr>
            <p:extLst>
              <p:ext uri="{D42A27DB-BD31-4B8C-83A1-F6EECF244321}">
                <p14:modId xmlns:p14="http://schemas.microsoft.com/office/powerpoint/2010/main" val="282086082"/>
              </p:ext>
            </p:extLst>
          </p:nvPr>
        </p:nvGraphicFramePr>
        <p:xfrm>
          <a:off x="1110195" y="1265569"/>
          <a:ext cx="7454094" cy="4641572"/>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0013870B-AB82-497B-A739-133BED2E0711}"/>
              </a:ext>
            </a:extLst>
          </p:cNvPr>
          <p:cNvSpPr txBox="1"/>
          <p:nvPr/>
        </p:nvSpPr>
        <p:spPr>
          <a:xfrm rot="5400000">
            <a:off x="7945118" y="239519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Ideal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High Growth-High Market Size)</a:t>
            </a:r>
          </a:p>
        </p:txBody>
      </p:sp>
      <p:sp>
        <p:nvSpPr>
          <p:cNvPr id="9" name="TextBox 8">
            <a:extLst>
              <a:ext uri="{FF2B5EF4-FFF2-40B4-BE49-F238E27FC236}">
                <a16:creationId xmlns:a16="http://schemas.microsoft.com/office/drawing/2014/main" id="{C5DD40CC-3B87-446F-B739-53CE46EB1A73}"/>
              </a:ext>
            </a:extLst>
          </p:cNvPr>
          <p:cNvSpPr txBox="1"/>
          <p:nvPr/>
        </p:nvSpPr>
        <p:spPr>
          <a:xfrm rot="16200000">
            <a:off x="-124962" y="3577067"/>
            <a:ext cx="2378728" cy="218201"/>
          </a:xfrm>
          <a:prstGeom prst="rect">
            <a:avLst/>
          </a:prstGeom>
          <a:noFill/>
        </p:spPr>
        <p:txBody>
          <a:bodyPr wrap="square" rtlCol="0">
            <a:spAutoFit/>
          </a:bodyPr>
          <a:lstStyle/>
          <a:p>
            <a:pPr algn="ctr" defTabSz="457227">
              <a:defRPr/>
            </a:pPr>
            <a:r>
              <a:rPr lang="en-US" sz="818" b="1" dirty="0">
                <a:solidFill>
                  <a:prstClr val="black"/>
                </a:solidFill>
                <a:latin typeface="Verdana" panose="020B0604030504040204" pitchFamily="34" charset="0"/>
                <a:ea typeface="Verdana" panose="020B0604030504040204" pitchFamily="34" charset="0"/>
                <a:cs typeface="Verdana" panose="020B0604030504040204" pitchFamily="34" charset="0"/>
              </a:rPr>
              <a:t>CAGR (2021E-2026F)</a:t>
            </a:r>
          </a:p>
        </p:txBody>
      </p:sp>
      <p:cxnSp>
        <p:nvCxnSpPr>
          <p:cNvPr id="10" name="Straight Connector 9">
            <a:extLst>
              <a:ext uri="{FF2B5EF4-FFF2-40B4-BE49-F238E27FC236}">
                <a16:creationId xmlns:a16="http://schemas.microsoft.com/office/drawing/2014/main" id="{8AF7D8D8-797E-4F0A-BD93-927686DDB570}"/>
              </a:ext>
            </a:extLst>
          </p:cNvPr>
          <p:cNvCxnSpPr>
            <a:cxnSpLocks/>
          </p:cNvCxnSpPr>
          <p:nvPr/>
        </p:nvCxnSpPr>
        <p:spPr>
          <a:xfrm flipV="1">
            <a:off x="1552131" y="2632221"/>
            <a:ext cx="6671510" cy="36340"/>
          </a:xfrm>
          <a:prstGeom prst="line">
            <a:avLst/>
          </a:prstGeom>
          <a:ln w="3175">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70852C6-DD7C-4F2D-BF43-CCBE4A26FD6D}"/>
              </a:ext>
            </a:extLst>
          </p:cNvPr>
          <p:cNvCxnSpPr>
            <a:cxnSpLocks/>
          </p:cNvCxnSpPr>
          <p:nvPr/>
        </p:nvCxnSpPr>
        <p:spPr>
          <a:xfrm flipH="1" flipV="1">
            <a:off x="4238100" y="1515331"/>
            <a:ext cx="23472" cy="4211208"/>
          </a:xfrm>
          <a:prstGeom prst="line">
            <a:avLst/>
          </a:prstGeom>
          <a:ln w="3175">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D72EAB32-984B-4274-9932-3B8B7B2E408C}"/>
              </a:ext>
            </a:extLst>
          </p:cNvPr>
          <p:cNvSpPr/>
          <p:nvPr/>
        </p:nvSpPr>
        <p:spPr>
          <a:xfrm>
            <a:off x="67683" y="6079084"/>
            <a:ext cx="4190818" cy="176202"/>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sz="545" i="1" dirty="0">
                <a:solidFill>
                  <a:prstClr val="black"/>
                </a:solidFill>
                <a:latin typeface="Verdana" panose="020B0604030504040204" pitchFamily="34" charset="0"/>
                <a:ea typeface="Verdana" panose="020B0604030504040204" pitchFamily="34" charset="0"/>
                <a:cs typeface="Verdana" panose="020B0604030504040204" pitchFamily="34" charset="0"/>
              </a:rPr>
              <a:t>Source: Secondary Research, Expert Interviews, and ChemAnalyst Analysis</a:t>
            </a:r>
          </a:p>
        </p:txBody>
      </p:sp>
      <p:sp>
        <p:nvSpPr>
          <p:cNvPr id="13" name="TextBox 12">
            <a:extLst>
              <a:ext uri="{FF2B5EF4-FFF2-40B4-BE49-F238E27FC236}">
                <a16:creationId xmlns:a16="http://schemas.microsoft.com/office/drawing/2014/main" id="{F2348954-B486-4C90-B82A-FD46F0C5BCB4}"/>
              </a:ext>
            </a:extLst>
          </p:cNvPr>
          <p:cNvSpPr txBox="1"/>
          <p:nvPr/>
        </p:nvSpPr>
        <p:spPr>
          <a:xfrm rot="16200000">
            <a:off x="640680" y="202931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Growing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High Growth-Low Market Size)</a:t>
            </a:r>
          </a:p>
        </p:txBody>
      </p:sp>
      <p:sp>
        <p:nvSpPr>
          <p:cNvPr id="14" name="TextBox 13">
            <a:extLst>
              <a:ext uri="{FF2B5EF4-FFF2-40B4-BE49-F238E27FC236}">
                <a16:creationId xmlns:a16="http://schemas.microsoft.com/office/drawing/2014/main" id="{F2B57A55-809D-421C-989E-BAF66DB9FD43}"/>
              </a:ext>
            </a:extLst>
          </p:cNvPr>
          <p:cNvSpPr txBox="1"/>
          <p:nvPr/>
        </p:nvSpPr>
        <p:spPr>
          <a:xfrm rot="16200000">
            <a:off x="640680" y="4975601"/>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Common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Low Growth-Low Market Size)</a:t>
            </a:r>
          </a:p>
        </p:txBody>
      </p:sp>
      <p:sp>
        <p:nvSpPr>
          <p:cNvPr id="15" name="TextBox 14">
            <a:extLst>
              <a:ext uri="{FF2B5EF4-FFF2-40B4-BE49-F238E27FC236}">
                <a16:creationId xmlns:a16="http://schemas.microsoft.com/office/drawing/2014/main" id="{F9F725B8-4E01-4481-8A0E-BA8833A98CFC}"/>
              </a:ext>
            </a:extLst>
          </p:cNvPr>
          <p:cNvSpPr txBox="1"/>
          <p:nvPr/>
        </p:nvSpPr>
        <p:spPr>
          <a:xfrm rot="5400000">
            <a:off x="7975277" y="470879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Big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Low Growth-High Market Size)</a:t>
            </a:r>
          </a:p>
        </p:txBody>
      </p:sp>
      <p:sp>
        <p:nvSpPr>
          <p:cNvPr id="16" name="Rectangle 15">
            <a:extLst>
              <a:ext uri="{FF2B5EF4-FFF2-40B4-BE49-F238E27FC236}">
                <a16:creationId xmlns:a16="http://schemas.microsoft.com/office/drawing/2014/main" id="{99A80A8C-5446-41A3-B2CA-4776C4F78909}"/>
              </a:ext>
            </a:extLst>
          </p:cNvPr>
          <p:cNvSpPr/>
          <p:nvPr/>
        </p:nvSpPr>
        <p:spPr>
          <a:xfrm rot="16200000">
            <a:off x="-302852" y="3479322"/>
            <a:ext cx="1512451" cy="3097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r>
              <a:rPr lang="en-IN" sz="1636" dirty="0">
                <a:solidFill>
                  <a:prstClr val="black">
                    <a:lumMod val="85000"/>
                    <a:lumOff val="15000"/>
                  </a:prstClr>
                </a:solidFill>
                <a:latin typeface="Calibri" panose="020F0502020204030204"/>
              </a:rPr>
              <a:t>2021E-2026F</a:t>
            </a:r>
          </a:p>
        </p:txBody>
      </p:sp>
      <p:sp>
        <p:nvSpPr>
          <p:cNvPr id="17" name="Rectangle 16">
            <a:extLst>
              <a:ext uri="{FF2B5EF4-FFF2-40B4-BE49-F238E27FC236}">
                <a16:creationId xmlns:a16="http://schemas.microsoft.com/office/drawing/2014/main" id="{954ACAB8-7922-4504-B511-88CD79220DD7}"/>
              </a:ext>
            </a:extLst>
          </p:cNvPr>
          <p:cNvSpPr/>
          <p:nvPr/>
        </p:nvSpPr>
        <p:spPr>
          <a:xfrm>
            <a:off x="5896416" y="6080914"/>
            <a:ext cx="2141125" cy="3097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r>
              <a:rPr lang="en-IN" sz="909" dirty="0">
                <a:solidFill>
                  <a:prstClr val="black">
                    <a:lumMod val="85000"/>
                    <a:lumOff val="15000"/>
                  </a:prstClr>
                </a:solidFill>
                <a:latin typeface="Calibri" panose="020F0502020204030204"/>
              </a:rPr>
              <a:t>Market size represents 2020 as base year </a:t>
            </a:r>
          </a:p>
        </p:txBody>
      </p:sp>
      <p:sp>
        <p:nvSpPr>
          <p:cNvPr id="18" name="TextBox 17">
            <a:extLst>
              <a:ext uri="{FF2B5EF4-FFF2-40B4-BE49-F238E27FC236}">
                <a16:creationId xmlns:a16="http://schemas.microsoft.com/office/drawing/2014/main" id="{AF03D17B-7016-4471-891E-E8366B1E41A3}"/>
              </a:ext>
            </a:extLst>
          </p:cNvPr>
          <p:cNvSpPr txBox="1"/>
          <p:nvPr/>
        </p:nvSpPr>
        <p:spPr>
          <a:xfrm>
            <a:off x="2978752" y="1521712"/>
            <a:ext cx="1246033" cy="316112"/>
          </a:xfrm>
          <a:prstGeom prst="rect">
            <a:avLst/>
          </a:prstGeom>
          <a:solidFill>
            <a:schemeClr val="bg1"/>
          </a:solidFill>
        </p:spPr>
        <p:txBody>
          <a:bodyPr wrap="square" rtlCol="0">
            <a:spAutoFit/>
          </a:bodyPr>
          <a:lstStyle/>
          <a:p>
            <a:pPr algn="ctr" defTabSz="457227">
              <a:defRPr/>
            </a:pPr>
            <a:r>
              <a:rPr lang="en-US" sz="727" b="1" dirty="0">
                <a:latin typeface="Verdana" panose="020B0604030504040204" pitchFamily="34" charset="0"/>
                <a:ea typeface="Verdana" panose="020B0604030504040204" pitchFamily="34" charset="0"/>
                <a:cs typeface="Verdana" panose="020B0604030504040204" pitchFamily="34" charset="0"/>
              </a:rPr>
              <a:t>Market Size @ USD17.26 Million</a:t>
            </a:r>
          </a:p>
        </p:txBody>
      </p:sp>
      <p:sp>
        <p:nvSpPr>
          <p:cNvPr id="19" name="TextBox 18">
            <a:extLst>
              <a:ext uri="{FF2B5EF4-FFF2-40B4-BE49-F238E27FC236}">
                <a16:creationId xmlns:a16="http://schemas.microsoft.com/office/drawing/2014/main" id="{12123D8A-CF98-4FB8-93F3-0C252B3DB95D}"/>
              </a:ext>
            </a:extLst>
          </p:cNvPr>
          <p:cNvSpPr txBox="1"/>
          <p:nvPr/>
        </p:nvSpPr>
        <p:spPr>
          <a:xfrm>
            <a:off x="7091576" y="2149412"/>
            <a:ext cx="1132065" cy="316112"/>
          </a:xfrm>
          <a:prstGeom prst="rect">
            <a:avLst/>
          </a:prstGeom>
          <a:solidFill>
            <a:schemeClr val="bg1"/>
          </a:solidFill>
        </p:spPr>
        <p:txBody>
          <a:bodyPr wrap="square" rtlCol="0">
            <a:spAutoFit/>
          </a:bodyPr>
          <a:lstStyle/>
          <a:p>
            <a:pPr algn="ctr" defTabSz="457227">
              <a:defRPr/>
            </a:pPr>
            <a:r>
              <a:rPr lang="en-US" sz="727" b="1" dirty="0">
                <a:latin typeface="Verdana" panose="020B0604030504040204" pitchFamily="34" charset="0"/>
                <a:ea typeface="Verdana" panose="020B0604030504040204" pitchFamily="34" charset="0"/>
                <a:cs typeface="Verdana" panose="020B0604030504040204" pitchFamily="34" charset="0"/>
              </a:rPr>
              <a:t>Overall Market Growth @ 5.81%</a:t>
            </a:r>
          </a:p>
        </p:txBody>
      </p:sp>
      <p:sp>
        <p:nvSpPr>
          <p:cNvPr id="20" name="TextBox 19">
            <a:extLst>
              <a:ext uri="{FF2B5EF4-FFF2-40B4-BE49-F238E27FC236}">
                <a16:creationId xmlns:a16="http://schemas.microsoft.com/office/drawing/2014/main" id="{5889ED52-0C81-49AE-9E43-92D61B5E25FD}"/>
              </a:ext>
            </a:extLst>
          </p:cNvPr>
          <p:cNvSpPr txBox="1"/>
          <p:nvPr/>
        </p:nvSpPr>
        <p:spPr>
          <a:xfrm>
            <a:off x="3581618" y="5933645"/>
            <a:ext cx="2378728" cy="218201"/>
          </a:xfrm>
          <a:prstGeom prst="rect">
            <a:avLst/>
          </a:prstGeom>
          <a:noFill/>
        </p:spPr>
        <p:txBody>
          <a:bodyPr wrap="square" rtlCol="0">
            <a:spAutoFit/>
          </a:bodyPr>
          <a:lstStyle/>
          <a:p>
            <a:pPr algn="ctr" defTabSz="457227">
              <a:defRPr/>
            </a:pPr>
            <a:r>
              <a:rPr lang="en-US" sz="818" b="1" dirty="0">
                <a:solidFill>
                  <a:prstClr val="black"/>
                </a:solidFill>
                <a:latin typeface="Verdana" panose="020B0604030504040204" pitchFamily="34" charset="0"/>
                <a:ea typeface="Verdana" panose="020B0604030504040204" pitchFamily="34" charset="0"/>
                <a:cs typeface="Verdana" panose="020B0604030504040204" pitchFamily="34" charset="0"/>
              </a:rPr>
              <a:t>Market Size (USD Million)</a:t>
            </a:r>
          </a:p>
        </p:txBody>
      </p:sp>
      <p:sp>
        <p:nvSpPr>
          <p:cNvPr id="40" name="Title 1">
            <a:extLst>
              <a:ext uri="{FF2B5EF4-FFF2-40B4-BE49-F238E27FC236}">
                <a16:creationId xmlns:a16="http://schemas.microsoft.com/office/drawing/2014/main" id="{1BDAA325-370B-4A04-BB05-4DE5CEDA76D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Map, By Country</a:t>
            </a:r>
          </a:p>
        </p:txBody>
      </p:sp>
      <p:sp>
        <p:nvSpPr>
          <p:cNvPr id="41" name="TextBox 40">
            <a:extLst>
              <a:ext uri="{FF2B5EF4-FFF2-40B4-BE49-F238E27FC236}">
                <a16:creationId xmlns:a16="http://schemas.microsoft.com/office/drawing/2014/main" id="{A22E34B1-400C-48A0-8E75-2410F6063D1D}"/>
              </a:ext>
            </a:extLst>
          </p:cNvPr>
          <p:cNvSpPr txBox="1"/>
          <p:nvPr/>
        </p:nvSpPr>
        <p:spPr>
          <a:xfrm>
            <a:off x="106874" y="701150"/>
            <a:ext cx="9104421" cy="522900"/>
          </a:xfrm>
          <a:prstGeom prst="rect">
            <a:avLst/>
          </a:prstGeom>
          <a:noFill/>
        </p:spPr>
        <p:txBody>
          <a:bodyPr wrap="square" rtlCol="0">
            <a:spAutoFit/>
          </a:bodyPr>
          <a:lstStyle>
            <a:defPPr>
              <a:defRPr lang="en-US"/>
            </a:defPPr>
            <a:lvl1pPr lvl="0">
              <a:lnSpc>
                <a:spcPct val="150000"/>
              </a:lnSpc>
              <a:defRPr kumimoji="0" sz="1000" b="1" i="0" u="none" strike="noStrike" cap="none" spc="0" normalizeH="0" baseline="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Figure 8:</a:t>
            </a:r>
            <a:r>
              <a:rPr lang="en-US" dirty="0">
                <a:solidFill>
                  <a:schemeClr val="tx1"/>
                </a:solidFill>
              </a:rPr>
              <a:t> South-East Asia Copper Sulphate Market Map, By Country, Market Size (USD Million) &amp; Growth Rate (%), 2021E-2026F</a:t>
            </a:r>
          </a:p>
        </p:txBody>
      </p:sp>
    </p:spTree>
    <p:extLst>
      <p:ext uri="{BB962C8B-B14F-4D97-AF65-F5344CB8AC3E}">
        <p14:creationId xmlns:p14="http://schemas.microsoft.com/office/powerpoint/2010/main" val="35623134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152400" y="193795"/>
            <a:ext cx="7863840" cy="457200"/>
          </a:xfrm>
          <a:prstGeom prst="rect">
            <a:avLst/>
          </a:prstGeom>
        </p:spPr>
        <p:txBody>
          <a:bodyPr>
            <a:normAutofit/>
          </a:bodyPr>
          <a:lstStyle/>
          <a:p>
            <a:pPr marL="0" indent="0">
              <a:buNone/>
            </a:pPr>
            <a:r>
              <a:rPr lang="en-US" sz="1600" b="1" spc="0" dirty="0">
                <a:solidFill>
                  <a:schemeClr val="tx1">
                    <a:lumMod val="85000"/>
                    <a:lumOff val="15000"/>
                  </a:schemeClr>
                </a:solidFill>
                <a:latin typeface="Montserrat" panose="02000505000000020004" pitchFamily="2" charset="0"/>
              </a:rPr>
              <a:t>Table of Contents</a:t>
            </a:r>
          </a:p>
        </p:txBody>
      </p:sp>
      <p:graphicFrame>
        <p:nvGraphicFramePr>
          <p:cNvPr id="6" name="Table 5">
            <a:extLst>
              <a:ext uri="{FF2B5EF4-FFF2-40B4-BE49-F238E27FC236}">
                <a16:creationId xmlns:a16="http://schemas.microsoft.com/office/drawing/2014/main" id="{B447EB88-FF2A-4CEF-92A1-1C1B5802DE79}"/>
              </a:ext>
            </a:extLst>
          </p:cNvPr>
          <p:cNvGraphicFramePr>
            <a:graphicFrameLocks noGrp="1"/>
          </p:cNvGraphicFramePr>
          <p:nvPr>
            <p:extLst>
              <p:ext uri="{D42A27DB-BD31-4B8C-83A1-F6EECF244321}">
                <p14:modId xmlns:p14="http://schemas.microsoft.com/office/powerpoint/2010/main" val="2066811085"/>
              </p:ext>
            </p:extLst>
          </p:nvPr>
        </p:nvGraphicFramePr>
        <p:xfrm>
          <a:off x="152400" y="756172"/>
          <a:ext cx="8518075" cy="5925863"/>
        </p:xfrm>
        <a:graphic>
          <a:graphicData uri="http://schemas.openxmlformats.org/drawingml/2006/table">
            <a:tbl>
              <a:tblPr firstRow="1" bandRow="1">
                <a:tableStyleId>{5C22544A-7EE6-4342-B048-85BDC9FD1C3A}</a:tableStyleId>
              </a:tblPr>
              <a:tblGrid>
                <a:gridCol w="685800">
                  <a:extLst>
                    <a:ext uri="{9D8B030D-6E8A-4147-A177-3AD203B41FA5}">
                      <a16:colId xmlns:a16="http://schemas.microsoft.com/office/drawing/2014/main" val="20000"/>
                    </a:ext>
                  </a:extLst>
                </a:gridCol>
                <a:gridCol w="812398">
                  <a:extLst>
                    <a:ext uri="{9D8B030D-6E8A-4147-A177-3AD203B41FA5}">
                      <a16:colId xmlns:a16="http://schemas.microsoft.com/office/drawing/2014/main" val="20001"/>
                    </a:ext>
                  </a:extLst>
                </a:gridCol>
                <a:gridCol w="710129">
                  <a:extLst>
                    <a:ext uri="{9D8B030D-6E8A-4147-A177-3AD203B41FA5}">
                      <a16:colId xmlns:a16="http://schemas.microsoft.com/office/drawing/2014/main" val="20002"/>
                    </a:ext>
                  </a:extLst>
                </a:gridCol>
                <a:gridCol w="5405047">
                  <a:extLst>
                    <a:ext uri="{9D8B030D-6E8A-4147-A177-3AD203B41FA5}">
                      <a16:colId xmlns:a16="http://schemas.microsoft.com/office/drawing/2014/main" val="20003"/>
                    </a:ext>
                  </a:extLst>
                </a:gridCol>
                <a:gridCol w="904701">
                  <a:extLst>
                    <a:ext uri="{9D8B030D-6E8A-4147-A177-3AD203B41FA5}">
                      <a16:colId xmlns:a16="http://schemas.microsoft.com/office/drawing/2014/main" val="540729773"/>
                    </a:ext>
                  </a:extLst>
                </a:gridCol>
              </a:tblGrid>
              <a:tr h="208089">
                <a:tc>
                  <a:txBody>
                    <a:bodyPr/>
                    <a:lstStyle/>
                    <a:p>
                      <a:pPr algn="ctr">
                        <a:lnSpc>
                          <a:spcPts val="6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S. No.</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gridSpan="3">
                  <a:txBody>
                    <a:bodyPr/>
                    <a:lstStyle/>
                    <a:p>
                      <a:pPr algn="ctr">
                        <a:lnSpc>
                          <a:spcPts val="600"/>
                        </a:lnSpc>
                      </a:pPr>
                      <a:r>
                        <a:rPr lang="en-IN" sz="900" dirty="0">
                          <a:solidFill>
                            <a:schemeClr val="tx1"/>
                          </a:solidFill>
                          <a:latin typeface="Verdana" panose="020B0604030504040204" pitchFamily="34" charset="0"/>
                          <a:ea typeface="Verdana" panose="020B0604030504040204" pitchFamily="34" charset="0"/>
                          <a:cs typeface="Verdana" panose="020B0604030504040204" pitchFamily="34" charset="0"/>
                        </a:rPr>
                        <a:t>Content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hMerge="1">
                  <a:txBody>
                    <a:bodyPr/>
                    <a:lstStyle/>
                    <a:p>
                      <a:endParaRPr lang="en-IN"/>
                    </a:p>
                  </a:txBody>
                  <a:tcPr/>
                </a:tc>
                <a:tc hMerge="1">
                  <a:txBody>
                    <a:bodyPr/>
                    <a:lstStyle/>
                    <a:p>
                      <a:endParaRPr lang="en-IN"/>
                    </a:p>
                  </a:txBody>
                  <a:tcPr/>
                </a:tc>
                <a:tc>
                  <a:txBody>
                    <a:bodyPr/>
                    <a:lstStyle/>
                    <a:p>
                      <a:pPr algn="ctr">
                        <a:lnSpc>
                          <a:spcPts val="600"/>
                        </a:lnSpc>
                      </a:pPr>
                      <a:r>
                        <a:rPr lang="en-IN" sz="900" dirty="0">
                          <a:solidFill>
                            <a:schemeClr val="tx1"/>
                          </a:solidFill>
                          <a:latin typeface="Verdana" panose="020B0604030504040204" pitchFamily="34" charset="0"/>
                          <a:ea typeface="Verdana" panose="020B0604030504040204" pitchFamily="34" charset="0"/>
                          <a:cs typeface="Verdana" panose="020B0604030504040204" pitchFamily="34" charset="0"/>
                        </a:rPr>
                        <a:t>Page No.</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extLst>
                  <a:ext uri="{0D108BD9-81ED-4DB2-BD59-A6C34878D82A}">
                    <a16:rowId xmlns:a16="http://schemas.microsoft.com/office/drawing/2014/main" val="10000"/>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7.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ize &amp; Forecast (Demand Volum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048805"/>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7.1.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Value &amp; Volum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2232785"/>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7.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hare &amp; Forecast </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9393768"/>
                  </a:ext>
                </a:extLst>
              </a:tr>
              <a:tr h="22802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7.2.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Grad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endPar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65541010"/>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7.2.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End Us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7132004"/>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7.3.</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pper Sulphate Trade Dynamic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3687758"/>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7.4.</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mpetition Outlook</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4780314"/>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8.</a:t>
                      </a: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l"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Malaysia Copper Sulphate Market Outlook</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3839378"/>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8.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ize &amp; Forecast</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3805021"/>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8.1.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Value &amp; Volum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2227397"/>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8.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hare &amp; Forecast </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845237"/>
                  </a:ext>
                </a:extLst>
              </a:tr>
              <a:tr h="22802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8.2.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Grad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endPar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0080580"/>
                  </a:ext>
                </a:extLst>
              </a:tr>
              <a:tr h="22802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8.2.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End Us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endPar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0885674"/>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8.3.</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pper Sulphate Trade Dynamic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7452232"/>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8.4.</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mpetition Outlook</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813252"/>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9.</a:t>
                      </a: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l"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Vietnam Copper Sulphate Market Outlook</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2776223"/>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9.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ize &amp; Forecast (Demand Volum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6059855"/>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9.1.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Value &amp; Volum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4654173"/>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9.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hare &amp; Forecast </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0793980"/>
                  </a:ext>
                </a:extLst>
              </a:tr>
              <a:tr h="22802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9.2.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Grad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5548771"/>
                  </a:ext>
                </a:extLst>
              </a:tr>
              <a:tr h="22802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9.2.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End Us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1322838"/>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9.3.</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pper Sulphate Trade Dynamic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0426487"/>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9.4.</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mpetition Outlook</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6632637"/>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0.</a:t>
                      </a: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l"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 Philippines Copper Sulphate Market Outlook</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7650873"/>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0.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ize &amp; Forecast</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364388"/>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0.1.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Value &amp; Volum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0350939"/>
                  </a:ext>
                </a:extLst>
              </a:tr>
            </a:tbl>
          </a:graphicData>
        </a:graphic>
      </p:graphicFrame>
    </p:spTree>
    <p:extLst>
      <p:ext uri="{BB962C8B-B14F-4D97-AF65-F5344CB8AC3E}">
        <p14:creationId xmlns:p14="http://schemas.microsoft.com/office/powerpoint/2010/main" val="22231090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BDB2B55-1866-4851-B000-02E94297C30A}"/>
              </a:ext>
            </a:extLst>
          </p:cNvPr>
          <p:cNvGrpSpPr/>
          <p:nvPr/>
        </p:nvGrpSpPr>
        <p:grpSpPr>
          <a:xfrm>
            <a:off x="1552131" y="1513934"/>
            <a:ext cx="6723582" cy="4222101"/>
            <a:chOff x="10362541" y="-2262672"/>
            <a:chExt cx="7471928" cy="4782273"/>
          </a:xfrm>
        </p:grpSpPr>
        <p:sp>
          <p:nvSpPr>
            <p:cNvPr id="3" name="Rectangle 2">
              <a:extLst>
                <a:ext uri="{FF2B5EF4-FFF2-40B4-BE49-F238E27FC236}">
                  <a16:creationId xmlns:a16="http://schemas.microsoft.com/office/drawing/2014/main" id="{54394472-4A5D-4CDE-9993-F52ABA050D5A}"/>
                </a:ext>
              </a:extLst>
            </p:cNvPr>
            <p:cNvSpPr/>
            <p:nvPr/>
          </p:nvSpPr>
          <p:spPr>
            <a:xfrm>
              <a:off x="10377711" y="-2262672"/>
              <a:ext cx="2171111" cy="94624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4" name="Rectangle 3">
              <a:extLst>
                <a:ext uri="{FF2B5EF4-FFF2-40B4-BE49-F238E27FC236}">
                  <a16:creationId xmlns:a16="http://schemas.microsoft.com/office/drawing/2014/main" id="{60EC4BA1-AED7-490A-ABED-A4589888EF7A}"/>
                </a:ext>
              </a:extLst>
            </p:cNvPr>
            <p:cNvSpPr/>
            <p:nvPr/>
          </p:nvSpPr>
          <p:spPr>
            <a:xfrm>
              <a:off x="12574908" y="-2262669"/>
              <a:ext cx="5259561" cy="919253"/>
            </a:xfrm>
            <a:prstGeom prst="rect">
              <a:avLst/>
            </a:prstGeom>
            <a:solidFill>
              <a:srgbClr val="E2F1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5" name="Rectangle 4">
              <a:extLst>
                <a:ext uri="{FF2B5EF4-FFF2-40B4-BE49-F238E27FC236}">
                  <a16:creationId xmlns:a16="http://schemas.microsoft.com/office/drawing/2014/main" id="{BD7607E0-0BA4-42D8-AE53-E585616B7C5D}"/>
                </a:ext>
              </a:extLst>
            </p:cNvPr>
            <p:cNvSpPr/>
            <p:nvPr/>
          </p:nvSpPr>
          <p:spPr>
            <a:xfrm>
              <a:off x="10362541" y="-1295636"/>
              <a:ext cx="2171111" cy="381523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6" name="Rectangle 5">
              <a:extLst>
                <a:ext uri="{FF2B5EF4-FFF2-40B4-BE49-F238E27FC236}">
                  <a16:creationId xmlns:a16="http://schemas.microsoft.com/office/drawing/2014/main" id="{D3804755-86C1-4ED9-89B0-271CA956B0C7}"/>
                </a:ext>
              </a:extLst>
            </p:cNvPr>
            <p:cNvSpPr/>
            <p:nvPr/>
          </p:nvSpPr>
          <p:spPr>
            <a:xfrm>
              <a:off x="12600994" y="-1316424"/>
              <a:ext cx="5228453" cy="383602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grpSp>
      <p:graphicFrame>
        <p:nvGraphicFramePr>
          <p:cNvPr id="7" name="Chart 6">
            <a:extLst>
              <a:ext uri="{FF2B5EF4-FFF2-40B4-BE49-F238E27FC236}">
                <a16:creationId xmlns:a16="http://schemas.microsoft.com/office/drawing/2014/main" id="{B3D4ED2D-46CF-493A-9E15-510C85C7FBE3}"/>
              </a:ext>
            </a:extLst>
          </p:cNvPr>
          <p:cNvGraphicFramePr/>
          <p:nvPr>
            <p:extLst>
              <p:ext uri="{D42A27DB-BD31-4B8C-83A1-F6EECF244321}">
                <p14:modId xmlns:p14="http://schemas.microsoft.com/office/powerpoint/2010/main" val="543651970"/>
              </p:ext>
            </p:extLst>
          </p:nvPr>
        </p:nvGraphicFramePr>
        <p:xfrm>
          <a:off x="1163202" y="1212561"/>
          <a:ext cx="7454094" cy="4641572"/>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0013870B-AB82-497B-A739-133BED2E0711}"/>
              </a:ext>
            </a:extLst>
          </p:cNvPr>
          <p:cNvSpPr txBox="1"/>
          <p:nvPr/>
        </p:nvSpPr>
        <p:spPr>
          <a:xfrm rot="5400000">
            <a:off x="7945118" y="239519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Ideal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High Growth-High Market Size)</a:t>
            </a:r>
          </a:p>
        </p:txBody>
      </p:sp>
      <p:sp>
        <p:nvSpPr>
          <p:cNvPr id="9" name="TextBox 8">
            <a:extLst>
              <a:ext uri="{FF2B5EF4-FFF2-40B4-BE49-F238E27FC236}">
                <a16:creationId xmlns:a16="http://schemas.microsoft.com/office/drawing/2014/main" id="{C5DD40CC-3B87-446F-B739-53CE46EB1A73}"/>
              </a:ext>
            </a:extLst>
          </p:cNvPr>
          <p:cNvSpPr txBox="1"/>
          <p:nvPr/>
        </p:nvSpPr>
        <p:spPr>
          <a:xfrm rot="16200000">
            <a:off x="-124962" y="3577067"/>
            <a:ext cx="2378728" cy="218201"/>
          </a:xfrm>
          <a:prstGeom prst="rect">
            <a:avLst/>
          </a:prstGeom>
          <a:noFill/>
        </p:spPr>
        <p:txBody>
          <a:bodyPr wrap="square" rtlCol="0">
            <a:spAutoFit/>
          </a:bodyPr>
          <a:lstStyle/>
          <a:p>
            <a:pPr algn="ctr" defTabSz="457227">
              <a:defRPr/>
            </a:pPr>
            <a:r>
              <a:rPr lang="en-US" sz="818" b="1" dirty="0">
                <a:solidFill>
                  <a:prstClr val="black"/>
                </a:solidFill>
                <a:latin typeface="Verdana" panose="020B0604030504040204" pitchFamily="34" charset="0"/>
                <a:ea typeface="Verdana" panose="020B0604030504040204" pitchFamily="34" charset="0"/>
                <a:cs typeface="Verdana" panose="020B0604030504040204" pitchFamily="34" charset="0"/>
              </a:rPr>
              <a:t>CAGR (2021E-2026F)</a:t>
            </a:r>
          </a:p>
        </p:txBody>
      </p:sp>
      <p:cxnSp>
        <p:nvCxnSpPr>
          <p:cNvPr id="10" name="Straight Connector 9">
            <a:extLst>
              <a:ext uri="{FF2B5EF4-FFF2-40B4-BE49-F238E27FC236}">
                <a16:creationId xmlns:a16="http://schemas.microsoft.com/office/drawing/2014/main" id="{8AF7D8D8-797E-4F0A-BD93-927686DDB570}"/>
              </a:ext>
            </a:extLst>
          </p:cNvPr>
          <p:cNvCxnSpPr>
            <a:cxnSpLocks/>
          </p:cNvCxnSpPr>
          <p:nvPr/>
        </p:nvCxnSpPr>
        <p:spPr>
          <a:xfrm flipV="1">
            <a:off x="1527991" y="2313003"/>
            <a:ext cx="6671510" cy="36340"/>
          </a:xfrm>
          <a:prstGeom prst="line">
            <a:avLst/>
          </a:prstGeom>
          <a:ln w="3175">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70852C6-DD7C-4F2D-BF43-CCBE4A26FD6D}"/>
              </a:ext>
            </a:extLst>
          </p:cNvPr>
          <p:cNvCxnSpPr>
            <a:cxnSpLocks/>
          </p:cNvCxnSpPr>
          <p:nvPr/>
        </p:nvCxnSpPr>
        <p:spPr>
          <a:xfrm flipH="1" flipV="1">
            <a:off x="3495975" y="1515331"/>
            <a:ext cx="23472" cy="4211208"/>
          </a:xfrm>
          <a:prstGeom prst="line">
            <a:avLst/>
          </a:prstGeom>
          <a:ln w="3175">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D72EAB32-984B-4274-9932-3B8B7B2E408C}"/>
              </a:ext>
            </a:extLst>
          </p:cNvPr>
          <p:cNvSpPr/>
          <p:nvPr/>
        </p:nvSpPr>
        <p:spPr>
          <a:xfrm>
            <a:off x="67683" y="6079084"/>
            <a:ext cx="4190818" cy="176202"/>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sz="545" i="1" dirty="0">
                <a:solidFill>
                  <a:prstClr val="black"/>
                </a:solidFill>
                <a:latin typeface="Verdana" panose="020B0604030504040204" pitchFamily="34" charset="0"/>
                <a:ea typeface="Verdana" panose="020B0604030504040204" pitchFamily="34" charset="0"/>
                <a:cs typeface="Verdana" panose="020B0604030504040204" pitchFamily="34" charset="0"/>
              </a:rPr>
              <a:t>Source: Secondary Research, Expert Interviews, and ChemAnalyst Analysis</a:t>
            </a:r>
          </a:p>
        </p:txBody>
      </p:sp>
      <p:sp>
        <p:nvSpPr>
          <p:cNvPr id="13" name="TextBox 12">
            <a:extLst>
              <a:ext uri="{FF2B5EF4-FFF2-40B4-BE49-F238E27FC236}">
                <a16:creationId xmlns:a16="http://schemas.microsoft.com/office/drawing/2014/main" id="{F2348954-B486-4C90-B82A-FD46F0C5BCB4}"/>
              </a:ext>
            </a:extLst>
          </p:cNvPr>
          <p:cNvSpPr txBox="1"/>
          <p:nvPr/>
        </p:nvSpPr>
        <p:spPr>
          <a:xfrm rot="16200000">
            <a:off x="640680" y="202931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Growing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High Growth-Low Market Size)</a:t>
            </a:r>
          </a:p>
        </p:txBody>
      </p:sp>
      <p:sp>
        <p:nvSpPr>
          <p:cNvPr id="14" name="TextBox 13">
            <a:extLst>
              <a:ext uri="{FF2B5EF4-FFF2-40B4-BE49-F238E27FC236}">
                <a16:creationId xmlns:a16="http://schemas.microsoft.com/office/drawing/2014/main" id="{F2B57A55-809D-421C-989E-BAF66DB9FD43}"/>
              </a:ext>
            </a:extLst>
          </p:cNvPr>
          <p:cNvSpPr txBox="1"/>
          <p:nvPr/>
        </p:nvSpPr>
        <p:spPr>
          <a:xfrm rot="16200000">
            <a:off x="640680" y="4975601"/>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Common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Low Growth-Low Market Size)</a:t>
            </a:r>
          </a:p>
        </p:txBody>
      </p:sp>
      <p:sp>
        <p:nvSpPr>
          <p:cNvPr id="15" name="TextBox 14">
            <a:extLst>
              <a:ext uri="{FF2B5EF4-FFF2-40B4-BE49-F238E27FC236}">
                <a16:creationId xmlns:a16="http://schemas.microsoft.com/office/drawing/2014/main" id="{F9F725B8-4E01-4481-8A0E-BA8833A98CFC}"/>
              </a:ext>
            </a:extLst>
          </p:cNvPr>
          <p:cNvSpPr txBox="1"/>
          <p:nvPr/>
        </p:nvSpPr>
        <p:spPr>
          <a:xfrm rot="5400000">
            <a:off x="7975277" y="470879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Big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Low Growth-High Market Size)</a:t>
            </a:r>
          </a:p>
        </p:txBody>
      </p:sp>
      <p:sp>
        <p:nvSpPr>
          <p:cNvPr id="16" name="Rectangle 15">
            <a:extLst>
              <a:ext uri="{FF2B5EF4-FFF2-40B4-BE49-F238E27FC236}">
                <a16:creationId xmlns:a16="http://schemas.microsoft.com/office/drawing/2014/main" id="{99A80A8C-5446-41A3-B2CA-4776C4F78909}"/>
              </a:ext>
            </a:extLst>
          </p:cNvPr>
          <p:cNvSpPr/>
          <p:nvPr/>
        </p:nvSpPr>
        <p:spPr>
          <a:xfrm rot="16200000">
            <a:off x="-302852" y="3479322"/>
            <a:ext cx="1512451" cy="3097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r>
              <a:rPr lang="en-IN" sz="1636" dirty="0">
                <a:solidFill>
                  <a:prstClr val="black">
                    <a:lumMod val="85000"/>
                    <a:lumOff val="15000"/>
                  </a:prstClr>
                </a:solidFill>
                <a:latin typeface="Calibri" panose="020F0502020204030204"/>
              </a:rPr>
              <a:t>2021E-2026F</a:t>
            </a:r>
          </a:p>
        </p:txBody>
      </p:sp>
      <p:sp>
        <p:nvSpPr>
          <p:cNvPr id="17" name="Rectangle 16">
            <a:extLst>
              <a:ext uri="{FF2B5EF4-FFF2-40B4-BE49-F238E27FC236}">
                <a16:creationId xmlns:a16="http://schemas.microsoft.com/office/drawing/2014/main" id="{954ACAB8-7922-4504-B511-88CD79220DD7}"/>
              </a:ext>
            </a:extLst>
          </p:cNvPr>
          <p:cNvSpPr/>
          <p:nvPr/>
        </p:nvSpPr>
        <p:spPr>
          <a:xfrm>
            <a:off x="5896416" y="6080914"/>
            <a:ext cx="2141125" cy="3097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r>
              <a:rPr lang="en-IN" sz="909" dirty="0">
                <a:solidFill>
                  <a:prstClr val="black">
                    <a:lumMod val="85000"/>
                    <a:lumOff val="15000"/>
                  </a:prstClr>
                </a:solidFill>
                <a:latin typeface="Calibri" panose="020F0502020204030204"/>
              </a:rPr>
              <a:t>Market size represents 2020 as base year </a:t>
            </a:r>
          </a:p>
        </p:txBody>
      </p:sp>
      <p:sp>
        <p:nvSpPr>
          <p:cNvPr id="18" name="TextBox 17">
            <a:extLst>
              <a:ext uri="{FF2B5EF4-FFF2-40B4-BE49-F238E27FC236}">
                <a16:creationId xmlns:a16="http://schemas.microsoft.com/office/drawing/2014/main" id="{AF03D17B-7016-4471-891E-E8366B1E41A3}"/>
              </a:ext>
            </a:extLst>
          </p:cNvPr>
          <p:cNvSpPr txBox="1"/>
          <p:nvPr/>
        </p:nvSpPr>
        <p:spPr>
          <a:xfrm>
            <a:off x="2238596" y="1495581"/>
            <a:ext cx="1246033" cy="316112"/>
          </a:xfrm>
          <a:prstGeom prst="rect">
            <a:avLst/>
          </a:prstGeom>
          <a:solidFill>
            <a:schemeClr val="bg1"/>
          </a:solidFill>
        </p:spPr>
        <p:txBody>
          <a:bodyPr wrap="square" rtlCol="0">
            <a:spAutoFit/>
          </a:bodyPr>
          <a:lstStyle/>
          <a:p>
            <a:pPr algn="ctr" defTabSz="457227">
              <a:defRPr/>
            </a:pPr>
            <a:r>
              <a:rPr lang="en-US" sz="727" b="1" dirty="0">
                <a:latin typeface="Verdana" panose="020B0604030504040204" pitchFamily="34" charset="0"/>
                <a:ea typeface="Verdana" panose="020B0604030504040204" pitchFamily="34" charset="0"/>
                <a:cs typeface="Verdana" panose="020B0604030504040204" pitchFamily="34" charset="0"/>
              </a:rPr>
              <a:t>Market Size @ USD14.80 Million</a:t>
            </a:r>
          </a:p>
        </p:txBody>
      </p:sp>
      <p:sp>
        <p:nvSpPr>
          <p:cNvPr id="19" name="TextBox 18">
            <a:extLst>
              <a:ext uri="{FF2B5EF4-FFF2-40B4-BE49-F238E27FC236}">
                <a16:creationId xmlns:a16="http://schemas.microsoft.com/office/drawing/2014/main" id="{12123D8A-CF98-4FB8-93F3-0C252B3DB95D}"/>
              </a:ext>
            </a:extLst>
          </p:cNvPr>
          <p:cNvSpPr txBox="1"/>
          <p:nvPr/>
        </p:nvSpPr>
        <p:spPr>
          <a:xfrm>
            <a:off x="7139129" y="2353955"/>
            <a:ext cx="1132065" cy="316112"/>
          </a:xfrm>
          <a:prstGeom prst="rect">
            <a:avLst/>
          </a:prstGeom>
          <a:solidFill>
            <a:schemeClr val="bg1"/>
          </a:solidFill>
        </p:spPr>
        <p:txBody>
          <a:bodyPr wrap="square" rtlCol="0">
            <a:spAutoFit/>
          </a:bodyPr>
          <a:lstStyle/>
          <a:p>
            <a:pPr algn="ctr" defTabSz="457227">
              <a:defRPr/>
            </a:pPr>
            <a:r>
              <a:rPr lang="en-US" sz="727" b="1" dirty="0">
                <a:latin typeface="Verdana" panose="020B0604030504040204" pitchFamily="34" charset="0"/>
                <a:ea typeface="Verdana" panose="020B0604030504040204" pitchFamily="34" charset="0"/>
                <a:cs typeface="Verdana" panose="020B0604030504040204" pitchFamily="34" charset="0"/>
              </a:rPr>
              <a:t>Overall Market Growth @ 5.49%</a:t>
            </a:r>
          </a:p>
        </p:txBody>
      </p:sp>
      <p:sp>
        <p:nvSpPr>
          <p:cNvPr id="20" name="TextBox 19">
            <a:extLst>
              <a:ext uri="{FF2B5EF4-FFF2-40B4-BE49-F238E27FC236}">
                <a16:creationId xmlns:a16="http://schemas.microsoft.com/office/drawing/2014/main" id="{5889ED52-0C81-49AE-9E43-92D61B5E25FD}"/>
              </a:ext>
            </a:extLst>
          </p:cNvPr>
          <p:cNvSpPr txBox="1"/>
          <p:nvPr/>
        </p:nvSpPr>
        <p:spPr>
          <a:xfrm>
            <a:off x="3581618" y="5933645"/>
            <a:ext cx="2378728" cy="218201"/>
          </a:xfrm>
          <a:prstGeom prst="rect">
            <a:avLst/>
          </a:prstGeom>
          <a:noFill/>
        </p:spPr>
        <p:txBody>
          <a:bodyPr wrap="square" rtlCol="0">
            <a:spAutoFit/>
          </a:bodyPr>
          <a:lstStyle/>
          <a:p>
            <a:pPr algn="ctr" defTabSz="457227">
              <a:defRPr/>
            </a:pPr>
            <a:r>
              <a:rPr lang="en-US" sz="818" b="1" dirty="0">
                <a:solidFill>
                  <a:prstClr val="black"/>
                </a:solidFill>
                <a:latin typeface="Verdana" panose="020B0604030504040204" pitchFamily="34" charset="0"/>
                <a:ea typeface="Verdana" panose="020B0604030504040204" pitchFamily="34" charset="0"/>
                <a:cs typeface="Verdana" panose="020B0604030504040204" pitchFamily="34" charset="0"/>
              </a:rPr>
              <a:t>Market Size (USD Million)</a:t>
            </a:r>
          </a:p>
        </p:txBody>
      </p:sp>
      <p:sp>
        <p:nvSpPr>
          <p:cNvPr id="40" name="Title 1">
            <a:extLst>
              <a:ext uri="{FF2B5EF4-FFF2-40B4-BE49-F238E27FC236}">
                <a16:creationId xmlns:a16="http://schemas.microsoft.com/office/drawing/2014/main" id="{1BDAA325-370B-4A04-BB05-4DE5CEDA76D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Map, By End Use</a:t>
            </a:r>
          </a:p>
        </p:txBody>
      </p:sp>
      <p:sp>
        <p:nvSpPr>
          <p:cNvPr id="41" name="TextBox 40">
            <a:extLst>
              <a:ext uri="{FF2B5EF4-FFF2-40B4-BE49-F238E27FC236}">
                <a16:creationId xmlns:a16="http://schemas.microsoft.com/office/drawing/2014/main" id="{A22E34B1-400C-48A0-8E75-2410F6063D1D}"/>
              </a:ext>
            </a:extLst>
          </p:cNvPr>
          <p:cNvSpPr txBox="1"/>
          <p:nvPr/>
        </p:nvSpPr>
        <p:spPr>
          <a:xfrm>
            <a:off x="106874" y="701150"/>
            <a:ext cx="9104421" cy="522900"/>
          </a:xfrm>
          <a:prstGeom prst="rect">
            <a:avLst/>
          </a:prstGeom>
          <a:noFill/>
        </p:spPr>
        <p:txBody>
          <a:bodyPr wrap="square" rtlCol="0">
            <a:spAutoFit/>
          </a:bodyPr>
          <a:lstStyle>
            <a:defPPr>
              <a:defRPr lang="en-US"/>
            </a:defPPr>
            <a:lvl1pPr lvl="0">
              <a:lnSpc>
                <a:spcPct val="150000"/>
              </a:lnSpc>
              <a:defRPr kumimoji="0" sz="1000" b="1" i="0" u="none" strike="noStrike" cap="none" spc="0" normalizeH="0" baseline="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Figure 9: </a:t>
            </a:r>
            <a:r>
              <a:rPr lang="en-US" dirty="0">
                <a:solidFill>
                  <a:schemeClr val="tx1"/>
                </a:solidFill>
              </a:rPr>
              <a:t>South-East Asia Copper Sulphate Market Map, By End Use, Market Size (USD Million) &amp; Growth Rate (%), 2021E-2026F</a:t>
            </a:r>
            <a:endParaRPr lang="en-US" dirty="0">
              <a:solidFill>
                <a:srgbClr val="FF0000"/>
              </a:solidFill>
            </a:endParaRPr>
          </a:p>
        </p:txBody>
      </p:sp>
      <p:sp>
        <p:nvSpPr>
          <p:cNvPr id="23" name="TextBox 22">
            <a:extLst>
              <a:ext uri="{FF2B5EF4-FFF2-40B4-BE49-F238E27FC236}">
                <a16:creationId xmlns:a16="http://schemas.microsoft.com/office/drawing/2014/main" id="{8BB0D28E-C6F8-4E0D-B481-8CEA18E979EB}"/>
              </a:ext>
            </a:extLst>
          </p:cNvPr>
          <p:cNvSpPr txBox="1"/>
          <p:nvPr/>
        </p:nvSpPr>
        <p:spPr>
          <a:xfrm>
            <a:off x="-391884" y="6418112"/>
            <a:ext cx="3543300"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include: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600796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BDB2B55-1866-4851-B000-02E94297C30A}"/>
              </a:ext>
            </a:extLst>
          </p:cNvPr>
          <p:cNvGrpSpPr/>
          <p:nvPr/>
        </p:nvGrpSpPr>
        <p:grpSpPr>
          <a:xfrm>
            <a:off x="1552131" y="1513934"/>
            <a:ext cx="6723582" cy="4222101"/>
            <a:chOff x="10362541" y="-2262672"/>
            <a:chExt cx="7471928" cy="4782273"/>
          </a:xfrm>
        </p:grpSpPr>
        <p:sp>
          <p:nvSpPr>
            <p:cNvPr id="3" name="Rectangle 2">
              <a:extLst>
                <a:ext uri="{FF2B5EF4-FFF2-40B4-BE49-F238E27FC236}">
                  <a16:creationId xmlns:a16="http://schemas.microsoft.com/office/drawing/2014/main" id="{54394472-4A5D-4CDE-9993-F52ABA050D5A}"/>
                </a:ext>
              </a:extLst>
            </p:cNvPr>
            <p:cNvSpPr/>
            <p:nvPr/>
          </p:nvSpPr>
          <p:spPr>
            <a:xfrm>
              <a:off x="10377711" y="-2262672"/>
              <a:ext cx="4856941" cy="73610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4" name="Rectangle 3">
              <a:extLst>
                <a:ext uri="{FF2B5EF4-FFF2-40B4-BE49-F238E27FC236}">
                  <a16:creationId xmlns:a16="http://schemas.microsoft.com/office/drawing/2014/main" id="{60EC4BA1-AED7-490A-ABED-A4589888EF7A}"/>
                </a:ext>
              </a:extLst>
            </p:cNvPr>
            <p:cNvSpPr/>
            <p:nvPr/>
          </p:nvSpPr>
          <p:spPr>
            <a:xfrm>
              <a:off x="15234652" y="-2262669"/>
              <a:ext cx="2599817" cy="736101"/>
            </a:xfrm>
            <a:prstGeom prst="rect">
              <a:avLst/>
            </a:prstGeom>
            <a:solidFill>
              <a:srgbClr val="E2F1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5" name="Rectangle 4">
              <a:extLst>
                <a:ext uri="{FF2B5EF4-FFF2-40B4-BE49-F238E27FC236}">
                  <a16:creationId xmlns:a16="http://schemas.microsoft.com/office/drawing/2014/main" id="{BD7607E0-0BA4-42D8-AE53-E585616B7C5D}"/>
                </a:ext>
              </a:extLst>
            </p:cNvPr>
            <p:cNvSpPr/>
            <p:nvPr/>
          </p:nvSpPr>
          <p:spPr>
            <a:xfrm>
              <a:off x="10362541" y="-1505782"/>
              <a:ext cx="4872111" cy="402538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6" name="Rectangle 5">
              <a:extLst>
                <a:ext uri="{FF2B5EF4-FFF2-40B4-BE49-F238E27FC236}">
                  <a16:creationId xmlns:a16="http://schemas.microsoft.com/office/drawing/2014/main" id="{D3804755-86C1-4ED9-89B0-271CA956B0C7}"/>
                </a:ext>
              </a:extLst>
            </p:cNvPr>
            <p:cNvSpPr/>
            <p:nvPr/>
          </p:nvSpPr>
          <p:spPr>
            <a:xfrm>
              <a:off x="15247261" y="-1536354"/>
              <a:ext cx="2582186" cy="405595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grpSp>
      <p:graphicFrame>
        <p:nvGraphicFramePr>
          <p:cNvPr id="7" name="Chart 6">
            <a:extLst>
              <a:ext uri="{FF2B5EF4-FFF2-40B4-BE49-F238E27FC236}">
                <a16:creationId xmlns:a16="http://schemas.microsoft.com/office/drawing/2014/main" id="{B3D4ED2D-46CF-493A-9E15-510C85C7FBE3}"/>
              </a:ext>
            </a:extLst>
          </p:cNvPr>
          <p:cNvGraphicFramePr/>
          <p:nvPr>
            <p:extLst>
              <p:ext uri="{D42A27DB-BD31-4B8C-83A1-F6EECF244321}">
                <p14:modId xmlns:p14="http://schemas.microsoft.com/office/powerpoint/2010/main" val="746705950"/>
              </p:ext>
            </p:extLst>
          </p:nvPr>
        </p:nvGraphicFramePr>
        <p:xfrm>
          <a:off x="1117855" y="1268844"/>
          <a:ext cx="7454094" cy="4641572"/>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0013870B-AB82-497B-A739-133BED2E0711}"/>
              </a:ext>
            </a:extLst>
          </p:cNvPr>
          <p:cNvSpPr txBox="1"/>
          <p:nvPr/>
        </p:nvSpPr>
        <p:spPr>
          <a:xfrm rot="5400000">
            <a:off x="7945118" y="239519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Ideal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High Growth-High Market Size)</a:t>
            </a:r>
          </a:p>
        </p:txBody>
      </p:sp>
      <p:sp>
        <p:nvSpPr>
          <p:cNvPr id="9" name="TextBox 8">
            <a:extLst>
              <a:ext uri="{FF2B5EF4-FFF2-40B4-BE49-F238E27FC236}">
                <a16:creationId xmlns:a16="http://schemas.microsoft.com/office/drawing/2014/main" id="{C5DD40CC-3B87-446F-B739-53CE46EB1A73}"/>
              </a:ext>
            </a:extLst>
          </p:cNvPr>
          <p:cNvSpPr txBox="1"/>
          <p:nvPr/>
        </p:nvSpPr>
        <p:spPr>
          <a:xfrm rot="16200000">
            <a:off x="-124962" y="3577067"/>
            <a:ext cx="2378728" cy="218201"/>
          </a:xfrm>
          <a:prstGeom prst="rect">
            <a:avLst/>
          </a:prstGeom>
          <a:noFill/>
        </p:spPr>
        <p:txBody>
          <a:bodyPr wrap="square" rtlCol="0">
            <a:spAutoFit/>
          </a:bodyPr>
          <a:lstStyle/>
          <a:p>
            <a:pPr algn="ctr" defTabSz="457227">
              <a:defRPr/>
            </a:pPr>
            <a:r>
              <a:rPr lang="en-US" sz="818" b="1" dirty="0">
                <a:solidFill>
                  <a:prstClr val="black"/>
                </a:solidFill>
                <a:latin typeface="Verdana" panose="020B0604030504040204" pitchFamily="34" charset="0"/>
                <a:ea typeface="Verdana" panose="020B0604030504040204" pitchFamily="34" charset="0"/>
                <a:cs typeface="Verdana" panose="020B0604030504040204" pitchFamily="34" charset="0"/>
              </a:rPr>
              <a:t>CAGR (2021E-2026F)</a:t>
            </a:r>
          </a:p>
        </p:txBody>
      </p:sp>
      <p:cxnSp>
        <p:nvCxnSpPr>
          <p:cNvPr id="10" name="Straight Connector 9">
            <a:extLst>
              <a:ext uri="{FF2B5EF4-FFF2-40B4-BE49-F238E27FC236}">
                <a16:creationId xmlns:a16="http://schemas.microsoft.com/office/drawing/2014/main" id="{8AF7D8D8-797E-4F0A-BD93-927686DDB570}"/>
              </a:ext>
            </a:extLst>
          </p:cNvPr>
          <p:cNvCxnSpPr>
            <a:cxnSpLocks/>
          </p:cNvCxnSpPr>
          <p:nvPr/>
        </p:nvCxnSpPr>
        <p:spPr>
          <a:xfrm flipV="1">
            <a:off x="1554495" y="2127475"/>
            <a:ext cx="6671510" cy="36340"/>
          </a:xfrm>
          <a:prstGeom prst="line">
            <a:avLst/>
          </a:prstGeom>
          <a:ln w="3175">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70852C6-DD7C-4F2D-BF43-CCBE4A26FD6D}"/>
              </a:ext>
            </a:extLst>
          </p:cNvPr>
          <p:cNvCxnSpPr>
            <a:cxnSpLocks/>
          </p:cNvCxnSpPr>
          <p:nvPr/>
        </p:nvCxnSpPr>
        <p:spPr>
          <a:xfrm flipH="1" flipV="1">
            <a:off x="5947625" y="1515331"/>
            <a:ext cx="23472" cy="4211208"/>
          </a:xfrm>
          <a:prstGeom prst="line">
            <a:avLst/>
          </a:prstGeom>
          <a:ln w="3175">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D72EAB32-984B-4274-9932-3B8B7B2E408C}"/>
              </a:ext>
            </a:extLst>
          </p:cNvPr>
          <p:cNvSpPr/>
          <p:nvPr/>
        </p:nvSpPr>
        <p:spPr>
          <a:xfrm>
            <a:off x="67683" y="6079084"/>
            <a:ext cx="4190818" cy="176202"/>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sz="545" i="1" dirty="0">
                <a:solidFill>
                  <a:prstClr val="black"/>
                </a:solidFill>
                <a:latin typeface="Verdana" panose="020B0604030504040204" pitchFamily="34" charset="0"/>
                <a:ea typeface="Verdana" panose="020B0604030504040204" pitchFamily="34" charset="0"/>
                <a:cs typeface="Verdana" panose="020B0604030504040204" pitchFamily="34" charset="0"/>
              </a:rPr>
              <a:t>Source: Secondary Research, Expert Interviews, and ChemAnalyst Analysis</a:t>
            </a:r>
          </a:p>
        </p:txBody>
      </p:sp>
      <p:sp>
        <p:nvSpPr>
          <p:cNvPr id="13" name="TextBox 12">
            <a:extLst>
              <a:ext uri="{FF2B5EF4-FFF2-40B4-BE49-F238E27FC236}">
                <a16:creationId xmlns:a16="http://schemas.microsoft.com/office/drawing/2014/main" id="{F2348954-B486-4C90-B82A-FD46F0C5BCB4}"/>
              </a:ext>
            </a:extLst>
          </p:cNvPr>
          <p:cNvSpPr txBox="1"/>
          <p:nvPr/>
        </p:nvSpPr>
        <p:spPr>
          <a:xfrm rot="16200000">
            <a:off x="640680" y="202931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Growing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High Growth-Low Market Size)</a:t>
            </a:r>
          </a:p>
        </p:txBody>
      </p:sp>
      <p:sp>
        <p:nvSpPr>
          <p:cNvPr id="14" name="TextBox 13">
            <a:extLst>
              <a:ext uri="{FF2B5EF4-FFF2-40B4-BE49-F238E27FC236}">
                <a16:creationId xmlns:a16="http://schemas.microsoft.com/office/drawing/2014/main" id="{F2B57A55-809D-421C-989E-BAF66DB9FD43}"/>
              </a:ext>
            </a:extLst>
          </p:cNvPr>
          <p:cNvSpPr txBox="1"/>
          <p:nvPr/>
        </p:nvSpPr>
        <p:spPr>
          <a:xfrm rot="16200000">
            <a:off x="640680" y="4975601"/>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Common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Low Growth-Low Market Size)</a:t>
            </a:r>
          </a:p>
        </p:txBody>
      </p:sp>
      <p:sp>
        <p:nvSpPr>
          <p:cNvPr id="15" name="TextBox 14">
            <a:extLst>
              <a:ext uri="{FF2B5EF4-FFF2-40B4-BE49-F238E27FC236}">
                <a16:creationId xmlns:a16="http://schemas.microsoft.com/office/drawing/2014/main" id="{F9F725B8-4E01-4481-8A0E-BA8833A98CFC}"/>
              </a:ext>
            </a:extLst>
          </p:cNvPr>
          <p:cNvSpPr txBox="1"/>
          <p:nvPr/>
        </p:nvSpPr>
        <p:spPr>
          <a:xfrm rot="5400000">
            <a:off x="7975277" y="470879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Big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Low Growth-High Market Size)</a:t>
            </a:r>
          </a:p>
        </p:txBody>
      </p:sp>
      <p:sp>
        <p:nvSpPr>
          <p:cNvPr id="16" name="Rectangle 15">
            <a:extLst>
              <a:ext uri="{FF2B5EF4-FFF2-40B4-BE49-F238E27FC236}">
                <a16:creationId xmlns:a16="http://schemas.microsoft.com/office/drawing/2014/main" id="{99A80A8C-5446-41A3-B2CA-4776C4F78909}"/>
              </a:ext>
            </a:extLst>
          </p:cNvPr>
          <p:cNvSpPr/>
          <p:nvPr/>
        </p:nvSpPr>
        <p:spPr>
          <a:xfrm rot="16200000">
            <a:off x="-302852" y="3479322"/>
            <a:ext cx="1512451" cy="3097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r>
              <a:rPr lang="en-IN" sz="1636" dirty="0">
                <a:solidFill>
                  <a:prstClr val="black">
                    <a:lumMod val="85000"/>
                    <a:lumOff val="15000"/>
                  </a:prstClr>
                </a:solidFill>
                <a:latin typeface="Calibri" panose="020F0502020204030204"/>
              </a:rPr>
              <a:t>2021E-2026F</a:t>
            </a:r>
          </a:p>
        </p:txBody>
      </p:sp>
      <p:sp>
        <p:nvSpPr>
          <p:cNvPr id="17" name="Rectangle 16">
            <a:extLst>
              <a:ext uri="{FF2B5EF4-FFF2-40B4-BE49-F238E27FC236}">
                <a16:creationId xmlns:a16="http://schemas.microsoft.com/office/drawing/2014/main" id="{954ACAB8-7922-4504-B511-88CD79220DD7}"/>
              </a:ext>
            </a:extLst>
          </p:cNvPr>
          <p:cNvSpPr/>
          <p:nvPr/>
        </p:nvSpPr>
        <p:spPr>
          <a:xfrm>
            <a:off x="5896416" y="6080914"/>
            <a:ext cx="2141125" cy="3097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r>
              <a:rPr lang="en-IN" sz="909" dirty="0">
                <a:solidFill>
                  <a:prstClr val="black">
                    <a:lumMod val="85000"/>
                    <a:lumOff val="15000"/>
                  </a:prstClr>
                </a:solidFill>
                <a:latin typeface="Calibri" panose="020F0502020204030204"/>
              </a:rPr>
              <a:t>Market size represents 2020 as base year </a:t>
            </a:r>
          </a:p>
        </p:txBody>
      </p:sp>
      <p:sp>
        <p:nvSpPr>
          <p:cNvPr id="18" name="TextBox 17">
            <a:extLst>
              <a:ext uri="{FF2B5EF4-FFF2-40B4-BE49-F238E27FC236}">
                <a16:creationId xmlns:a16="http://schemas.microsoft.com/office/drawing/2014/main" id="{AF03D17B-7016-4471-891E-E8366B1E41A3}"/>
              </a:ext>
            </a:extLst>
          </p:cNvPr>
          <p:cNvSpPr txBox="1"/>
          <p:nvPr/>
        </p:nvSpPr>
        <p:spPr>
          <a:xfrm>
            <a:off x="4690246" y="1495581"/>
            <a:ext cx="1246033" cy="316112"/>
          </a:xfrm>
          <a:prstGeom prst="rect">
            <a:avLst/>
          </a:prstGeom>
          <a:solidFill>
            <a:schemeClr val="bg1"/>
          </a:solidFill>
        </p:spPr>
        <p:txBody>
          <a:bodyPr wrap="square" rtlCol="0">
            <a:spAutoFit/>
          </a:bodyPr>
          <a:lstStyle/>
          <a:p>
            <a:pPr algn="ctr" defTabSz="457227">
              <a:defRPr/>
            </a:pPr>
            <a:r>
              <a:rPr lang="en-US" sz="727" b="1" dirty="0">
                <a:latin typeface="Verdana" panose="020B0604030504040204" pitchFamily="34" charset="0"/>
                <a:ea typeface="Verdana" panose="020B0604030504040204" pitchFamily="34" charset="0"/>
                <a:cs typeface="Verdana" panose="020B0604030504040204" pitchFamily="34" charset="0"/>
              </a:rPr>
              <a:t>Market Size @ USD51.79 Million</a:t>
            </a:r>
          </a:p>
        </p:txBody>
      </p:sp>
      <p:sp>
        <p:nvSpPr>
          <p:cNvPr id="19" name="TextBox 18">
            <a:extLst>
              <a:ext uri="{FF2B5EF4-FFF2-40B4-BE49-F238E27FC236}">
                <a16:creationId xmlns:a16="http://schemas.microsoft.com/office/drawing/2014/main" id="{12123D8A-CF98-4FB8-93F3-0C252B3DB95D}"/>
              </a:ext>
            </a:extLst>
          </p:cNvPr>
          <p:cNvSpPr txBox="1"/>
          <p:nvPr/>
        </p:nvSpPr>
        <p:spPr>
          <a:xfrm>
            <a:off x="7139129" y="2155175"/>
            <a:ext cx="1132065" cy="316112"/>
          </a:xfrm>
          <a:prstGeom prst="rect">
            <a:avLst/>
          </a:prstGeom>
          <a:solidFill>
            <a:schemeClr val="bg1"/>
          </a:solidFill>
        </p:spPr>
        <p:txBody>
          <a:bodyPr wrap="square" rtlCol="0">
            <a:spAutoFit/>
          </a:bodyPr>
          <a:lstStyle/>
          <a:p>
            <a:pPr algn="ctr" defTabSz="457227">
              <a:defRPr/>
            </a:pPr>
            <a:r>
              <a:rPr lang="en-US" sz="727" b="1" dirty="0">
                <a:latin typeface="Verdana" panose="020B0604030504040204" pitchFamily="34" charset="0"/>
                <a:ea typeface="Verdana" panose="020B0604030504040204" pitchFamily="34" charset="0"/>
                <a:cs typeface="Verdana" panose="020B0604030504040204" pitchFamily="34" charset="0"/>
              </a:rPr>
              <a:t>Overall Market Growth @ 5.84%</a:t>
            </a:r>
          </a:p>
        </p:txBody>
      </p:sp>
      <p:sp>
        <p:nvSpPr>
          <p:cNvPr id="20" name="TextBox 19">
            <a:extLst>
              <a:ext uri="{FF2B5EF4-FFF2-40B4-BE49-F238E27FC236}">
                <a16:creationId xmlns:a16="http://schemas.microsoft.com/office/drawing/2014/main" id="{5889ED52-0C81-49AE-9E43-92D61B5E25FD}"/>
              </a:ext>
            </a:extLst>
          </p:cNvPr>
          <p:cNvSpPr txBox="1"/>
          <p:nvPr/>
        </p:nvSpPr>
        <p:spPr>
          <a:xfrm>
            <a:off x="3581618" y="5933645"/>
            <a:ext cx="2378728" cy="218201"/>
          </a:xfrm>
          <a:prstGeom prst="rect">
            <a:avLst/>
          </a:prstGeom>
          <a:noFill/>
        </p:spPr>
        <p:txBody>
          <a:bodyPr wrap="square" rtlCol="0">
            <a:spAutoFit/>
          </a:bodyPr>
          <a:lstStyle/>
          <a:p>
            <a:pPr algn="ctr" defTabSz="457227">
              <a:defRPr/>
            </a:pPr>
            <a:r>
              <a:rPr lang="en-US" sz="818" b="1" dirty="0">
                <a:solidFill>
                  <a:prstClr val="black"/>
                </a:solidFill>
                <a:latin typeface="Verdana" panose="020B0604030504040204" pitchFamily="34" charset="0"/>
                <a:ea typeface="Verdana" panose="020B0604030504040204" pitchFamily="34" charset="0"/>
                <a:cs typeface="Verdana" panose="020B0604030504040204" pitchFamily="34" charset="0"/>
              </a:rPr>
              <a:t>Market Size (USD Million)</a:t>
            </a:r>
          </a:p>
        </p:txBody>
      </p:sp>
      <p:sp>
        <p:nvSpPr>
          <p:cNvPr id="40" name="Title 1">
            <a:extLst>
              <a:ext uri="{FF2B5EF4-FFF2-40B4-BE49-F238E27FC236}">
                <a16:creationId xmlns:a16="http://schemas.microsoft.com/office/drawing/2014/main" id="{1BDAA325-370B-4A04-BB05-4DE5CEDA76D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Map, By </a:t>
            </a:r>
            <a:r>
              <a:rPr lang="en-IN" sz="1400" b="1" dirty="0">
                <a:solidFill>
                  <a:prstClr val="black"/>
                </a:solidFill>
                <a:latin typeface="Arial" panose="020B0604020202020204" pitchFamily="34" charset="0"/>
                <a:cs typeface="Arial" panose="020B0604020202020204" pitchFamily="34" charset="0"/>
              </a:rPr>
              <a:t>Grade</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41" name="TextBox 40">
            <a:extLst>
              <a:ext uri="{FF2B5EF4-FFF2-40B4-BE49-F238E27FC236}">
                <a16:creationId xmlns:a16="http://schemas.microsoft.com/office/drawing/2014/main" id="{A22E34B1-400C-48A0-8E75-2410F6063D1D}"/>
              </a:ext>
            </a:extLst>
          </p:cNvPr>
          <p:cNvSpPr txBox="1"/>
          <p:nvPr/>
        </p:nvSpPr>
        <p:spPr>
          <a:xfrm>
            <a:off x="106874" y="701150"/>
            <a:ext cx="9104421" cy="522900"/>
          </a:xfrm>
          <a:prstGeom prst="rect">
            <a:avLst/>
          </a:prstGeom>
          <a:noFill/>
        </p:spPr>
        <p:txBody>
          <a:bodyPr wrap="square" rtlCol="0">
            <a:spAutoFit/>
          </a:bodyPr>
          <a:lstStyle>
            <a:defPPr>
              <a:defRPr lang="en-US"/>
            </a:defPPr>
            <a:lvl1pPr lvl="0">
              <a:lnSpc>
                <a:spcPct val="150000"/>
              </a:lnSpc>
              <a:defRPr kumimoji="0" sz="1000" b="1" i="0" u="none" strike="noStrike" cap="none" spc="0" normalizeH="0" baseline="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Figure 10: </a:t>
            </a:r>
            <a:r>
              <a:rPr lang="en-US" dirty="0">
                <a:solidFill>
                  <a:schemeClr val="tx1"/>
                </a:solidFill>
              </a:rPr>
              <a:t>South-East Asia Copper Sulphate Market Map, By Grade, Market Size (USD Million) &amp; Growth Rate (%), 2021E-2026F</a:t>
            </a:r>
            <a:endParaRPr lang="en-US" dirty="0">
              <a:solidFill>
                <a:srgbClr val="FF0000"/>
              </a:solidFill>
            </a:endParaRPr>
          </a:p>
        </p:txBody>
      </p:sp>
    </p:spTree>
    <p:extLst>
      <p:ext uri="{BB962C8B-B14F-4D97-AF65-F5344CB8AC3E}">
        <p14:creationId xmlns:p14="http://schemas.microsoft.com/office/powerpoint/2010/main" val="26348203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6B1D01B8-32F7-47CA-AEE2-F21C067B30D7}"/>
              </a:ext>
            </a:extLst>
          </p:cNvPr>
          <p:cNvSpPr/>
          <p:nvPr/>
        </p:nvSpPr>
        <p:spPr>
          <a:xfrm>
            <a:off x="0" y="754379"/>
            <a:ext cx="6032500" cy="875638"/>
          </a:xfrm>
          <a:custGeom>
            <a:avLst/>
            <a:gdLst>
              <a:gd name="connsiteX0" fmla="*/ 0 w 6032500"/>
              <a:gd name="connsiteY0" fmla="*/ 0 h 1083212"/>
              <a:gd name="connsiteX1" fmla="*/ 6032500 w 6032500"/>
              <a:gd name="connsiteY1" fmla="*/ 0 h 1083212"/>
              <a:gd name="connsiteX2" fmla="*/ 6032500 w 6032500"/>
              <a:gd name="connsiteY2" fmla="*/ 1083212 h 1083212"/>
              <a:gd name="connsiteX3" fmla="*/ 0 w 6032500"/>
              <a:gd name="connsiteY3" fmla="*/ 1083212 h 1083212"/>
              <a:gd name="connsiteX4" fmla="*/ 0 w 6032500"/>
              <a:gd name="connsiteY4" fmla="*/ 0 h 1083212"/>
              <a:gd name="connsiteX0" fmla="*/ 0 w 6032500"/>
              <a:gd name="connsiteY0" fmla="*/ 0 h 1083212"/>
              <a:gd name="connsiteX1" fmla="*/ 6032500 w 6032500"/>
              <a:gd name="connsiteY1" fmla="*/ 0 h 1083212"/>
              <a:gd name="connsiteX2" fmla="*/ 5526063 w 6032500"/>
              <a:gd name="connsiteY2" fmla="*/ 1083212 h 1083212"/>
              <a:gd name="connsiteX3" fmla="*/ 0 w 6032500"/>
              <a:gd name="connsiteY3" fmla="*/ 1083212 h 1083212"/>
              <a:gd name="connsiteX4" fmla="*/ 0 w 6032500"/>
              <a:gd name="connsiteY4" fmla="*/ 0 h 108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0" h="1083212">
                <a:moveTo>
                  <a:pt x="0" y="0"/>
                </a:moveTo>
                <a:lnTo>
                  <a:pt x="6032500" y="0"/>
                </a:lnTo>
                <a:lnTo>
                  <a:pt x="5526063" y="1083212"/>
                </a:lnTo>
                <a:lnTo>
                  <a:pt x="0" y="1083212"/>
                </a:lnTo>
                <a:lnTo>
                  <a:pt x="0" y="0"/>
                </a:lnTo>
                <a:close/>
              </a:path>
            </a:pathLst>
          </a:custGeom>
          <a:solidFill>
            <a:sysClr val="window" lastClr="FFFFFF"/>
          </a:solidFill>
          <a:ln w="12700" cap="flat" cmpd="sng" algn="ctr">
            <a:noFill/>
            <a:prstDash val="solid"/>
            <a:miter lim="800000"/>
          </a:ln>
          <a:effectLst>
            <a:innerShdw blurRad="76200" dist="76200" dir="18900000">
              <a:prstClr val="black">
                <a:alpha val="46000"/>
              </a:prstClr>
            </a:innerShdw>
          </a:effectLst>
        </p:spPr>
        <p:txBody>
          <a:bodyPr rtlCol="0" anchor="ctr"/>
          <a:lstStyle/>
          <a:p>
            <a:pPr marL="0" lvl="1">
              <a:defRPr/>
            </a:pPr>
            <a:r>
              <a:rPr lang="en-IN" sz="2400" b="1" dirty="0">
                <a:solidFill>
                  <a:prstClr val="black"/>
                </a:solidFill>
                <a:latin typeface="Arial" panose="020B0604020202020204" pitchFamily="34" charset="0"/>
                <a:cs typeface="Arial" panose="020B0604020202020204" pitchFamily="34" charset="0"/>
              </a:rPr>
              <a:t>Indonesia Copper Sulphate Market Outlook</a:t>
            </a:r>
            <a:endParaRPr kumimoji="0" lang="en-US"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p:txBody>
      </p:sp>
      <p:pic>
        <p:nvPicPr>
          <p:cNvPr id="5122" name="Picture 2" descr="Image result for Indonesia flag">
            <a:extLst>
              <a:ext uri="{FF2B5EF4-FFF2-40B4-BE49-F238E27FC236}">
                <a16:creationId xmlns:a16="http://schemas.microsoft.com/office/drawing/2014/main" id="{9A378D46-EA87-47AF-987A-9067AF43F352}"/>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956859"/>
            <a:ext cx="8892000" cy="4345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17622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14320C3F-EF7D-410F-BFF2-8168F2D77AA0}"/>
              </a:ext>
            </a:extLst>
          </p:cNvPr>
          <p:cNvGraphicFramePr/>
          <p:nvPr>
            <p:extLst>
              <p:ext uri="{D42A27DB-BD31-4B8C-83A1-F6EECF244321}">
                <p14:modId xmlns:p14="http://schemas.microsoft.com/office/powerpoint/2010/main" val="1041666714"/>
              </p:ext>
            </p:extLst>
          </p:nvPr>
        </p:nvGraphicFramePr>
        <p:xfrm>
          <a:off x="219965" y="1645745"/>
          <a:ext cx="8268194" cy="1899415"/>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a:extLst>
              <a:ext uri="{FF2B5EF4-FFF2-40B4-BE49-F238E27FC236}">
                <a16:creationId xmlns:a16="http://schemas.microsoft.com/office/drawing/2014/main" id="{B83D75AB-0E3C-4B82-996F-87A7453E4A1F}"/>
              </a:ext>
            </a:extLst>
          </p:cNvPr>
          <p:cNvGrpSpPr/>
          <p:nvPr/>
        </p:nvGrpSpPr>
        <p:grpSpPr>
          <a:xfrm>
            <a:off x="4354062" y="1302008"/>
            <a:ext cx="3756268" cy="516701"/>
            <a:chOff x="4524751" y="1404135"/>
            <a:chExt cx="3555640" cy="516701"/>
          </a:xfrm>
        </p:grpSpPr>
        <p:cxnSp>
          <p:nvCxnSpPr>
            <p:cNvPr id="4" name="Connector: Elbow 3">
              <a:extLst>
                <a:ext uri="{FF2B5EF4-FFF2-40B4-BE49-F238E27FC236}">
                  <a16:creationId xmlns:a16="http://schemas.microsoft.com/office/drawing/2014/main" id="{95A6DFC4-4495-4F6A-A9EF-3E83D56C7111}"/>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F95BE91-1C09-4CB4-83F8-DAB4DE213186}"/>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By Value: 3.58%</a:t>
              </a:r>
            </a:p>
          </p:txBody>
        </p:sp>
      </p:grpSp>
      <p:grpSp>
        <p:nvGrpSpPr>
          <p:cNvPr id="6" name="Group 5">
            <a:extLst>
              <a:ext uri="{FF2B5EF4-FFF2-40B4-BE49-F238E27FC236}">
                <a16:creationId xmlns:a16="http://schemas.microsoft.com/office/drawing/2014/main" id="{1F1797BD-8E39-4379-B7B5-4BD9B632F27D}"/>
              </a:ext>
            </a:extLst>
          </p:cNvPr>
          <p:cNvGrpSpPr/>
          <p:nvPr/>
        </p:nvGrpSpPr>
        <p:grpSpPr>
          <a:xfrm>
            <a:off x="543338" y="1296572"/>
            <a:ext cx="3182166" cy="516701"/>
            <a:chOff x="4524751" y="1404135"/>
            <a:chExt cx="3302533" cy="516701"/>
          </a:xfrm>
        </p:grpSpPr>
        <p:cxnSp>
          <p:nvCxnSpPr>
            <p:cNvPr id="7" name="Connector: Elbow 6">
              <a:extLst>
                <a:ext uri="{FF2B5EF4-FFF2-40B4-BE49-F238E27FC236}">
                  <a16:creationId xmlns:a16="http://schemas.microsoft.com/office/drawing/2014/main" id="{2F52B0F6-27F3-4CEB-A84F-9018459DA4B8}"/>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CE477C8-FC35-4CC6-BFD4-63C00C156893}"/>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schemeClr val="tx1"/>
                  </a:solidFill>
                  <a:latin typeface="Verdana" panose="020B0604030504040204" pitchFamily="34" charset="0"/>
                  <a:ea typeface="Verdana" panose="020B0604030504040204" pitchFamily="34" charset="0"/>
                  <a:cs typeface="Verdana" panose="020B0604030504040204" pitchFamily="34" charset="0"/>
                </a:rPr>
                <a:t>2.91</a:t>
              </a:r>
              <a:r>
                <a:rPr kumimoji="0" lang="en-US" sz="1000" b="0" i="1"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9" name="TextBox 8">
            <a:extLst>
              <a:ext uri="{FF2B5EF4-FFF2-40B4-BE49-F238E27FC236}">
                <a16:creationId xmlns:a16="http://schemas.microsoft.com/office/drawing/2014/main" id="{786AB1F4-AC9C-4AFF-8AAA-46411A146ED7}"/>
              </a:ext>
            </a:extLst>
          </p:cNvPr>
          <p:cNvSpPr txBox="1"/>
          <p:nvPr/>
        </p:nvSpPr>
        <p:spPr>
          <a:xfrm>
            <a:off x="211741" y="91519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1: Indone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alu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USD</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Million), 2016-2026F</a:t>
            </a:r>
          </a:p>
        </p:txBody>
      </p:sp>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Indone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alue </a:t>
            </a:r>
            <a:endParaRPr kumimoji="0" lang="en-IN" sz="1400" b="1" i="0" u="none" strike="noStrike" kern="1200" cap="none" spc="0" normalizeH="0" baseline="0" noProof="0" dirty="0">
              <a:ln>
                <a:noFill/>
              </a:ln>
              <a:solidFill>
                <a:srgbClr val="FF0000"/>
              </a:solidFill>
              <a:effectLst/>
              <a:uLnTx/>
              <a:uFillTx/>
              <a:latin typeface="Arial" panose="020B0604020202020204" pitchFamily="34" charset="0"/>
              <a:ea typeface="+mj-ea"/>
              <a:cs typeface="Arial" panose="020B0604020202020204" pitchFamily="34" charset="0"/>
            </a:endParaRPr>
          </a:p>
        </p:txBody>
      </p:sp>
      <p:sp>
        <p:nvSpPr>
          <p:cNvPr id="12" name="TextBox 11">
            <a:extLst>
              <a:ext uri="{FF2B5EF4-FFF2-40B4-BE49-F238E27FC236}">
                <a16:creationId xmlns:a16="http://schemas.microsoft.com/office/drawing/2014/main" id="{BB88E188-964B-4FBC-927F-472B9271FEE6}"/>
              </a:ext>
            </a:extLst>
          </p:cNvPr>
          <p:cNvSpPr txBox="1"/>
          <p:nvPr/>
        </p:nvSpPr>
        <p:spPr>
          <a:xfrm>
            <a:off x="6546976" y="342900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4" name="Subtitle 2">
            <a:extLst>
              <a:ext uri="{FF2B5EF4-FFF2-40B4-BE49-F238E27FC236}">
                <a16:creationId xmlns:a16="http://schemas.microsoft.com/office/drawing/2014/main" id="{89720EDD-4ADA-403B-BEA6-E0D137FAB662}"/>
              </a:ext>
            </a:extLst>
          </p:cNvPr>
          <p:cNvSpPr txBox="1">
            <a:spLocks/>
          </p:cNvSpPr>
          <p:nvPr/>
        </p:nvSpPr>
        <p:spPr>
          <a:xfrm>
            <a:off x="94166" y="3786758"/>
            <a:ext cx="4477834" cy="2644622"/>
          </a:xfrm>
          <a:prstGeom prst="rect">
            <a:avLst/>
          </a:prstGeom>
          <a:solidFill>
            <a:schemeClr val="accent6">
              <a:lumMod val="40000"/>
              <a:lumOff val="60000"/>
            </a:schemeClr>
          </a:solidFill>
          <a:ln>
            <a:solidFill>
              <a:schemeClr val="accent6">
                <a:lumMod val="60000"/>
                <a:lumOff val="40000"/>
              </a:schemeClr>
            </a:solidFill>
          </a:ln>
        </p:spPr>
        <p:style>
          <a:lnRef idx="1">
            <a:schemeClr val="accent2"/>
          </a:lnRef>
          <a:fillRef idx="2">
            <a:schemeClr val="accent2"/>
          </a:fillRef>
          <a:effectRef idx="1">
            <a:schemeClr val="accent2"/>
          </a:effectRef>
          <a:fontRef idx="minor">
            <a:schemeClr val="dk1"/>
          </a:fontRef>
        </p:style>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Java is estimated to be the dominating region in the Indonesia Copper Sulphate market with a share of 41.80% in 2020, owing to the rapid development in infrastructure coupled with the increasing investments into the agriculture and  animal husbandry sector, which have resulted in the expansion of copper sulphate market.</a:t>
            </a:r>
          </a:p>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Additionally, rising population, increasing urbanization, growing manufacturing and process industries  and rapidly increasing industrial and infrastructural development activities in the region have increased the need for copper sulphate (industrial and reagent).</a:t>
            </a:r>
            <a:endParaRPr lang="en-US" sz="1000"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Chart 14">
            <a:extLst>
              <a:ext uri="{FF2B5EF4-FFF2-40B4-BE49-F238E27FC236}">
                <a16:creationId xmlns:a16="http://schemas.microsoft.com/office/drawing/2014/main" id="{442824B2-B29E-47A1-9AF8-C60E7A660339}"/>
              </a:ext>
            </a:extLst>
          </p:cNvPr>
          <p:cNvGraphicFramePr/>
          <p:nvPr>
            <p:extLst>
              <p:ext uri="{D42A27DB-BD31-4B8C-83A1-F6EECF244321}">
                <p14:modId xmlns:p14="http://schemas.microsoft.com/office/powerpoint/2010/main" val="2861292666"/>
              </p:ext>
            </p:extLst>
          </p:nvPr>
        </p:nvGraphicFramePr>
        <p:xfrm>
          <a:off x="4757221" y="4046372"/>
          <a:ext cx="4025058" cy="2393192"/>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C8640981-D883-48E6-8689-7A421CC00AC1}"/>
              </a:ext>
            </a:extLst>
          </p:cNvPr>
          <p:cNvSpPr txBox="1"/>
          <p:nvPr/>
        </p:nvSpPr>
        <p:spPr>
          <a:xfrm>
            <a:off x="4696731" y="3760567"/>
            <a:ext cx="4578626" cy="246221"/>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Indonesia Manufacturing Output (% of GDP), 2015-2020</a:t>
            </a:r>
          </a:p>
        </p:txBody>
      </p:sp>
      <p:sp>
        <p:nvSpPr>
          <p:cNvPr id="17" name="TextBox 16">
            <a:extLst>
              <a:ext uri="{FF2B5EF4-FFF2-40B4-BE49-F238E27FC236}">
                <a16:creationId xmlns:a16="http://schemas.microsoft.com/office/drawing/2014/main" id="{C6374320-05BE-4707-BA1C-B0558682188F}"/>
              </a:ext>
            </a:extLst>
          </p:cNvPr>
          <p:cNvSpPr txBox="1"/>
          <p:nvPr/>
        </p:nvSpPr>
        <p:spPr>
          <a:xfrm>
            <a:off x="6637223"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Tree>
    <p:extLst>
      <p:ext uri="{BB962C8B-B14F-4D97-AF65-F5344CB8AC3E}">
        <p14:creationId xmlns:p14="http://schemas.microsoft.com/office/powerpoint/2010/main" val="26298329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14320C3F-EF7D-410F-BFF2-8168F2D77AA0}"/>
              </a:ext>
            </a:extLst>
          </p:cNvPr>
          <p:cNvGraphicFramePr/>
          <p:nvPr/>
        </p:nvGraphicFramePr>
        <p:xfrm>
          <a:off x="219965" y="1645745"/>
          <a:ext cx="8268194" cy="1899415"/>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a:extLst>
              <a:ext uri="{FF2B5EF4-FFF2-40B4-BE49-F238E27FC236}">
                <a16:creationId xmlns:a16="http://schemas.microsoft.com/office/drawing/2014/main" id="{B83D75AB-0E3C-4B82-996F-87A7453E4A1F}"/>
              </a:ext>
            </a:extLst>
          </p:cNvPr>
          <p:cNvGrpSpPr/>
          <p:nvPr/>
        </p:nvGrpSpPr>
        <p:grpSpPr>
          <a:xfrm>
            <a:off x="4354062" y="1302008"/>
            <a:ext cx="3756268" cy="516701"/>
            <a:chOff x="4524751" y="1404135"/>
            <a:chExt cx="3555640" cy="516701"/>
          </a:xfrm>
        </p:grpSpPr>
        <p:cxnSp>
          <p:nvCxnSpPr>
            <p:cNvPr id="4" name="Connector: Elbow 3">
              <a:extLst>
                <a:ext uri="{FF2B5EF4-FFF2-40B4-BE49-F238E27FC236}">
                  <a16:creationId xmlns:a16="http://schemas.microsoft.com/office/drawing/2014/main" id="{95A6DFC4-4495-4F6A-A9EF-3E83D56C7111}"/>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F95BE91-1C09-4CB4-83F8-DAB4DE213186}"/>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4.86</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grpSp>
        <p:nvGrpSpPr>
          <p:cNvPr id="6" name="Group 5">
            <a:extLst>
              <a:ext uri="{FF2B5EF4-FFF2-40B4-BE49-F238E27FC236}">
                <a16:creationId xmlns:a16="http://schemas.microsoft.com/office/drawing/2014/main" id="{1F1797BD-8E39-4379-B7B5-4BD9B632F27D}"/>
              </a:ext>
            </a:extLst>
          </p:cNvPr>
          <p:cNvGrpSpPr/>
          <p:nvPr/>
        </p:nvGrpSpPr>
        <p:grpSpPr>
          <a:xfrm>
            <a:off x="543338" y="1296572"/>
            <a:ext cx="3182166" cy="516701"/>
            <a:chOff x="4524751" y="1404135"/>
            <a:chExt cx="3302533" cy="516701"/>
          </a:xfrm>
        </p:grpSpPr>
        <p:cxnSp>
          <p:nvCxnSpPr>
            <p:cNvPr id="7" name="Connector: Elbow 6">
              <a:extLst>
                <a:ext uri="{FF2B5EF4-FFF2-40B4-BE49-F238E27FC236}">
                  <a16:creationId xmlns:a16="http://schemas.microsoft.com/office/drawing/2014/main" id="{2F52B0F6-27F3-4CEB-A84F-9018459DA4B8}"/>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CE477C8-FC35-4CC6-BFD4-63C00C156893}"/>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2.65</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9" name="TextBox 8">
            <a:extLst>
              <a:ext uri="{FF2B5EF4-FFF2-40B4-BE49-F238E27FC236}">
                <a16:creationId xmlns:a16="http://schemas.microsoft.com/office/drawing/2014/main" id="{786AB1F4-AC9C-4AFF-8AAA-46411A146ED7}"/>
              </a:ext>
            </a:extLst>
          </p:cNvPr>
          <p:cNvSpPr txBox="1"/>
          <p:nvPr/>
        </p:nvSpPr>
        <p:spPr>
          <a:xfrm>
            <a:off x="211741" y="91519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2: Indone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olume (Kilo Tonnes), 2016-2026F</a:t>
            </a:r>
          </a:p>
        </p:txBody>
      </p:sp>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Indone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olume</a:t>
            </a:r>
          </a:p>
        </p:txBody>
      </p:sp>
      <p:sp>
        <p:nvSpPr>
          <p:cNvPr id="12" name="TextBox 11">
            <a:extLst>
              <a:ext uri="{FF2B5EF4-FFF2-40B4-BE49-F238E27FC236}">
                <a16:creationId xmlns:a16="http://schemas.microsoft.com/office/drawing/2014/main" id="{BB88E188-964B-4FBC-927F-472B9271FEE6}"/>
              </a:ext>
            </a:extLst>
          </p:cNvPr>
          <p:cNvSpPr txBox="1"/>
          <p:nvPr/>
        </p:nvSpPr>
        <p:spPr>
          <a:xfrm>
            <a:off x="6546976" y="372287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4" name="Chart 13">
            <a:extLst>
              <a:ext uri="{FF2B5EF4-FFF2-40B4-BE49-F238E27FC236}">
                <a16:creationId xmlns:a16="http://schemas.microsoft.com/office/drawing/2014/main" id="{9F406E8B-A40A-44D0-8D0B-FFFC4635D2C1}"/>
              </a:ext>
            </a:extLst>
          </p:cNvPr>
          <p:cNvGraphicFramePr/>
          <p:nvPr>
            <p:extLst>
              <p:ext uri="{D42A27DB-BD31-4B8C-83A1-F6EECF244321}">
                <p14:modId xmlns:p14="http://schemas.microsoft.com/office/powerpoint/2010/main" val="581252919"/>
              </p:ext>
            </p:extLst>
          </p:nvPr>
        </p:nvGraphicFramePr>
        <p:xfrm>
          <a:off x="179673" y="4427895"/>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62B85AAF-D9E3-47E3-BE40-8A76B74419F6}"/>
              </a:ext>
            </a:extLst>
          </p:cNvPr>
          <p:cNvSpPr txBox="1"/>
          <p:nvPr/>
        </p:nvSpPr>
        <p:spPr>
          <a:xfrm>
            <a:off x="145481" y="4107470"/>
            <a:ext cx="4578626" cy="400110"/>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Indonesia Agricultural Production, By Value (USD Million), 2015-2019</a:t>
            </a:r>
          </a:p>
        </p:txBody>
      </p:sp>
      <p:sp>
        <p:nvSpPr>
          <p:cNvPr id="16" name="TextBox 15">
            <a:extLst>
              <a:ext uri="{FF2B5EF4-FFF2-40B4-BE49-F238E27FC236}">
                <a16:creationId xmlns:a16="http://schemas.microsoft.com/office/drawing/2014/main" id="{2CCCDE06-3122-42B7-BD1A-C021ED5BBB86}"/>
              </a:ext>
            </a:extLst>
          </p:cNvPr>
          <p:cNvSpPr txBox="1"/>
          <p:nvPr/>
        </p:nvSpPr>
        <p:spPr>
          <a:xfrm>
            <a:off x="3031005" y="6410682"/>
            <a:ext cx="1139869"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FAO Stats </a:t>
            </a:r>
          </a:p>
        </p:txBody>
      </p:sp>
      <p:graphicFrame>
        <p:nvGraphicFramePr>
          <p:cNvPr id="19" name="Chart 18">
            <a:extLst>
              <a:ext uri="{FF2B5EF4-FFF2-40B4-BE49-F238E27FC236}">
                <a16:creationId xmlns:a16="http://schemas.microsoft.com/office/drawing/2014/main" id="{850AAED8-5572-47B6-8247-F126FDBD94FC}"/>
              </a:ext>
            </a:extLst>
          </p:cNvPr>
          <p:cNvGraphicFramePr/>
          <p:nvPr>
            <p:extLst>
              <p:ext uri="{D42A27DB-BD31-4B8C-83A1-F6EECF244321}">
                <p14:modId xmlns:p14="http://schemas.microsoft.com/office/powerpoint/2010/main" val="2827483820"/>
              </p:ext>
            </p:extLst>
          </p:nvPr>
        </p:nvGraphicFramePr>
        <p:xfrm>
          <a:off x="4842990" y="4455704"/>
          <a:ext cx="3910054" cy="1983188"/>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Box 19">
            <a:extLst>
              <a:ext uri="{FF2B5EF4-FFF2-40B4-BE49-F238E27FC236}">
                <a16:creationId xmlns:a16="http://schemas.microsoft.com/office/drawing/2014/main" id="{29C79A6D-786C-46C6-AA62-AF3AF1263445}"/>
              </a:ext>
            </a:extLst>
          </p:cNvPr>
          <p:cNvSpPr txBox="1"/>
          <p:nvPr/>
        </p:nvSpPr>
        <p:spPr>
          <a:xfrm>
            <a:off x="4671100" y="4100846"/>
            <a:ext cx="4578626" cy="246221"/>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Indonesia Agricultural Land (% of Land Area), 2015-2020</a:t>
            </a:r>
          </a:p>
        </p:txBody>
      </p:sp>
      <p:sp>
        <p:nvSpPr>
          <p:cNvPr id="23" name="TextBox 22">
            <a:extLst>
              <a:ext uri="{FF2B5EF4-FFF2-40B4-BE49-F238E27FC236}">
                <a16:creationId xmlns:a16="http://schemas.microsoft.com/office/drawing/2014/main" id="{733E440A-88C7-4C59-982A-26F5A445EC95}"/>
              </a:ext>
            </a:extLst>
          </p:cNvPr>
          <p:cNvSpPr txBox="1"/>
          <p:nvPr/>
        </p:nvSpPr>
        <p:spPr>
          <a:xfrm>
            <a:off x="6637223"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Tree>
    <p:extLst>
      <p:ext uri="{BB962C8B-B14F-4D97-AF65-F5344CB8AC3E}">
        <p14:creationId xmlns:p14="http://schemas.microsoft.com/office/powerpoint/2010/main" val="4839930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Indone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a:t>
            </a:r>
          </a:p>
        </p:txBody>
      </p:sp>
      <p:sp>
        <p:nvSpPr>
          <p:cNvPr id="13" name="TextBox 12">
            <a:extLst>
              <a:ext uri="{FF2B5EF4-FFF2-40B4-BE49-F238E27FC236}">
                <a16:creationId xmlns:a16="http://schemas.microsoft.com/office/drawing/2014/main" id="{D6F011D1-F8F8-4C07-BF38-BB19CCF9F0E2}"/>
              </a:ext>
            </a:extLst>
          </p:cNvPr>
          <p:cNvSpPr txBox="1"/>
          <p:nvPr/>
        </p:nvSpPr>
        <p:spPr>
          <a:xfrm>
            <a:off x="357809" y="980661"/>
            <a:ext cx="8335617" cy="5581977"/>
          </a:xfrm>
          <a:prstGeom prst="rect">
            <a:avLst/>
          </a:prstGeom>
          <a:noFill/>
        </p:spPr>
        <p:txBody>
          <a:bodyPr wrap="square" rtlCol="0">
            <a:spAutoFit/>
          </a:bodyPr>
          <a:lstStyle/>
          <a:p>
            <a:pPr marL="171450" indent="-171450">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Indonesia being the fifth most populated country in the world accounts for the higher production of agricultural products therefore is considered as the major producer in the agricultural sector. Java and Bali islands accounts for only 7 percent of Indonesia’s total land area but 60 percent of the total population. These islands have very intensive agriculture with up to three crop rotations per year. Various Government initiatives have helped the Indonesian economy to integrate into the world economy which has significantly helped agriculture sector to grow in the country.</a:t>
            </a:r>
          </a:p>
          <a:p>
            <a:pPr marL="171450" indent="-171450">
              <a:lnSpc>
                <a:spcPct val="200000"/>
              </a:lnSpc>
              <a:buFont typeface="Arial" panose="020B0604020202020204" pitchFamily="34" charset="0"/>
              <a:buChar char="•"/>
            </a:pPr>
            <a:endParaRPr lang="en-US" sz="1000" dirty="0">
              <a:latin typeface="Verdana" panose="020B0604030504040204" pitchFamily="34" charset="0"/>
              <a:ea typeface="Verdana" panose="020B0604030504040204" pitchFamily="34" charset="0"/>
              <a:cs typeface="Verdana" panose="020B0604030504040204" pitchFamily="34" charset="0"/>
            </a:endParaRPr>
          </a:p>
          <a:p>
            <a:pPr marL="171450" indent="-171450">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The increasing livestock population in the country also serves as the driving factor for the increasing demand of copper sulphate in animal husbandry sector. Various Government initiatives like establishment of cattle breeding stations and artificial insemination centers which would improve the stock. Government also provide technical and other assistance to chicken and duck farmers to increase protein supplies. The increasing demand of livestock products is due to the rising per capita income in Indonesia. Major Government initiatives have been taken to increase the beef cattle production in the country like development of local breeding and fattening cattle business, development of cattle and crop integration, improving the quality of slaughterhouses, cattle breeding development and many more.</a:t>
            </a:r>
          </a:p>
          <a:p>
            <a:pPr marL="171450" indent="-171450">
              <a:lnSpc>
                <a:spcPct val="200000"/>
              </a:lnSpc>
              <a:buFont typeface="Arial" panose="020B0604020202020204" pitchFamily="34" charset="0"/>
              <a:buChar char="•"/>
            </a:pPr>
            <a:endParaRPr lang="en-US" sz="1000" dirty="0">
              <a:latin typeface="Verdana" panose="020B0604030504040204" pitchFamily="34" charset="0"/>
              <a:ea typeface="Verdana" panose="020B0604030504040204" pitchFamily="34" charset="0"/>
              <a:cs typeface="Verdana" panose="020B0604030504040204" pitchFamily="34" charset="0"/>
            </a:endParaRPr>
          </a:p>
          <a:p>
            <a:pPr marL="171450" indent="-171450">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 Indonesia also serves as the one of the largest copper mining producer in the world which serves as the major driver for the increasing demand of copper sulphate due to availability of raw materials.</a:t>
            </a:r>
          </a:p>
          <a:p>
            <a:pPr marL="171450" indent="-171450">
              <a:lnSpc>
                <a:spcPct val="200000"/>
              </a:lnSpc>
              <a:buFont typeface="Arial" panose="020B0604020202020204" pitchFamily="34" charset="0"/>
              <a:buChar char="•"/>
            </a:pPr>
            <a:endParaRPr lang="en-US" sz="1000" dirty="0">
              <a:latin typeface="Verdana" panose="020B0604030504040204" pitchFamily="34" charset="0"/>
              <a:ea typeface="Verdana" panose="020B0604030504040204" pitchFamily="34" charset="0"/>
              <a:cs typeface="Verdana" panose="020B0604030504040204" pitchFamily="34" charset="0"/>
            </a:endParaRPr>
          </a:p>
          <a:p>
            <a:pPr marL="171450" indent="-171450">
              <a:lnSpc>
                <a:spcPct val="200000"/>
              </a:lnSpc>
              <a:buFont typeface="Arial" panose="020B0604020202020204" pitchFamily="34" charset="0"/>
              <a:buChar char="•"/>
            </a:pPr>
            <a:endParaRPr lang="en-US" sz="1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81189249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Indone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hare &amp; Size, By </a:t>
            </a:r>
            <a:r>
              <a:rPr lang="en-IN" sz="1400" b="1" dirty="0">
                <a:solidFill>
                  <a:prstClr val="black"/>
                </a:solidFill>
                <a:latin typeface="Arial" panose="020B0604020202020204" pitchFamily="34" charset="0"/>
                <a:cs typeface="Arial" panose="020B0604020202020204" pitchFamily="34" charset="0"/>
              </a:rPr>
              <a:t>Grade </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28" name="TextBox 27">
            <a:extLst>
              <a:ext uri="{FF2B5EF4-FFF2-40B4-BE49-F238E27FC236}">
                <a16:creationId xmlns:a16="http://schemas.microsoft.com/office/drawing/2014/main" id="{DDF0E565-D0AB-44F0-A5D8-D1B068022189}"/>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3: Indone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Grade</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USD Million), 2016-2026F</a:t>
            </a:r>
          </a:p>
        </p:txBody>
      </p:sp>
      <p:sp>
        <p:nvSpPr>
          <p:cNvPr id="8" name="TextBox 7">
            <a:extLst>
              <a:ext uri="{FF2B5EF4-FFF2-40B4-BE49-F238E27FC236}">
                <a16:creationId xmlns:a16="http://schemas.microsoft.com/office/drawing/2014/main" id="{377E04C2-64EC-4071-91D2-2DF2EB9F00BB}"/>
              </a:ext>
            </a:extLst>
          </p:cNvPr>
          <p:cNvSpPr txBox="1"/>
          <p:nvPr/>
        </p:nvSpPr>
        <p:spPr>
          <a:xfrm>
            <a:off x="291548" y="4373217"/>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5: Indonesia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Grade, By Value, (USD Million), 2016-2026F</a:t>
            </a:r>
          </a:p>
        </p:txBody>
      </p:sp>
      <p:graphicFrame>
        <p:nvGraphicFramePr>
          <p:cNvPr id="10" name="Table 9">
            <a:extLst>
              <a:ext uri="{FF2B5EF4-FFF2-40B4-BE49-F238E27FC236}">
                <a16:creationId xmlns:a16="http://schemas.microsoft.com/office/drawing/2014/main" id="{B817CD9E-C62D-4948-BD3B-6404CF626DE6}"/>
              </a:ext>
            </a:extLst>
          </p:cNvPr>
          <p:cNvGraphicFramePr>
            <a:graphicFrameLocks noGrp="1"/>
          </p:cNvGraphicFramePr>
          <p:nvPr>
            <p:extLst>
              <p:ext uri="{D42A27DB-BD31-4B8C-83A1-F6EECF244321}">
                <p14:modId xmlns:p14="http://schemas.microsoft.com/office/powerpoint/2010/main" val="1857312000"/>
              </p:ext>
            </p:extLst>
          </p:nvPr>
        </p:nvGraphicFramePr>
        <p:xfrm>
          <a:off x="371102" y="4784034"/>
          <a:ext cx="8362084" cy="888306"/>
        </p:xfrm>
        <a:graphic>
          <a:graphicData uri="http://schemas.openxmlformats.org/drawingml/2006/table">
            <a:tbl>
              <a:tblPr>
                <a:tableStyleId>{8EC20E35-A176-4012-BC5E-935CFFF8708E}</a:tableStyleId>
              </a:tblPr>
              <a:tblGrid>
                <a:gridCol w="1764152">
                  <a:extLst>
                    <a:ext uri="{9D8B030D-6E8A-4147-A177-3AD203B41FA5}">
                      <a16:colId xmlns:a16="http://schemas.microsoft.com/office/drawing/2014/main" val="2017731148"/>
                    </a:ext>
                  </a:extLst>
                </a:gridCol>
                <a:gridCol w="599812">
                  <a:extLst>
                    <a:ext uri="{9D8B030D-6E8A-4147-A177-3AD203B41FA5}">
                      <a16:colId xmlns:a16="http://schemas.microsoft.com/office/drawing/2014/main" val="2667391389"/>
                    </a:ext>
                  </a:extLst>
                </a:gridCol>
                <a:gridCol w="599812">
                  <a:extLst>
                    <a:ext uri="{9D8B030D-6E8A-4147-A177-3AD203B41FA5}">
                      <a16:colId xmlns:a16="http://schemas.microsoft.com/office/drawing/2014/main" val="3750729452"/>
                    </a:ext>
                  </a:extLst>
                </a:gridCol>
                <a:gridCol w="599812">
                  <a:extLst>
                    <a:ext uri="{9D8B030D-6E8A-4147-A177-3AD203B41FA5}">
                      <a16:colId xmlns:a16="http://schemas.microsoft.com/office/drawing/2014/main" val="425130346"/>
                    </a:ext>
                  </a:extLst>
                </a:gridCol>
                <a:gridCol w="599812">
                  <a:extLst>
                    <a:ext uri="{9D8B030D-6E8A-4147-A177-3AD203B41FA5}">
                      <a16:colId xmlns:a16="http://schemas.microsoft.com/office/drawing/2014/main" val="1091415442"/>
                    </a:ext>
                  </a:extLst>
                </a:gridCol>
                <a:gridCol w="599812">
                  <a:extLst>
                    <a:ext uri="{9D8B030D-6E8A-4147-A177-3AD203B41FA5}">
                      <a16:colId xmlns:a16="http://schemas.microsoft.com/office/drawing/2014/main" val="2869642291"/>
                    </a:ext>
                  </a:extLst>
                </a:gridCol>
                <a:gridCol w="599812">
                  <a:extLst>
                    <a:ext uri="{9D8B030D-6E8A-4147-A177-3AD203B41FA5}">
                      <a16:colId xmlns:a16="http://schemas.microsoft.com/office/drawing/2014/main" val="1492483844"/>
                    </a:ext>
                  </a:extLst>
                </a:gridCol>
                <a:gridCol w="599812">
                  <a:extLst>
                    <a:ext uri="{9D8B030D-6E8A-4147-A177-3AD203B41FA5}">
                      <a16:colId xmlns:a16="http://schemas.microsoft.com/office/drawing/2014/main" val="536896032"/>
                    </a:ext>
                  </a:extLst>
                </a:gridCol>
                <a:gridCol w="599812">
                  <a:extLst>
                    <a:ext uri="{9D8B030D-6E8A-4147-A177-3AD203B41FA5}">
                      <a16:colId xmlns:a16="http://schemas.microsoft.com/office/drawing/2014/main" val="2293403703"/>
                    </a:ext>
                  </a:extLst>
                </a:gridCol>
                <a:gridCol w="599812">
                  <a:extLst>
                    <a:ext uri="{9D8B030D-6E8A-4147-A177-3AD203B41FA5}">
                      <a16:colId xmlns:a16="http://schemas.microsoft.com/office/drawing/2014/main" val="2748373219"/>
                    </a:ext>
                  </a:extLst>
                </a:gridCol>
                <a:gridCol w="599812">
                  <a:extLst>
                    <a:ext uri="{9D8B030D-6E8A-4147-A177-3AD203B41FA5}">
                      <a16:colId xmlns:a16="http://schemas.microsoft.com/office/drawing/2014/main" val="316596246"/>
                    </a:ext>
                  </a:extLst>
                </a:gridCol>
                <a:gridCol w="599812">
                  <a:extLst>
                    <a:ext uri="{9D8B030D-6E8A-4147-A177-3AD203B41FA5}">
                      <a16:colId xmlns:a16="http://schemas.microsoft.com/office/drawing/2014/main" val="2656604351"/>
                    </a:ext>
                  </a:extLst>
                </a:gridCol>
              </a:tblGrid>
              <a:tr h="296102">
                <a:tc>
                  <a:txBody>
                    <a:bodyPr/>
                    <a:lstStyle/>
                    <a:p>
                      <a:pPr algn="l" fontAlgn="b"/>
                      <a:r>
                        <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Grade </a:t>
                      </a: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4277395723"/>
                  </a:ext>
                </a:extLst>
              </a:tr>
              <a:tr h="296102">
                <a:tc>
                  <a:txBody>
                    <a:bodyPr/>
                    <a:lstStyle/>
                    <a:p>
                      <a:pPr algn="l" fontAlgn="b"/>
                      <a:r>
                        <a:rPr lang="en-IN" sz="1000" b="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r" fontAlgn="b"/>
                      <a:r>
                        <a:rPr lang="en-IN" sz="1100" b="0" i="0" u="none" strike="noStrike" dirty="0">
                          <a:solidFill>
                            <a:srgbClr val="000000"/>
                          </a:solidFill>
                          <a:effectLst/>
                          <a:latin typeface="Cambria" panose="02040503050406030204" pitchFamily="18" charset="0"/>
                        </a:rPr>
                        <a:t>33.48</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5.85</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7.67</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9.92</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7.09</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9.36</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41.66</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44.05</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46.55</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49.13</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51.77</a:t>
                      </a:r>
                    </a:p>
                  </a:txBody>
                  <a:tcPr marL="9525" marR="9525" marT="9525" marB="0" anchor="b"/>
                </a:tc>
                <a:extLst>
                  <a:ext uri="{0D108BD9-81ED-4DB2-BD59-A6C34878D82A}">
                    <a16:rowId xmlns:a16="http://schemas.microsoft.com/office/drawing/2014/main" val="3614340383"/>
                  </a:ext>
                </a:extLst>
              </a:tr>
              <a:tr h="296102">
                <a:tc>
                  <a:txBody>
                    <a:bodyPr/>
                    <a:lstStyle/>
                    <a:p>
                      <a:pPr algn="l" fontAlgn="b"/>
                      <a:r>
                        <a:rPr lang="en-US"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Reagent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r" fontAlgn="b"/>
                      <a:r>
                        <a:rPr lang="en-IN" sz="1100" b="0" i="0" u="none" strike="noStrike" dirty="0">
                          <a:solidFill>
                            <a:srgbClr val="000000"/>
                          </a:solidFill>
                          <a:effectLst/>
                          <a:latin typeface="Cambria" panose="02040503050406030204" pitchFamily="18" charset="0"/>
                        </a:rPr>
                        <a:t>2.47</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03</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41</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65</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22</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02</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08</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13</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20</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25</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30</a:t>
                      </a:r>
                    </a:p>
                  </a:txBody>
                  <a:tcPr marL="9525" marR="9525" marT="9525" marB="0" anchor="b"/>
                </a:tc>
                <a:extLst>
                  <a:ext uri="{0D108BD9-81ED-4DB2-BD59-A6C34878D82A}">
                    <a16:rowId xmlns:a16="http://schemas.microsoft.com/office/drawing/2014/main" val="3954528466"/>
                  </a:ext>
                </a:extLst>
              </a:tr>
            </a:tbl>
          </a:graphicData>
        </a:graphic>
      </p:graphicFrame>
      <p:graphicFrame>
        <p:nvGraphicFramePr>
          <p:cNvPr id="11" name="Chart 10">
            <a:extLst>
              <a:ext uri="{FF2B5EF4-FFF2-40B4-BE49-F238E27FC236}">
                <a16:creationId xmlns:a16="http://schemas.microsoft.com/office/drawing/2014/main" id="{4BD1A32F-9549-4B29-AC30-AA339884F884}"/>
              </a:ext>
            </a:extLst>
          </p:cNvPr>
          <p:cNvGraphicFramePr/>
          <p:nvPr/>
        </p:nvGraphicFramePr>
        <p:xfrm>
          <a:off x="291548" y="1264480"/>
          <a:ext cx="8560904" cy="2727250"/>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9378213A-F115-4828-8F9C-889C45F0F243}"/>
              </a:ext>
            </a:extLst>
          </p:cNvPr>
          <p:cNvSpPr txBox="1"/>
          <p:nvPr/>
        </p:nvSpPr>
        <p:spPr>
          <a:xfrm>
            <a:off x="6527118" y="390061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3" name="TextBox 12">
            <a:extLst>
              <a:ext uri="{FF2B5EF4-FFF2-40B4-BE49-F238E27FC236}">
                <a16:creationId xmlns:a16="http://schemas.microsoft.com/office/drawing/2014/main" id="{0730E8F5-5E8D-46B7-95BD-37780375B0EB}"/>
              </a:ext>
            </a:extLst>
          </p:cNvPr>
          <p:cNvSpPr txBox="1"/>
          <p:nvPr/>
        </p:nvSpPr>
        <p:spPr>
          <a:xfrm>
            <a:off x="6646384" y="5683367"/>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33930031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457200">
              <a:lnSpc>
                <a:spcPts val="1700"/>
              </a:lnSpc>
              <a:defRPr/>
            </a:pPr>
            <a:r>
              <a:rPr lang="en-IN" sz="1400" b="1" dirty="0">
                <a:solidFill>
                  <a:prstClr val="black"/>
                </a:solidFill>
                <a:latin typeface="Arial" panose="020B0604020202020204" pitchFamily="34" charset="0"/>
                <a:cs typeface="Arial" panose="020B0604020202020204" pitchFamily="34" charset="0"/>
              </a:rPr>
              <a:t>Indone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a:t>
            </a:r>
            <a:r>
              <a:rPr lang="en-IN" sz="1400" b="1" dirty="0">
                <a:solidFill>
                  <a:prstClr val="black"/>
                </a:solidFill>
                <a:latin typeface="Arial" panose="020B0604020202020204" pitchFamily="34" charset="0"/>
                <a:cs typeface="Arial" panose="020B0604020202020204" pitchFamily="34" charset="0"/>
              </a:rPr>
              <a:t>Share &amp; Size, </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y End Use</a:t>
            </a:r>
          </a:p>
        </p:txBody>
      </p:sp>
      <p:sp>
        <p:nvSpPr>
          <p:cNvPr id="28" name="TextBox 27">
            <a:extLst>
              <a:ext uri="{FF2B5EF4-FFF2-40B4-BE49-F238E27FC236}">
                <a16:creationId xmlns:a16="http://schemas.microsoft.com/office/drawing/2014/main" id="{DDF0E565-D0AB-44F0-A5D8-D1B068022189}"/>
              </a:ext>
            </a:extLst>
          </p:cNvPr>
          <p:cNvSpPr txBox="1"/>
          <p:nvPr/>
        </p:nvSpPr>
        <p:spPr>
          <a:xfrm>
            <a:off x="198120" y="760782"/>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4: Indone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End Use, By Value (USD Million), 2016-2026F</a:t>
            </a:r>
          </a:p>
        </p:txBody>
      </p:sp>
      <p:sp>
        <p:nvSpPr>
          <p:cNvPr id="8" name="TextBox 7">
            <a:extLst>
              <a:ext uri="{FF2B5EF4-FFF2-40B4-BE49-F238E27FC236}">
                <a16:creationId xmlns:a16="http://schemas.microsoft.com/office/drawing/2014/main" id="{377E04C2-64EC-4071-91D2-2DF2EB9F00BB}"/>
              </a:ext>
            </a:extLst>
          </p:cNvPr>
          <p:cNvSpPr txBox="1"/>
          <p:nvPr/>
        </p:nvSpPr>
        <p:spPr>
          <a:xfrm>
            <a:off x="390960" y="4035465"/>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6: Indonesia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End Use, By Value, (USD Million), 2016-2026F</a:t>
            </a:r>
          </a:p>
        </p:txBody>
      </p:sp>
      <p:graphicFrame>
        <p:nvGraphicFramePr>
          <p:cNvPr id="15" name="Chart 14">
            <a:extLst>
              <a:ext uri="{FF2B5EF4-FFF2-40B4-BE49-F238E27FC236}">
                <a16:creationId xmlns:a16="http://schemas.microsoft.com/office/drawing/2014/main" id="{A44B570C-F66E-4D4E-93A9-9F0CEAE85330}"/>
              </a:ext>
            </a:extLst>
          </p:cNvPr>
          <p:cNvGraphicFramePr/>
          <p:nvPr/>
        </p:nvGraphicFramePr>
        <p:xfrm>
          <a:off x="198120" y="1076004"/>
          <a:ext cx="8560904" cy="27272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Table 15">
            <a:extLst>
              <a:ext uri="{FF2B5EF4-FFF2-40B4-BE49-F238E27FC236}">
                <a16:creationId xmlns:a16="http://schemas.microsoft.com/office/drawing/2014/main" id="{00EFC1A8-0F86-44A0-9D1D-0A7D4695F7E6}"/>
              </a:ext>
            </a:extLst>
          </p:cNvPr>
          <p:cNvGraphicFramePr>
            <a:graphicFrameLocks noGrp="1"/>
          </p:cNvGraphicFramePr>
          <p:nvPr>
            <p:extLst>
              <p:ext uri="{D42A27DB-BD31-4B8C-83A1-F6EECF244321}">
                <p14:modId xmlns:p14="http://schemas.microsoft.com/office/powerpoint/2010/main" val="2419297666"/>
              </p:ext>
            </p:extLst>
          </p:nvPr>
        </p:nvGraphicFramePr>
        <p:xfrm>
          <a:off x="405475" y="4364459"/>
          <a:ext cx="8362080" cy="2008675"/>
        </p:xfrm>
        <a:graphic>
          <a:graphicData uri="http://schemas.openxmlformats.org/drawingml/2006/table">
            <a:tbl>
              <a:tblPr>
                <a:tableStyleId>{8EC20E35-A176-4012-BC5E-935CFFF8708E}</a:tableStyleId>
              </a:tblPr>
              <a:tblGrid>
                <a:gridCol w="2099417">
                  <a:extLst>
                    <a:ext uri="{9D8B030D-6E8A-4147-A177-3AD203B41FA5}">
                      <a16:colId xmlns:a16="http://schemas.microsoft.com/office/drawing/2014/main" val="2017731148"/>
                    </a:ext>
                  </a:extLst>
                </a:gridCol>
                <a:gridCol w="569333">
                  <a:extLst>
                    <a:ext uri="{9D8B030D-6E8A-4147-A177-3AD203B41FA5}">
                      <a16:colId xmlns:a16="http://schemas.microsoft.com/office/drawing/2014/main" val="2667391389"/>
                    </a:ext>
                  </a:extLst>
                </a:gridCol>
                <a:gridCol w="569333">
                  <a:extLst>
                    <a:ext uri="{9D8B030D-6E8A-4147-A177-3AD203B41FA5}">
                      <a16:colId xmlns:a16="http://schemas.microsoft.com/office/drawing/2014/main" val="3750729452"/>
                    </a:ext>
                  </a:extLst>
                </a:gridCol>
                <a:gridCol w="569333">
                  <a:extLst>
                    <a:ext uri="{9D8B030D-6E8A-4147-A177-3AD203B41FA5}">
                      <a16:colId xmlns:a16="http://schemas.microsoft.com/office/drawing/2014/main" val="425130346"/>
                    </a:ext>
                  </a:extLst>
                </a:gridCol>
                <a:gridCol w="569333">
                  <a:extLst>
                    <a:ext uri="{9D8B030D-6E8A-4147-A177-3AD203B41FA5}">
                      <a16:colId xmlns:a16="http://schemas.microsoft.com/office/drawing/2014/main" val="1091415442"/>
                    </a:ext>
                  </a:extLst>
                </a:gridCol>
                <a:gridCol w="569333">
                  <a:extLst>
                    <a:ext uri="{9D8B030D-6E8A-4147-A177-3AD203B41FA5}">
                      <a16:colId xmlns:a16="http://schemas.microsoft.com/office/drawing/2014/main" val="2869642291"/>
                    </a:ext>
                  </a:extLst>
                </a:gridCol>
                <a:gridCol w="569333">
                  <a:extLst>
                    <a:ext uri="{9D8B030D-6E8A-4147-A177-3AD203B41FA5}">
                      <a16:colId xmlns:a16="http://schemas.microsoft.com/office/drawing/2014/main" val="1492483844"/>
                    </a:ext>
                  </a:extLst>
                </a:gridCol>
                <a:gridCol w="569333">
                  <a:extLst>
                    <a:ext uri="{9D8B030D-6E8A-4147-A177-3AD203B41FA5}">
                      <a16:colId xmlns:a16="http://schemas.microsoft.com/office/drawing/2014/main" val="536896032"/>
                    </a:ext>
                  </a:extLst>
                </a:gridCol>
                <a:gridCol w="569333">
                  <a:extLst>
                    <a:ext uri="{9D8B030D-6E8A-4147-A177-3AD203B41FA5}">
                      <a16:colId xmlns:a16="http://schemas.microsoft.com/office/drawing/2014/main" val="2293403703"/>
                    </a:ext>
                  </a:extLst>
                </a:gridCol>
                <a:gridCol w="569333">
                  <a:extLst>
                    <a:ext uri="{9D8B030D-6E8A-4147-A177-3AD203B41FA5}">
                      <a16:colId xmlns:a16="http://schemas.microsoft.com/office/drawing/2014/main" val="2748373219"/>
                    </a:ext>
                  </a:extLst>
                </a:gridCol>
                <a:gridCol w="569333">
                  <a:extLst>
                    <a:ext uri="{9D8B030D-6E8A-4147-A177-3AD203B41FA5}">
                      <a16:colId xmlns:a16="http://schemas.microsoft.com/office/drawing/2014/main" val="316596246"/>
                    </a:ext>
                  </a:extLst>
                </a:gridCol>
                <a:gridCol w="569333">
                  <a:extLst>
                    <a:ext uri="{9D8B030D-6E8A-4147-A177-3AD203B41FA5}">
                      <a16:colId xmlns:a16="http://schemas.microsoft.com/office/drawing/2014/main" val="2656604351"/>
                    </a:ext>
                  </a:extLst>
                </a:gridCol>
              </a:tblGrid>
              <a:tr h="248179">
                <a:tc>
                  <a:txBody>
                    <a:bodyPr/>
                    <a:lstStyle/>
                    <a:p>
                      <a:pPr marL="0" algn="l" defTabSz="914400" rtl="0" eaLnBrk="1" fontAlgn="b" latinLnBrk="0" hangingPunct="1"/>
                      <a:r>
                        <a:rPr lang="en-IN" sz="1000" b="1"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End Use </a:t>
                      </a:r>
                    </a:p>
                  </a:txBody>
                  <a:tcPr marL="0" marR="0" marT="0" marB="0" anchor="ctr"/>
                </a:tc>
                <a:tc>
                  <a:txBody>
                    <a:bodyPr/>
                    <a:lstStyle/>
                    <a:p>
                      <a:pPr marL="0" algn="l" defTabSz="914400" rtl="0" eaLnBrk="1" fontAlgn="b" latinLnBrk="0" hangingPunct="1"/>
                      <a:r>
                        <a:rPr lang="en-IN" sz="1000" b="1"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p>
                  </a:txBody>
                  <a:tcPr marL="0" marR="0" marT="0" marB="0" anchor="ctr"/>
                </a:tc>
                <a:tc>
                  <a:txBody>
                    <a:bodyPr/>
                    <a:lstStyle/>
                    <a:p>
                      <a:pPr marL="0" algn="l" defTabSz="914400" rtl="0" eaLnBrk="1" fontAlgn="b" latinLnBrk="0" hangingPunct="1"/>
                      <a:r>
                        <a:rPr lang="en-IN" sz="1000" b="1"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p>
                  </a:txBody>
                  <a:tcPr marL="0" marR="0" marT="0" marB="0" anchor="ctr"/>
                </a:tc>
                <a:tc>
                  <a:txBody>
                    <a:bodyPr/>
                    <a:lstStyle/>
                    <a:p>
                      <a:pPr marL="0" algn="l" defTabSz="914400" rtl="0" eaLnBrk="1" fontAlgn="b" latinLnBrk="0" hangingPunct="1"/>
                      <a:r>
                        <a:rPr lang="en-IN" sz="1000" b="1"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p>
                  </a:txBody>
                  <a:tcPr marL="0" marR="0" marT="0" marB="0" anchor="ctr"/>
                </a:tc>
                <a:tc>
                  <a:txBody>
                    <a:bodyPr/>
                    <a:lstStyle/>
                    <a:p>
                      <a:pPr marL="0" algn="l" defTabSz="914400" rtl="0" eaLnBrk="1" fontAlgn="b" latinLnBrk="0" hangingPunct="1"/>
                      <a:r>
                        <a:rPr lang="en-IN" sz="1000" b="1"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p>
                  </a:txBody>
                  <a:tcPr marL="0" marR="0" marT="0" marB="0" anchor="ctr"/>
                </a:tc>
                <a:tc>
                  <a:txBody>
                    <a:bodyPr/>
                    <a:lstStyle/>
                    <a:p>
                      <a:pPr marL="0" algn="l" defTabSz="914400" rtl="0" eaLnBrk="1" fontAlgn="b" latinLnBrk="0" hangingPunct="1"/>
                      <a:r>
                        <a:rPr lang="en-IN" sz="1000" b="1"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p>
                  </a:txBody>
                  <a:tcPr marL="0" marR="0" marT="0" marB="0" anchor="ctr"/>
                </a:tc>
                <a:tc>
                  <a:txBody>
                    <a:bodyPr/>
                    <a:lstStyle/>
                    <a:p>
                      <a:pPr marL="0" algn="l" defTabSz="914400" rtl="0" eaLnBrk="1" fontAlgn="b" latinLnBrk="0" hangingPunct="1"/>
                      <a:r>
                        <a:rPr lang="en-IN" sz="1000" b="1"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p>
                  </a:txBody>
                  <a:tcPr marL="0" marR="0" marT="0" marB="0" anchor="ctr"/>
                </a:tc>
                <a:tc>
                  <a:txBody>
                    <a:bodyPr/>
                    <a:lstStyle/>
                    <a:p>
                      <a:pPr marL="0" algn="l" defTabSz="914400" rtl="0" eaLnBrk="1" fontAlgn="b" latinLnBrk="0" hangingPunct="1"/>
                      <a:r>
                        <a:rPr lang="en-IN" sz="1000" b="1"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p>
                  </a:txBody>
                  <a:tcPr marL="0" marR="0" marT="0" marB="0" anchor="ctr"/>
                </a:tc>
                <a:tc>
                  <a:txBody>
                    <a:bodyPr/>
                    <a:lstStyle/>
                    <a:p>
                      <a:pPr marL="0" algn="l" defTabSz="914400" rtl="0" eaLnBrk="1" fontAlgn="b" latinLnBrk="0" hangingPunct="1"/>
                      <a:r>
                        <a:rPr lang="en-IN" sz="1000" b="1"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p>
                  </a:txBody>
                  <a:tcPr marL="0" marR="0" marT="0" marB="0" anchor="ctr"/>
                </a:tc>
                <a:tc>
                  <a:txBody>
                    <a:bodyPr/>
                    <a:lstStyle/>
                    <a:p>
                      <a:pPr marL="0" algn="l" defTabSz="914400" rtl="0" eaLnBrk="1" fontAlgn="b" latinLnBrk="0" hangingPunct="1"/>
                      <a:r>
                        <a:rPr lang="en-IN" sz="1000" b="1"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p>
                  </a:txBody>
                  <a:tcPr marL="0" marR="0" marT="0" marB="0" anchor="ctr"/>
                </a:tc>
                <a:tc>
                  <a:txBody>
                    <a:bodyPr/>
                    <a:lstStyle/>
                    <a:p>
                      <a:pPr marL="0" algn="l" defTabSz="914400" rtl="0" eaLnBrk="1" fontAlgn="b" latinLnBrk="0" hangingPunct="1"/>
                      <a:r>
                        <a:rPr lang="en-IN" sz="1000" b="1"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p>
                  </a:txBody>
                  <a:tcPr marL="0" marR="0" marT="0" marB="0" anchor="ctr"/>
                </a:tc>
                <a:tc>
                  <a:txBody>
                    <a:bodyPr/>
                    <a:lstStyle/>
                    <a:p>
                      <a:pPr marL="0" algn="l" defTabSz="914400" rtl="0" eaLnBrk="1" fontAlgn="b" latinLnBrk="0" hangingPunct="1"/>
                      <a:r>
                        <a:rPr lang="en-IN" sz="1000" b="1"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p>
                  </a:txBody>
                  <a:tcPr marL="0" marR="0" marT="0" marB="0" anchor="ctr"/>
                </a:tc>
                <a:extLst>
                  <a:ext uri="{0D108BD9-81ED-4DB2-BD59-A6C34878D82A}">
                    <a16:rowId xmlns:a16="http://schemas.microsoft.com/office/drawing/2014/main" val="4277395723"/>
                  </a:ext>
                </a:extLst>
              </a:tr>
              <a:tr h="248179">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9525" marR="9525" marT="9525" marB="0" anchor="ctr"/>
                </a:tc>
                <a:tc>
                  <a:txBody>
                    <a:bodyPr/>
                    <a:lstStyle/>
                    <a:p>
                      <a:pPr algn="ctr" fontAlgn="b"/>
                      <a:r>
                        <a:rPr lang="en-IN" sz="1100" b="0" u="none" strike="noStrike" dirty="0">
                          <a:solidFill>
                            <a:srgbClr val="000000"/>
                          </a:solidFill>
                          <a:effectLst/>
                        </a:rPr>
                        <a:t>18.50</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9.6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0.34</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1.74</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0.4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1.21</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2.32</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3.50</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4.7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6.01</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7.32</a:t>
                      </a:r>
                      <a:endParaRPr lang="en-IN" sz="1100" b="0" i="0" u="none" strike="noStrike" dirty="0">
                        <a:solidFill>
                          <a:srgbClr val="000000"/>
                        </a:solidFill>
                        <a:effectLst/>
                        <a:latin typeface="Cambria" panose="02040503050406030204" pitchFamily="18" charset="0"/>
                      </a:endParaRPr>
                    </a:p>
                  </a:txBody>
                  <a:tcPr marL="9525" marR="9525" marT="9525" marB="0" anchor="ctr"/>
                </a:tc>
                <a:extLst>
                  <a:ext uri="{0D108BD9-81ED-4DB2-BD59-A6C34878D82A}">
                    <a16:rowId xmlns:a16="http://schemas.microsoft.com/office/drawing/2014/main" val="3614340383"/>
                  </a:ext>
                </a:extLst>
              </a:tr>
              <a:tr h="2481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noProof="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Animal Husbandry</a:t>
                      </a:r>
                    </a:p>
                  </a:txBody>
                  <a:tcPr marL="9525" marR="9525" marT="9525" marB="0" anchor="ctr"/>
                </a:tc>
                <a:tc>
                  <a:txBody>
                    <a:bodyPr/>
                    <a:lstStyle/>
                    <a:p>
                      <a:pPr algn="ctr" fontAlgn="b"/>
                      <a:r>
                        <a:rPr lang="en-IN" sz="1100" b="0" u="none" strike="noStrike" dirty="0">
                          <a:solidFill>
                            <a:srgbClr val="000000"/>
                          </a:solidFill>
                          <a:effectLst/>
                        </a:rPr>
                        <a:t>7.52</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8.14</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8.9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9.70</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9.3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9.9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0.5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1.1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1.80</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2.47</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3.15</a:t>
                      </a:r>
                      <a:endParaRPr lang="en-IN" sz="1100" b="0" i="0" u="none" strike="noStrike" dirty="0">
                        <a:solidFill>
                          <a:srgbClr val="000000"/>
                        </a:solidFill>
                        <a:effectLst/>
                        <a:latin typeface="Cambria" panose="02040503050406030204" pitchFamily="18" charset="0"/>
                      </a:endParaRPr>
                    </a:p>
                  </a:txBody>
                  <a:tcPr marL="9525" marR="9525" marT="9525" marB="0" anchor="ctr"/>
                </a:tc>
                <a:extLst>
                  <a:ext uri="{0D108BD9-81ED-4DB2-BD59-A6C34878D82A}">
                    <a16:rowId xmlns:a16="http://schemas.microsoft.com/office/drawing/2014/main" val="2094423544"/>
                  </a:ext>
                </a:extLst>
              </a:tr>
              <a:tr h="2481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noProof="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Healthcare</a:t>
                      </a:r>
                    </a:p>
                  </a:txBody>
                  <a:tcPr marL="9525" marR="9525" marT="9525" marB="0" anchor="ctr"/>
                </a:tc>
                <a:tc>
                  <a:txBody>
                    <a:bodyPr/>
                    <a:lstStyle/>
                    <a:p>
                      <a:pPr algn="ctr" fontAlgn="b"/>
                      <a:r>
                        <a:rPr lang="en-IN" sz="1100" b="0" u="none" strike="noStrike" dirty="0">
                          <a:solidFill>
                            <a:srgbClr val="000000"/>
                          </a:solidFill>
                          <a:effectLst/>
                        </a:rPr>
                        <a:t>5.21</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4.5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5.28</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5.84</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5.57</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5.9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6.3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6.80</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7.24</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7.87</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8.38</a:t>
                      </a:r>
                      <a:endParaRPr lang="en-IN" sz="1100" b="0" i="0" u="none" strike="noStrike" dirty="0">
                        <a:solidFill>
                          <a:srgbClr val="000000"/>
                        </a:solidFill>
                        <a:effectLst/>
                        <a:latin typeface="Cambria" panose="02040503050406030204" pitchFamily="18" charset="0"/>
                      </a:endParaRPr>
                    </a:p>
                  </a:txBody>
                  <a:tcPr marL="9525" marR="9525" marT="9525" marB="0" anchor="ctr"/>
                </a:tc>
                <a:extLst>
                  <a:ext uri="{0D108BD9-81ED-4DB2-BD59-A6C34878D82A}">
                    <a16:rowId xmlns:a16="http://schemas.microsoft.com/office/drawing/2014/main" val="741399779"/>
                  </a:ext>
                </a:extLst>
              </a:tr>
              <a:tr h="248179">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a:t>
                      </a:r>
                    </a:p>
                  </a:txBody>
                  <a:tcPr marL="9525" marR="9525" marT="9525" marB="0" anchor="ctr"/>
                </a:tc>
                <a:tc>
                  <a:txBody>
                    <a:bodyPr/>
                    <a:lstStyle/>
                    <a:p>
                      <a:pPr algn="ctr" fontAlgn="b"/>
                      <a:r>
                        <a:rPr lang="en-IN" sz="1100" b="0" u="none" strike="noStrike" dirty="0">
                          <a:solidFill>
                            <a:srgbClr val="000000"/>
                          </a:solidFill>
                          <a:effectLst/>
                        </a:rPr>
                        <a:t>1.40</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61</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77</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6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27</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3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4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5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64</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7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86</a:t>
                      </a:r>
                      <a:endParaRPr lang="en-IN" sz="1100" b="0" i="0" u="none" strike="noStrike" dirty="0">
                        <a:solidFill>
                          <a:srgbClr val="000000"/>
                        </a:solidFill>
                        <a:effectLst/>
                        <a:latin typeface="Cambria" panose="02040503050406030204" pitchFamily="18" charset="0"/>
                      </a:endParaRPr>
                    </a:p>
                  </a:txBody>
                  <a:tcPr marL="9525" marR="9525" marT="9525" marB="0" anchor="ctr"/>
                </a:tc>
                <a:extLst>
                  <a:ext uri="{0D108BD9-81ED-4DB2-BD59-A6C34878D82A}">
                    <a16:rowId xmlns:a16="http://schemas.microsoft.com/office/drawing/2014/main" val="865856288"/>
                  </a:ext>
                </a:extLst>
              </a:tr>
              <a:tr h="224366">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Chemicals</a:t>
                      </a:r>
                    </a:p>
                  </a:txBody>
                  <a:tcPr marL="9525" marR="9525" marT="9525" marB="0" anchor="ctr"/>
                </a:tc>
                <a:tc>
                  <a:txBody>
                    <a:bodyPr/>
                    <a:lstStyle/>
                    <a:p>
                      <a:pPr algn="ctr" fontAlgn="b"/>
                      <a:r>
                        <a:rPr lang="en-IN" sz="1100" b="0" u="none" strike="noStrike" dirty="0">
                          <a:solidFill>
                            <a:srgbClr val="000000"/>
                          </a:solidFill>
                          <a:effectLst/>
                        </a:rPr>
                        <a:t>1.2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17</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37</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29</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17</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2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34</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37</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32</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32</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35</a:t>
                      </a:r>
                      <a:endParaRPr lang="en-IN" sz="1100" b="0" i="0" u="none" strike="noStrike" dirty="0">
                        <a:solidFill>
                          <a:srgbClr val="000000"/>
                        </a:solidFill>
                        <a:effectLst/>
                        <a:latin typeface="Cambria" panose="02040503050406030204" pitchFamily="18" charset="0"/>
                      </a:endParaRPr>
                    </a:p>
                  </a:txBody>
                  <a:tcPr marL="9525" marR="9525" marT="9525" marB="0" anchor="ctr"/>
                </a:tc>
                <a:extLst>
                  <a:ext uri="{0D108BD9-81ED-4DB2-BD59-A6C34878D82A}">
                    <a16:rowId xmlns:a16="http://schemas.microsoft.com/office/drawing/2014/main" val="3954528466"/>
                  </a:ext>
                </a:extLst>
              </a:tr>
              <a:tr h="295235">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Leather and Textiles</a:t>
                      </a:r>
                    </a:p>
                  </a:txBody>
                  <a:tcPr marL="9525" marR="9525" marT="9525" marB="0" anchor="ctr"/>
                </a:tc>
                <a:tc>
                  <a:txBody>
                    <a:bodyPr/>
                    <a:lstStyle/>
                    <a:p>
                      <a:pPr algn="ctr" fontAlgn="b"/>
                      <a:r>
                        <a:rPr lang="en-IN" sz="1100" b="0" u="none" strike="noStrike" dirty="0">
                          <a:solidFill>
                            <a:srgbClr val="000000"/>
                          </a:solidFill>
                          <a:effectLst/>
                        </a:rPr>
                        <a:t>0.48</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0.52</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0.5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0.61</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0.49</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0.58</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0.60</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0.62</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0.6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0.67</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0.69</a:t>
                      </a:r>
                      <a:endParaRPr lang="en-IN" sz="1100" b="0" i="0" u="none" strike="noStrike" dirty="0">
                        <a:solidFill>
                          <a:srgbClr val="000000"/>
                        </a:solidFill>
                        <a:effectLst/>
                        <a:latin typeface="Cambria" panose="02040503050406030204" pitchFamily="18" charset="0"/>
                      </a:endParaRPr>
                    </a:p>
                  </a:txBody>
                  <a:tcPr marL="9525" marR="9525" marT="9525" marB="0" anchor="ctr"/>
                </a:tc>
                <a:extLst>
                  <a:ext uri="{0D108BD9-81ED-4DB2-BD59-A6C34878D82A}">
                    <a16:rowId xmlns:a16="http://schemas.microsoft.com/office/drawing/2014/main" val="587225213"/>
                  </a:ext>
                </a:extLst>
              </a:tr>
              <a:tr h="248179">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Others</a:t>
                      </a:r>
                    </a:p>
                  </a:txBody>
                  <a:tcPr marL="9525" marR="9525" marT="9525" marB="0" anchor="ctr"/>
                </a:tc>
                <a:tc>
                  <a:txBody>
                    <a:bodyPr/>
                    <a:lstStyle/>
                    <a:p>
                      <a:pPr algn="ctr" fontAlgn="b"/>
                      <a:r>
                        <a:rPr lang="en-IN" sz="1100" b="0" u="none" strike="noStrike" dirty="0">
                          <a:solidFill>
                            <a:srgbClr val="000000"/>
                          </a:solidFill>
                          <a:effectLst/>
                        </a:rPr>
                        <a:t>1.58</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2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8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74</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01</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0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11</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18</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37</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30</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32</a:t>
                      </a:r>
                      <a:endParaRPr lang="en-IN" sz="1100" b="0" i="0" u="none" strike="noStrike" dirty="0">
                        <a:solidFill>
                          <a:srgbClr val="000000"/>
                        </a:solidFill>
                        <a:effectLst/>
                        <a:latin typeface="Cambria" panose="02040503050406030204" pitchFamily="18" charset="0"/>
                      </a:endParaRPr>
                    </a:p>
                  </a:txBody>
                  <a:tcPr marL="9525" marR="9525" marT="9525" marB="0" anchor="ctr"/>
                </a:tc>
                <a:extLst>
                  <a:ext uri="{0D108BD9-81ED-4DB2-BD59-A6C34878D82A}">
                    <a16:rowId xmlns:a16="http://schemas.microsoft.com/office/drawing/2014/main" val="1631373380"/>
                  </a:ext>
                </a:extLst>
              </a:tr>
            </a:tbl>
          </a:graphicData>
        </a:graphic>
      </p:graphicFrame>
      <p:sp>
        <p:nvSpPr>
          <p:cNvPr id="12" name="TextBox 11">
            <a:extLst>
              <a:ext uri="{FF2B5EF4-FFF2-40B4-BE49-F238E27FC236}">
                <a16:creationId xmlns:a16="http://schemas.microsoft.com/office/drawing/2014/main" id="{47A84144-E1FE-40BB-8EAB-CCE532F63F99}"/>
              </a:ext>
            </a:extLst>
          </p:cNvPr>
          <p:cNvSpPr txBox="1"/>
          <p:nvPr/>
        </p:nvSpPr>
        <p:spPr>
          <a:xfrm>
            <a:off x="5897217" y="3718455"/>
            <a:ext cx="2827683"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 name="TextBox 8">
            <a:extLst>
              <a:ext uri="{FF2B5EF4-FFF2-40B4-BE49-F238E27FC236}">
                <a16:creationId xmlns:a16="http://schemas.microsoft.com/office/drawing/2014/main" id="{C9BB0E23-62AB-468E-BD9D-1DCB678DC774}"/>
              </a:ext>
            </a:extLst>
          </p:cNvPr>
          <p:cNvSpPr txBox="1"/>
          <p:nvPr/>
        </p:nvSpPr>
        <p:spPr>
          <a:xfrm>
            <a:off x="5860932" y="6367312"/>
            <a:ext cx="2827683"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0934857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Indonesia Trade Dynamics</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3" name="TextBox 2">
            <a:extLst>
              <a:ext uri="{FF2B5EF4-FFF2-40B4-BE49-F238E27FC236}">
                <a16:creationId xmlns:a16="http://schemas.microsoft.com/office/drawing/2014/main" id="{794C340A-1814-458C-B951-A36DE5B0742F}"/>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5: Indonesia Copper Sulphate Import</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16-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5" name="Chart 4">
            <a:extLst>
              <a:ext uri="{FF2B5EF4-FFF2-40B4-BE49-F238E27FC236}">
                <a16:creationId xmlns:a16="http://schemas.microsoft.com/office/drawing/2014/main" id="{74BC5EE8-859E-4E5F-AE1A-FEDD45EE9107}"/>
              </a:ext>
            </a:extLst>
          </p:cNvPr>
          <p:cNvGraphicFramePr/>
          <p:nvPr/>
        </p:nvGraphicFramePr>
        <p:xfrm>
          <a:off x="222309" y="1329121"/>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17E47EF-C5A1-4800-89D3-CAB8953BE22A}"/>
              </a:ext>
            </a:extLst>
          </p:cNvPr>
          <p:cNvSpPr txBox="1"/>
          <p:nvPr/>
        </p:nvSpPr>
        <p:spPr>
          <a:xfrm>
            <a:off x="6154275" y="310496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ITC Database</a:t>
            </a:r>
          </a:p>
        </p:txBody>
      </p:sp>
      <p:sp>
        <p:nvSpPr>
          <p:cNvPr id="8" name="TextBox 13">
            <a:extLst>
              <a:ext uri="{FF2B5EF4-FFF2-40B4-BE49-F238E27FC236}">
                <a16:creationId xmlns:a16="http://schemas.microsoft.com/office/drawing/2014/main" id="{4E8B964E-7F89-4C16-A308-B38A1846CF29}"/>
              </a:ext>
            </a:extLst>
          </p:cNvPr>
          <p:cNvSpPr txBox="1"/>
          <p:nvPr/>
        </p:nvSpPr>
        <p:spPr>
          <a:xfrm>
            <a:off x="214086" y="3581566"/>
            <a:ext cx="4270912" cy="292068"/>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US" sz="1000" b="1" kern="0" dirty="0">
                <a:latin typeface="Verdana" panose="020B0604030504040204" pitchFamily="34" charset="0"/>
                <a:ea typeface="Verdana" panose="020B0604030504040204" pitchFamily="34" charset="0"/>
                <a:cs typeface="Verdana" panose="020B0604030504040204" pitchFamily="34" charset="0"/>
              </a:rPr>
              <a:t>Indonesia GDP Growth Rate (%), 2015-2020</a:t>
            </a: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sp>
        <p:nvSpPr>
          <p:cNvPr id="10" name="TextBox 9">
            <a:extLst>
              <a:ext uri="{FF2B5EF4-FFF2-40B4-BE49-F238E27FC236}">
                <a16:creationId xmlns:a16="http://schemas.microsoft.com/office/drawing/2014/main" id="{F3AD8558-F689-403A-BFD0-73A448FFD485}"/>
              </a:ext>
            </a:extLst>
          </p:cNvPr>
          <p:cNvSpPr txBox="1"/>
          <p:nvPr/>
        </p:nvSpPr>
        <p:spPr>
          <a:xfrm>
            <a:off x="2317009"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
        <p:nvSpPr>
          <p:cNvPr id="13" name="TextBox 13">
            <a:extLst>
              <a:ext uri="{FF2B5EF4-FFF2-40B4-BE49-F238E27FC236}">
                <a16:creationId xmlns:a16="http://schemas.microsoft.com/office/drawing/2014/main" id="{22B93B88-584E-4396-8A76-615732453C3B}"/>
              </a:ext>
            </a:extLst>
          </p:cNvPr>
          <p:cNvSpPr txBox="1"/>
          <p:nvPr/>
        </p:nvSpPr>
        <p:spPr>
          <a:xfrm>
            <a:off x="4484998" y="3584814"/>
            <a:ext cx="4270912" cy="7537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IN" sz="1000" b="1" kern="0" dirty="0">
                <a:latin typeface="Verdana" panose="020B0604030504040204" pitchFamily="34" charset="0"/>
                <a:ea typeface="Verdana" panose="020B0604030504040204" pitchFamily="34" charset="0"/>
                <a:cs typeface="Verdana" panose="020B0604030504040204" pitchFamily="34" charset="0"/>
              </a:rPr>
              <a:t>Top 5 Countries Exporting to Indonesia</a:t>
            </a:r>
            <a:r>
              <a:rPr lang="en-US" sz="1000" b="1" kern="0" dirty="0">
                <a:latin typeface="Verdana" panose="020B0604030504040204" pitchFamily="34" charset="0"/>
                <a:ea typeface="Verdana" panose="020B0604030504040204" pitchFamily="34" charset="0"/>
                <a:cs typeface="Verdana" panose="020B0604030504040204" pitchFamily="34" charset="0"/>
              </a:rPr>
              <a:t>, By Volume Copper Sulphate, 2020 </a:t>
            </a:r>
            <a:r>
              <a:rPr lang="en-IN" sz="1000" b="1" dirty="0">
                <a:latin typeface="Verdana" panose="020B0604030504040204" pitchFamily="34" charset="0"/>
                <a:ea typeface="Verdana" panose="020B0604030504040204" pitchFamily="34" charset="0"/>
                <a:cs typeface="Verdana" panose="020B0604030504040204" pitchFamily="34" charset="0"/>
              </a:rPr>
              <a:t>(Kilo Tonnes)</a:t>
            </a:r>
            <a:endParaRPr lang="en-IN" sz="1000" b="1" kern="0" dirty="0">
              <a:latin typeface="Verdana" panose="020B0604030504040204" pitchFamily="34" charset="0"/>
              <a:ea typeface="Verdana" panose="020B0604030504040204" pitchFamily="34" charset="0"/>
              <a:cs typeface="Verdana" panose="020B0604030504040204" pitchFamily="34" charset="0"/>
            </a:endParaRPr>
          </a:p>
          <a:p>
            <a:pPr>
              <a:lnSpc>
                <a:spcPct val="150000"/>
              </a:lnSpc>
              <a:defRPr/>
            </a:pP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Table 14">
            <a:extLst>
              <a:ext uri="{FF2B5EF4-FFF2-40B4-BE49-F238E27FC236}">
                <a16:creationId xmlns:a16="http://schemas.microsoft.com/office/drawing/2014/main" id="{7C46207C-8FD8-461D-B07D-E8A4DC575455}"/>
              </a:ext>
            </a:extLst>
          </p:cNvPr>
          <p:cNvGraphicFramePr>
            <a:graphicFrameLocks noGrp="1"/>
          </p:cNvGraphicFramePr>
          <p:nvPr>
            <p:extLst>
              <p:ext uri="{D42A27DB-BD31-4B8C-83A1-F6EECF244321}">
                <p14:modId xmlns:p14="http://schemas.microsoft.com/office/powerpoint/2010/main" val="2797074532"/>
              </p:ext>
            </p:extLst>
          </p:nvPr>
        </p:nvGraphicFramePr>
        <p:xfrm>
          <a:off x="4605499" y="4110962"/>
          <a:ext cx="3858500" cy="2034392"/>
        </p:xfrm>
        <a:graphic>
          <a:graphicData uri="http://schemas.openxmlformats.org/drawingml/2006/table">
            <a:tbl>
              <a:tblPr>
                <a:tableStyleId>{3B4B98B0-60AC-42C2-AFA5-B58CD77FA1E5}</a:tableStyleId>
              </a:tblPr>
              <a:tblGrid>
                <a:gridCol w="1929250">
                  <a:extLst>
                    <a:ext uri="{9D8B030D-6E8A-4147-A177-3AD203B41FA5}">
                      <a16:colId xmlns:a16="http://schemas.microsoft.com/office/drawing/2014/main" val="435593215"/>
                    </a:ext>
                  </a:extLst>
                </a:gridCol>
                <a:gridCol w="1929250">
                  <a:extLst>
                    <a:ext uri="{9D8B030D-6E8A-4147-A177-3AD203B41FA5}">
                      <a16:colId xmlns:a16="http://schemas.microsoft.com/office/drawing/2014/main" val="2622006846"/>
                    </a:ext>
                  </a:extLst>
                </a:gridCol>
              </a:tblGrid>
              <a:tr h="251797">
                <a:tc>
                  <a:txBody>
                    <a:bodyPr/>
                    <a:lstStyle/>
                    <a:p>
                      <a:pPr algn="l"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Countries</a:t>
                      </a:r>
                    </a:p>
                  </a:txBody>
                  <a:tcPr marL="72000" marR="72000" marT="36000" marB="36000" anchor="ctr">
                    <a:lnL>
                      <a:noFill/>
                    </a:lnL>
                    <a:lnR>
                      <a:noFill/>
                    </a:lnR>
                    <a:lnT w="12700" cmpd="sng">
                      <a:noFill/>
                    </a:lnT>
                    <a:lnB>
                      <a:noFill/>
                    </a:lnB>
                    <a:lnTlToBr w="12700" cmpd="sng">
                      <a:noFill/>
                      <a:prstDash val="solid"/>
                    </a:lnTlToBr>
                    <a:lnBlToTr w="12700" cmpd="sng">
                      <a:noFill/>
                      <a:prstDash val="solid"/>
                    </a:lnBlToTr>
                  </a:tcPr>
                </a:tc>
                <a:tc>
                  <a:txBody>
                    <a:bodyPr/>
                    <a:lstStyle/>
                    <a:p>
                      <a:pPr algn="ctr"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 Volum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8928573"/>
                  </a:ext>
                </a:extLst>
              </a:tr>
              <a:tr h="262250">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aiwan</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8.60</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38077485"/>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hailand</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79</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75286502"/>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China</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75</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377895310"/>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Russia</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0.92</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952825168"/>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Brazil</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0.61</a:t>
                      </a:r>
                    </a:p>
                  </a:txBody>
                  <a:tcPr marL="72000" marR="72000" marT="36000" marB="3600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292385393"/>
                  </a:ext>
                </a:extLst>
              </a:tr>
              <a:tr h="304069">
                <a:tc>
                  <a:txBody>
                    <a:bodyPr/>
                    <a:lstStyle/>
                    <a:p>
                      <a:pPr algn="l" fontAlgn="ctr"/>
                      <a:endPar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a:noFill/>
                    </a:lnL>
                    <a:lnR>
                      <a:noFill/>
                    </a:lnR>
                    <a:lnT>
                      <a:noFill/>
                    </a:lnT>
                    <a:lnB w="12700" cmpd="sng">
                      <a:noFill/>
                    </a:lnB>
                    <a:lnTlToBr w="12700" cmpd="sng">
                      <a:noFill/>
                      <a:prstDash val="solid"/>
                    </a:lnTlToBr>
                    <a:lnBlToTr w="12700" cmpd="sng">
                      <a:noFill/>
                      <a:prstDash val="solid"/>
                    </a:lnBlToTr>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873314538"/>
                  </a:ext>
                </a:extLst>
              </a:tr>
            </a:tbl>
          </a:graphicData>
        </a:graphic>
      </p:graphicFrame>
      <p:graphicFrame>
        <p:nvGraphicFramePr>
          <p:cNvPr id="17" name="Chart 16">
            <a:extLst>
              <a:ext uri="{FF2B5EF4-FFF2-40B4-BE49-F238E27FC236}">
                <a16:creationId xmlns:a16="http://schemas.microsoft.com/office/drawing/2014/main" id="{8ECE063D-DD9F-4FAD-9C47-4C7A547A1D48}"/>
              </a:ext>
            </a:extLst>
          </p:cNvPr>
          <p:cNvGraphicFramePr/>
          <p:nvPr>
            <p:extLst>
              <p:ext uri="{D42A27DB-BD31-4B8C-83A1-F6EECF244321}">
                <p14:modId xmlns:p14="http://schemas.microsoft.com/office/powerpoint/2010/main" val="3657893291"/>
              </p:ext>
            </p:extLst>
          </p:nvPr>
        </p:nvGraphicFramePr>
        <p:xfrm>
          <a:off x="245933" y="4454399"/>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Box 17">
            <a:extLst>
              <a:ext uri="{FF2B5EF4-FFF2-40B4-BE49-F238E27FC236}">
                <a16:creationId xmlns:a16="http://schemas.microsoft.com/office/drawing/2014/main" id="{224A805F-3DDD-4A08-B010-DF3CD8434839}"/>
              </a:ext>
            </a:extLst>
          </p:cNvPr>
          <p:cNvSpPr txBox="1"/>
          <p:nvPr/>
        </p:nvSpPr>
        <p:spPr>
          <a:xfrm>
            <a:off x="6006954" y="6316240"/>
            <a:ext cx="2544697"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I</a:t>
            </a:r>
            <a:r>
              <a:rPr lang="en-IN" dirty="0">
                <a:solidFill>
                  <a:prstClr val="white">
                    <a:lumMod val="50000"/>
                  </a:prstClr>
                </a:solidFill>
              </a:rPr>
              <a:t>TC Data</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23366702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75D31631-046C-49F0-AF4D-23981686B626}"/>
              </a:ext>
            </a:extLst>
          </p:cNvPr>
          <p:cNvGrpSpPr/>
          <p:nvPr/>
        </p:nvGrpSpPr>
        <p:grpSpPr>
          <a:xfrm>
            <a:off x="385816" y="1134502"/>
            <a:ext cx="4158053" cy="378905"/>
            <a:chOff x="222392" y="286"/>
            <a:chExt cx="1828512" cy="1097107"/>
          </a:xfrm>
          <a:scene3d>
            <a:camera prst="orthographicFront">
              <a:rot lat="0" lon="0" rev="0"/>
            </a:camera>
            <a:lightRig rig="balanced" dir="t">
              <a:rot lat="0" lon="0" rev="8700000"/>
            </a:lightRig>
          </a:scene3d>
        </p:grpSpPr>
        <p:sp>
          <p:nvSpPr>
            <p:cNvPr id="30" name="Rectangle 29">
              <a:extLst>
                <a:ext uri="{FF2B5EF4-FFF2-40B4-BE49-F238E27FC236}">
                  <a16:creationId xmlns:a16="http://schemas.microsoft.com/office/drawing/2014/main" id="{BC7B5B2D-2C3E-4817-AC05-8A1077CBC2C2}"/>
                </a:ext>
              </a:extLst>
            </p:cNvPr>
            <p:cNvSpPr/>
            <p:nvPr/>
          </p:nvSpPr>
          <p:spPr>
            <a:xfrm>
              <a:off x="222392" y="286"/>
              <a:ext cx="1828512" cy="1097107"/>
            </a:xfrm>
            <a:prstGeom prst="rect">
              <a:avLst/>
            </a:prstGeom>
            <a:solidFill>
              <a:schemeClr val="tx1">
                <a:lumMod val="50000"/>
                <a:lumOff val="50000"/>
              </a:schemeClr>
            </a:solidFill>
            <a:ln>
              <a:noFill/>
            </a:ln>
            <a:effectLst>
              <a:outerShdw blurRad="44450" dist="27940" dir="5400000" algn="ctr">
                <a:srgbClr val="000000">
                  <a:alpha val="32000"/>
                </a:srgbClr>
              </a:outerShdw>
            </a:effectLst>
            <a:sp3d>
              <a:bevelT w="190500" h="38100"/>
            </a:sp3d>
          </p:spPr>
          <p:style>
            <a:lnRef idx="0">
              <a:schemeClr val="dk2">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2">
                <a:hueOff val="0"/>
                <a:satOff val="0"/>
                <a:lumOff val="0"/>
                <a:alphaOff val="0"/>
              </a:schemeClr>
            </a:fontRef>
          </p:style>
        </p:sp>
        <p:sp>
          <p:nvSpPr>
            <p:cNvPr id="31" name="TextBox 30">
              <a:extLst>
                <a:ext uri="{FF2B5EF4-FFF2-40B4-BE49-F238E27FC236}">
                  <a16:creationId xmlns:a16="http://schemas.microsoft.com/office/drawing/2014/main" id="{1A8A6335-1252-425B-B278-8634D4B2E4D9}"/>
                </a:ext>
              </a:extLst>
            </p:cNvPr>
            <p:cNvSpPr txBox="1"/>
            <p:nvPr/>
          </p:nvSpPr>
          <p:spPr>
            <a:xfrm>
              <a:off x="222392" y="286"/>
              <a:ext cx="1828512" cy="1097107"/>
            </a:xfrm>
            <a:prstGeom prst="rect">
              <a:avLst/>
            </a:prstGeom>
            <a:ln>
              <a:noFill/>
            </a:ln>
            <a:effectLst>
              <a:outerShdw blurRad="44450" dist="27940" dir="5400000" algn="ctr">
                <a:srgbClr val="000000">
                  <a:alpha val="32000"/>
                </a:srgbClr>
              </a:outerShdw>
            </a:effectLst>
            <a:sp3d>
              <a:bevelT w="190500" h="38100"/>
            </a:sp3d>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60960" tIns="60960" rIns="60960" bIns="60960" numCol="1" spcCol="1270" anchor="ctr" anchorCtr="0">
              <a:noAutofit/>
            </a:bodyPr>
            <a:lstStyle/>
            <a:p>
              <a:pPr algn="ctr" defTabSz="711200">
                <a:lnSpc>
                  <a:spcPct val="90000"/>
                </a:lnSpc>
                <a:spcBef>
                  <a:spcPct val="0"/>
                </a:spcBef>
                <a:spcAft>
                  <a:spcPct val="35000"/>
                </a:spcAft>
              </a:pPr>
              <a:r>
                <a:rPr lang="en-IN" sz="1600" b="1" dirty="0">
                  <a:solidFill>
                    <a:schemeClr val="bg1"/>
                  </a:solidFill>
                  <a:latin typeface="Calibri" panose="020F0502020204030204"/>
                </a:rPr>
                <a:t>Leading Companies / Brands in Indonesia</a:t>
              </a:r>
            </a:p>
          </p:txBody>
        </p:sp>
      </p:grpSp>
      <p:sp>
        <p:nvSpPr>
          <p:cNvPr id="6" name="Rectangle 5">
            <a:extLst>
              <a:ext uri="{FF2B5EF4-FFF2-40B4-BE49-F238E27FC236}">
                <a16:creationId xmlns:a16="http://schemas.microsoft.com/office/drawing/2014/main" id="{983A0455-0A23-42C1-A471-17813F6F36E5}"/>
              </a:ext>
            </a:extLst>
          </p:cNvPr>
          <p:cNvSpPr/>
          <p:nvPr/>
        </p:nvSpPr>
        <p:spPr>
          <a:xfrm>
            <a:off x="296596" y="914401"/>
            <a:ext cx="4373880" cy="5524501"/>
          </a:xfrm>
          <a:prstGeom prst="rect">
            <a:avLst/>
          </a:prstGeom>
          <a:noFill/>
          <a:ln w="19050">
            <a:solidFill>
              <a:schemeClr val="tx1">
                <a:lumMod val="50000"/>
                <a:lumOff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1" name="Group 10">
            <a:extLst>
              <a:ext uri="{FF2B5EF4-FFF2-40B4-BE49-F238E27FC236}">
                <a16:creationId xmlns:a16="http://schemas.microsoft.com/office/drawing/2014/main" id="{CD160E9B-4116-4FB8-9A71-86555CFBCE8D}"/>
              </a:ext>
            </a:extLst>
          </p:cNvPr>
          <p:cNvGrpSpPr/>
          <p:nvPr/>
        </p:nvGrpSpPr>
        <p:grpSpPr>
          <a:xfrm>
            <a:off x="4964263" y="618684"/>
            <a:ext cx="3384000" cy="1080000"/>
            <a:chOff x="4937759" y="951620"/>
            <a:chExt cx="3505692" cy="1228872"/>
          </a:xfrm>
        </p:grpSpPr>
        <p:sp>
          <p:nvSpPr>
            <p:cNvPr id="8" name="Arrow: Striped Right 7">
              <a:extLst>
                <a:ext uri="{FF2B5EF4-FFF2-40B4-BE49-F238E27FC236}">
                  <a16:creationId xmlns:a16="http://schemas.microsoft.com/office/drawing/2014/main" id="{03F6DBD7-5DC8-421A-855F-8CFD7F059AFB}"/>
                </a:ext>
              </a:extLst>
            </p:cNvPr>
            <p:cNvSpPr/>
            <p:nvPr/>
          </p:nvSpPr>
          <p:spPr>
            <a:xfrm>
              <a:off x="4937759" y="951620"/>
              <a:ext cx="1589650" cy="1228872"/>
            </a:xfrm>
            <a:prstGeom prst="striped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Competition Scenario</a:t>
              </a:r>
            </a:p>
          </p:txBody>
        </p:sp>
        <p:sp>
          <p:nvSpPr>
            <p:cNvPr id="9" name="Flowchart: Display 8">
              <a:extLst>
                <a:ext uri="{FF2B5EF4-FFF2-40B4-BE49-F238E27FC236}">
                  <a16:creationId xmlns:a16="http://schemas.microsoft.com/office/drawing/2014/main" id="{12D1CBAB-D90E-4665-B371-FEE05B7E2145}"/>
                </a:ext>
              </a:extLst>
            </p:cNvPr>
            <p:cNvSpPr/>
            <p:nvPr/>
          </p:nvSpPr>
          <p:spPr>
            <a:xfrm>
              <a:off x="6741260" y="1259732"/>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Medium-High</a:t>
              </a:r>
            </a:p>
          </p:txBody>
        </p:sp>
      </p:grpSp>
      <p:grpSp>
        <p:nvGrpSpPr>
          <p:cNvPr id="12" name="Group 11">
            <a:extLst>
              <a:ext uri="{FF2B5EF4-FFF2-40B4-BE49-F238E27FC236}">
                <a16:creationId xmlns:a16="http://schemas.microsoft.com/office/drawing/2014/main" id="{4377EFB3-F0E4-49F5-AF73-CB70BF7D9913}"/>
              </a:ext>
            </a:extLst>
          </p:cNvPr>
          <p:cNvGrpSpPr/>
          <p:nvPr/>
        </p:nvGrpSpPr>
        <p:grpSpPr>
          <a:xfrm>
            <a:off x="5030525" y="2645552"/>
            <a:ext cx="3384000" cy="1080000"/>
            <a:chOff x="4937759" y="2856214"/>
            <a:chExt cx="3505692" cy="1228872"/>
          </a:xfrm>
        </p:grpSpPr>
        <p:sp>
          <p:nvSpPr>
            <p:cNvPr id="40" name="Arrow: Striped Right 39">
              <a:extLst>
                <a:ext uri="{FF2B5EF4-FFF2-40B4-BE49-F238E27FC236}">
                  <a16:creationId xmlns:a16="http://schemas.microsoft.com/office/drawing/2014/main" id="{F189F971-2700-4730-B3A4-9E51930D5C5F}"/>
                </a:ext>
              </a:extLst>
            </p:cNvPr>
            <p:cNvSpPr/>
            <p:nvPr/>
          </p:nvSpPr>
          <p:spPr>
            <a:xfrm>
              <a:off x="4937759" y="2856214"/>
              <a:ext cx="1589650" cy="1228872"/>
            </a:xfrm>
            <a:prstGeom prst="striped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Growth Prospects</a:t>
              </a:r>
            </a:p>
          </p:txBody>
        </p:sp>
        <p:sp>
          <p:nvSpPr>
            <p:cNvPr id="43" name="Flowchart: Display 42">
              <a:extLst>
                <a:ext uri="{FF2B5EF4-FFF2-40B4-BE49-F238E27FC236}">
                  <a16:creationId xmlns:a16="http://schemas.microsoft.com/office/drawing/2014/main" id="{31216467-3064-4594-A767-982E4397E2A3}"/>
                </a:ext>
              </a:extLst>
            </p:cNvPr>
            <p:cNvSpPr/>
            <p:nvPr/>
          </p:nvSpPr>
          <p:spPr>
            <a:xfrm>
              <a:off x="6741260" y="3145241"/>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grpSp>
        <p:nvGrpSpPr>
          <p:cNvPr id="21" name="Group 20">
            <a:extLst>
              <a:ext uri="{FF2B5EF4-FFF2-40B4-BE49-F238E27FC236}">
                <a16:creationId xmlns:a16="http://schemas.microsoft.com/office/drawing/2014/main" id="{5EB35027-976B-49DF-AD91-E37705947DC0}"/>
              </a:ext>
            </a:extLst>
          </p:cNvPr>
          <p:cNvGrpSpPr/>
          <p:nvPr/>
        </p:nvGrpSpPr>
        <p:grpSpPr>
          <a:xfrm>
            <a:off x="4937759" y="4850293"/>
            <a:ext cx="3384000" cy="1041071"/>
            <a:chOff x="4937759" y="4831145"/>
            <a:chExt cx="3505692" cy="1228872"/>
          </a:xfrm>
        </p:grpSpPr>
        <p:sp>
          <p:nvSpPr>
            <p:cNvPr id="41" name="Arrow: Striped Right 40">
              <a:extLst>
                <a:ext uri="{FF2B5EF4-FFF2-40B4-BE49-F238E27FC236}">
                  <a16:creationId xmlns:a16="http://schemas.microsoft.com/office/drawing/2014/main" id="{60E22D3C-00A0-4FF3-B3D8-642E45B8FCA4}"/>
                </a:ext>
              </a:extLst>
            </p:cNvPr>
            <p:cNvSpPr/>
            <p:nvPr/>
          </p:nvSpPr>
          <p:spPr>
            <a:xfrm>
              <a:off x="4937759" y="4831145"/>
              <a:ext cx="1589650" cy="1228872"/>
            </a:xfrm>
            <a:prstGeom prst="striped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Outlook</a:t>
              </a:r>
            </a:p>
          </p:txBody>
        </p:sp>
        <p:sp>
          <p:nvSpPr>
            <p:cNvPr id="44" name="Flowchart: Display 43">
              <a:extLst>
                <a:ext uri="{FF2B5EF4-FFF2-40B4-BE49-F238E27FC236}">
                  <a16:creationId xmlns:a16="http://schemas.microsoft.com/office/drawing/2014/main" id="{DF621444-198A-4395-A3D5-87383E1A01F4}"/>
                </a:ext>
              </a:extLst>
            </p:cNvPr>
            <p:cNvSpPr/>
            <p:nvPr/>
          </p:nvSpPr>
          <p:spPr>
            <a:xfrm>
              <a:off x="6741260" y="5139257"/>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sp>
        <p:nvSpPr>
          <p:cNvPr id="10" name="Rectangle 9">
            <a:extLst>
              <a:ext uri="{FF2B5EF4-FFF2-40B4-BE49-F238E27FC236}">
                <a16:creationId xmlns:a16="http://schemas.microsoft.com/office/drawing/2014/main" id="{8BD34E69-CF39-424D-9DE9-2F73E555B95A}"/>
              </a:ext>
            </a:extLst>
          </p:cNvPr>
          <p:cNvSpPr/>
          <p:nvPr/>
        </p:nvSpPr>
        <p:spPr>
          <a:xfrm>
            <a:off x="4898002" y="1658206"/>
            <a:ext cx="3558541" cy="1180772"/>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Indonesia is the major exporter for copper mining products in Asia. </a:t>
            </a:r>
            <a:r>
              <a:rPr lang="en-US" sz="1000" dirty="0">
                <a:latin typeface="Verdana" panose="020B0604030504040204" pitchFamily="34" charset="0"/>
                <a:ea typeface="Verdana" panose="020B0604030504040204" pitchFamily="34" charset="0"/>
                <a:cs typeface="Verdana" panose="020B0604030504040204" pitchFamily="34" charset="0"/>
              </a:rPr>
              <a:t>Abundant availability of Copper makes the copper sulphate market quite fragmented. Also, emergence </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of Chinese players in the market gives a tough competition to the local players present in Indonesia.</a:t>
            </a:r>
          </a:p>
        </p:txBody>
      </p:sp>
      <p:sp>
        <p:nvSpPr>
          <p:cNvPr id="46" name="Rectangle 45">
            <a:extLst>
              <a:ext uri="{FF2B5EF4-FFF2-40B4-BE49-F238E27FC236}">
                <a16:creationId xmlns:a16="http://schemas.microsoft.com/office/drawing/2014/main" id="{9C10E17B-1F3D-427B-8DCC-335C7785DD5F}"/>
              </a:ext>
            </a:extLst>
          </p:cNvPr>
          <p:cNvSpPr/>
          <p:nvPr/>
        </p:nvSpPr>
        <p:spPr>
          <a:xfrm>
            <a:off x="4911253" y="3612822"/>
            <a:ext cx="3558541" cy="1365438"/>
          </a:xfrm>
          <a:prstGeom prst="rect">
            <a:avLst/>
          </a:prstGeom>
        </p:spPr>
        <p:txBody>
          <a:bodyPr wrap="square">
            <a:spAutoFit/>
          </a:bodyPr>
          <a:lstStyle/>
          <a:p>
            <a:pPr algn="just">
              <a:lnSpc>
                <a:spcPct val="120000"/>
              </a:lnSpc>
              <a:spcBef>
                <a:spcPts val="400"/>
              </a:spcBef>
              <a:spcAft>
                <a:spcPts val="400"/>
              </a:spcAft>
            </a:pPr>
            <a:r>
              <a:rPr lang="en-IN"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Indonesia fertilizer market is expected to grow by more than 7% CAGR. The Copper sulphate market in Indonesia is expected to rise due to increasing demand for high quality fertilizers, increasing per capita income, rising farming standards, growing population, and extensive R&amp;D for the development of high-quality fertilizers.</a:t>
            </a:r>
            <a:endPar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0" name="Rectangle 49">
            <a:extLst>
              <a:ext uri="{FF2B5EF4-FFF2-40B4-BE49-F238E27FC236}">
                <a16:creationId xmlns:a16="http://schemas.microsoft.com/office/drawing/2014/main" id="{C2530AFD-4B7D-4A00-9782-D6D451550390}"/>
              </a:ext>
            </a:extLst>
          </p:cNvPr>
          <p:cNvSpPr/>
          <p:nvPr/>
        </p:nvSpPr>
        <p:spPr>
          <a:xfrm>
            <a:off x="4938401" y="5745593"/>
            <a:ext cx="3558541" cy="811441"/>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opper Sulphate market in Indonesia is flourishing on account of growing innovations in the fertilizer and animal feed segment. The Copper Sulphate market is expected to grow with a CAGR of 4.86%. </a:t>
            </a:r>
          </a:p>
        </p:txBody>
      </p:sp>
      <p:sp>
        <p:nvSpPr>
          <p:cNvPr id="25" name="Title 1">
            <a:extLst>
              <a:ext uri="{FF2B5EF4-FFF2-40B4-BE49-F238E27FC236}">
                <a16:creationId xmlns:a16="http://schemas.microsoft.com/office/drawing/2014/main" id="{F6F4C119-0EA0-4DC7-BC95-465085749DF1}"/>
              </a:ext>
            </a:extLst>
          </p:cNvPr>
          <p:cNvSpPr txBox="1">
            <a:spLocks/>
          </p:cNvSpPr>
          <p:nvPr/>
        </p:nvSpPr>
        <p:spPr>
          <a:xfrm>
            <a:off x="0" y="229875"/>
            <a:ext cx="3751028" cy="301814"/>
          </a:xfrm>
          <a:prstGeom prst="rect">
            <a:avLst/>
          </a:prstGeom>
          <a:noFill/>
        </p:spPr>
        <p:txBody>
          <a:bodyPr vert="horz" wrap="square" lIns="91440" tIns="45720" rIns="91440" bIns="45720" rtlCol="0" anchor="ctr">
            <a:spAutoFit/>
          </a:bodyPr>
          <a:lstStyle>
            <a:defPPr>
              <a:defRPr lang="en-US"/>
            </a:defPPr>
            <a:lvl1pPr marR="0" lvl="0" indent="0" defTabSz="45720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 Competition Outlook in Indonesia</a:t>
            </a:r>
          </a:p>
        </p:txBody>
      </p:sp>
      <p:pic>
        <p:nvPicPr>
          <p:cNvPr id="3" name="Picture 2">
            <a:extLst>
              <a:ext uri="{FF2B5EF4-FFF2-40B4-BE49-F238E27FC236}">
                <a16:creationId xmlns:a16="http://schemas.microsoft.com/office/drawing/2014/main" id="{2499E896-5843-41ED-96F7-990E37652360}"/>
              </a:ext>
            </a:extLst>
          </p:cNvPr>
          <p:cNvPicPr>
            <a:picLocks noChangeAspect="1"/>
          </p:cNvPicPr>
          <p:nvPr/>
        </p:nvPicPr>
        <p:blipFill>
          <a:blip r:embed="rId2"/>
          <a:stretch>
            <a:fillRect/>
          </a:stretch>
        </p:blipFill>
        <p:spPr>
          <a:xfrm>
            <a:off x="664417" y="1890180"/>
            <a:ext cx="1672610" cy="834353"/>
          </a:xfrm>
          <a:prstGeom prst="rect">
            <a:avLst/>
          </a:prstGeom>
        </p:spPr>
      </p:pic>
      <p:pic>
        <p:nvPicPr>
          <p:cNvPr id="13" name="Picture 12">
            <a:extLst>
              <a:ext uri="{FF2B5EF4-FFF2-40B4-BE49-F238E27FC236}">
                <a16:creationId xmlns:a16="http://schemas.microsoft.com/office/drawing/2014/main" id="{88F30E61-C74C-4A8A-AF85-85A32586AB51}"/>
              </a:ext>
            </a:extLst>
          </p:cNvPr>
          <p:cNvPicPr>
            <a:picLocks noChangeAspect="1"/>
          </p:cNvPicPr>
          <p:nvPr/>
        </p:nvPicPr>
        <p:blipFill>
          <a:blip r:embed="rId3"/>
          <a:stretch>
            <a:fillRect/>
          </a:stretch>
        </p:blipFill>
        <p:spPr>
          <a:xfrm>
            <a:off x="2620616" y="2116220"/>
            <a:ext cx="1802297" cy="581417"/>
          </a:xfrm>
          <a:prstGeom prst="rect">
            <a:avLst/>
          </a:prstGeom>
        </p:spPr>
      </p:pic>
      <p:pic>
        <p:nvPicPr>
          <p:cNvPr id="17" name="Picture 16">
            <a:extLst>
              <a:ext uri="{FF2B5EF4-FFF2-40B4-BE49-F238E27FC236}">
                <a16:creationId xmlns:a16="http://schemas.microsoft.com/office/drawing/2014/main" id="{F70D0BC8-1779-4295-8653-161CDA829361}"/>
              </a:ext>
            </a:extLst>
          </p:cNvPr>
          <p:cNvPicPr>
            <a:picLocks noChangeAspect="1"/>
          </p:cNvPicPr>
          <p:nvPr/>
        </p:nvPicPr>
        <p:blipFill>
          <a:blip r:embed="rId4"/>
          <a:stretch>
            <a:fillRect/>
          </a:stretch>
        </p:blipFill>
        <p:spPr>
          <a:xfrm>
            <a:off x="418775" y="3457935"/>
            <a:ext cx="1918252" cy="628650"/>
          </a:xfrm>
          <a:prstGeom prst="rect">
            <a:avLst/>
          </a:prstGeom>
        </p:spPr>
      </p:pic>
      <p:pic>
        <p:nvPicPr>
          <p:cNvPr id="20" name="Picture 19">
            <a:extLst>
              <a:ext uri="{FF2B5EF4-FFF2-40B4-BE49-F238E27FC236}">
                <a16:creationId xmlns:a16="http://schemas.microsoft.com/office/drawing/2014/main" id="{58AB334E-D176-4364-84EC-8B2C152D5986}"/>
              </a:ext>
            </a:extLst>
          </p:cNvPr>
          <p:cNvPicPr>
            <a:picLocks noChangeAspect="1"/>
          </p:cNvPicPr>
          <p:nvPr/>
        </p:nvPicPr>
        <p:blipFill>
          <a:blip r:embed="rId5"/>
          <a:stretch>
            <a:fillRect/>
          </a:stretch>
        </p:blipFill>
        <p:spPr>
          <a:xfrm>
            <a:off x="2466713" y="3424607"/>
            <a:ext cx="2102388" cy="628650"/>
          </a:xfrm>
          <a:prstGeom prst="rect">
            <a:avLst/>
          </a:prstGeom>
        </p:spPr>
      </p:pic>
      <p:pic>
        <p:nvPicPr>
          <p:cNvPr id="24" name="Picture 23">
            <a:extLst>
              <a:ext uri="{FF2B5EF4-FFF2-40B4-BE49-F238E27FC236}">
                <a16:creationId xmlns:a16="http://schemas.microsoft.com/office/drawing/2014/main" id="{E71EE5FA-D0A1-4707-92AB-A7497B9DEF23}"/>
              </a:ext>
            </a:extLst>
          </p:cNvPr>
          <p:cNvPicPr>
            <a:picLocks noChangeAspect="1"/>
          </p:cNvPicPr>
          <p:nvPr/>
        </p:nvPicPr>
        <p:blipFill>
          <a:blip r:embed="rId6"/>
          <a:stretch>
            <a:fillRect/>
          </a:stretch>
        </p:blipFill>
        <p:spPr>
          <a:xfrm>
            <a:off x="1585293" y="4926494"/>
            <a:ext cx="1878168" cy="716032"/>
          </a:xfrm>
          <a:prstGeom prst="rect">
            <a:avLst/>
          </a:prstGeom>
        </p:spPr>
      </p:pic>
    </p:spTree>
    <p:extLst>
      <p:ext uri="{BB962C8B-B14F-4D97-AF65-F5344CB8AC3E}">
        <p14:creationId xmlns:p14="http://schemas.microsoft.com/office/powerpoint/2010/main" val="7432022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152400" y="193795"/>
            <a:ext cx="7863840" cy="457200"/>
          </a:xfrm>
          <a:prstGeom prst="rect">
            <a:avLst/>
          </a:prstGeom>
        </p:spPr>
        <p:txBody>
          <a:bodyPr>
            <a:normAutofit/>
          </a:bodyPr>
          <a:lstStyle/>
          <a:p>
            <a:pPr marL="0" indent="0">
              <a:buNone/>
            </a:pPr>
            <a:r>
              <a:rPr lang="en-US" sz="1600" b="1" spc="0" dirty="0">
                <a:solidFill>
                  <a:schemeClr val="tx1">
                    <a:lumMod val="85000"/>
                    <a:lumOff val="15000"/>
                  </a:schemeClr>
                </a:solidFill>
                <a:latin typeface="Montserrat" panose="02000505000000020004" pitchFamily="2" charset="0"/>
              </a:rPr>
              <a:t>Table of Contents</a:t>
            </a:r>
          </a:p>
        </p:txBody>
      </p:sp>
      <p:graphicFrame>
        <p:nvGraphicFramePr>
          <p:cNvPr id="6" name="Table 5">
            <a:extLst>
              <a:ext uri="{FF2B5EF4-FFF2-40B4-BE49-F238E27FC236}">
                <a16:creationId xmlns:a16="http://schemas.microsoft.com/office/drawing/2014/main" id="{B447EB88-FF2A-4CEF-92A1-1C1B5802DE79}"/>
              </a:ext>
            </a:extLst>
          </p:cNvPr>
          <p:cNvGraphicFramePr>
            <a:graphicFrameLocks noGrp="1"/>
          </p:cNvGraphicFramePr>
          <p:nvPr>
            <p:extLst>
              <p:ext uri="{D42A27DB-BD31-4B8C-83A1-F6EECF244321}">
                <p14:modId xmlns:p14="http://schemas.microsoft.com/office/powerpoint/2010/main" val="3624468012"/>
              </p:ext>
            </p:extLst>
          </p:nvPr>
        </p:nvGraphicFramePr>
        <p:xfrm>
          <a:off x="152400" y="769424"/>
          <a:ext cx="8518079" cy="5685345"/>
        </p:xfrm>
        <a:graphic>
          <a:graphicData uri="http://schemas.openxmlformats.org/drawingml/2006/table">
            <a:tbl>
              <a:tblPr firstRow="1" bandRow="1">
                <a:tableStyleId>{5C22544A-7EE6-4342-B048-85BDC9FD1C3A}</a:tableStyleId>
              </a:tblPr>
              <a:tblGrid>
                <a:gridCol w="660400">
                  <a:extLst>
                    <a:ext uri="{9D8B030D-6E8A-4147-A177-3AD203B41FA5}">
                      <a16:colId xmlns:a16="http://schemas.microsoft.com/office/drawing/2014/main" val="20000"/>
                    </a:ext>
                  </a:extLst>
                </a:gridCol>
                <a:gridCol w="837798">
                  <a:extLst>
                    <a:ext uri="{9D8B030D-6E8A-4147-A177-3AD203B41FA5}">
                      <a16:colId xmlns:a16="http://schemas.microsoft.com/office/drawing/2014/main" val="20001"/>
                    </a:ext>
                  </a:extLst>
                </a:gridCol>
                <a:gridCol w="710129">
                  <a:extLst>
                    <a:ext uri="{9D8B030D-6E8A-4147-A177-3AD203B41FA5}">
                      <a16:colId xmlns:a16="http://schemas.microsoft.com/office/drawing/2014/main" val="20002"/>
                    </a:ext>
                  </a:extLst>
                </a:gridCol>
                <a:gridCol w="153874">
                  <a:extLst>
                    <a:ext uri="{9D8B030D-6E8A-4147-A177-3AD203B41FA5}">
                      <a16:colId xmlns:a16="http://schemas.microsoft.com/office/drawing/2014/main" val="20003"/>
                    </a:ext>
                  </a:extLst>
                </a:gridCol>
                <a:gridCol w="1701801">
                  <a:extLst>
                    <a:ext uri="{9D8B030D-6E8A-4147-A177-3AD203B41FA5}">
                      <a16:colId xmlns:a16="http://schemas.microsoft.com/office/drawing/2014/main" val="2591025754"/>
                    </a:ext>
                  </a:extLst>
                </a:gridCol>
                <a:gridCol w="1701801">
                  <a:extLst>
                    <a:ext uri="{9D8B030D-6E8A-4147-A177-3AD203B41FA5}">
                      <a16:colId xmlns:a16="http://schemas.microsoft.com/office/drawing/2014/main" val="3562548654"/>
                    </a:ext>
                  </a:extLst>
                </a:gridCol>
                <a:gridCol w="1701801">
                  <a:extLst>
                    <a:ext uri="{9D8B030D-6E8A-4147-A177-3AD203B41FA5}">
                      <a16:colId xmlns:a16="http://schemas.microsoft.com/office/drawing/2014/main" val="1621229374"/>
                    </a:ext>
                  </a:extLst>
                </a:gridCol>
                <a:gridCol w="1050475">
                  <a:extLst>
                    <a:ext uri="{9D8B030D-6E8A-4147-A177-3AD203B41FA5}">
                      <a16:colId xmlns:a16="http://schemas.microsoft.com/office/drawing/2014/main" val="3165443865"/>
                    </a:ext>
                  </a:extLst>
                </a:gridCol>
              </a:tblGrid>
              <a:tr h="295412">
                <a:tc>
                  <a:txBody>
                    <a:bodyPr/>
                    <a:lstStyle/>
                    <a:p>
                      <a:pPr algn="ctr">
                        <a:lnSpc>
                          <a:spcPts val="6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S. No.</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gridSpan="6">
                  <a:txBody>
                    <a:bodyPr/>
                    <a:lstStyle/>
                    <a:p>
                      <a:pPr algn="ctr">
                        <a:lnSpc>
                          <a:spcPts val="600"/>
                        </a:lnSpc>
                      </a:pPr>
                      <a:r>
                        <a:rPr lang="en-IN" sz="900" dirty="0">
                          <a:solidFill>
                            <a:schemeClr val="tx1"/>
                          </a:solidFill>
                          <a:latin typeface="Verdana" panose="020B0604030504040204" pitchFamily="34" charset="0"/>
                          <a:ea typeface="Verdana" panose="020B0604030504040204" pitchFamily="34" charset="0"/>
                          <a:cs typeface="Verdana" panose="020B0604030504040204" pitchFamily="34" charset="0"/>
                        </a:rPr>
                        <a:t>Content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hMerge="1">
                  <a:txBody>
                    <a:bodyPr/>
                    <a:lstStyle/>
                    <a:p>
                      <a:endParaRPr lang="en-IN"/>
                    </a:p>
                  </a:txBody>
                  <a:tcPr/>
                </a:tc>
                <a:tc hMerge="1">
                  <a:txBody>
                    <a:bodyPr/>
                    <a:lstStyle/>
                    <a:p>
                      <a:endParaRPr lang="en-IN"/>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a:lnSpc>
                          <a:spcPts val="600"/>
                        </a:lnSpc>
                      </a:pPr>
                      <a:r>
                        <a:rPr lang="en-IN" sz="900" dirty="0">
                          <a:solidFill>
                            <a:schemeClr val="tx1"/>
                          </a:solidFill>
                          <a:latin typeface="Verdana" panose="020B0604030504040204" pitchFamily="34" charset="0"/>
                          <a:ea typeface="Verdana" panose="020B0604030504040204" pitchFamily="34" charset="0"/>
                          <a:cs typeface="Verdana" panose="020B0604030504040204" pitchFamily="34" charset="0"/>
                        </a:rPr>
                        <a:t>Page No.</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extLst>
                  <a:ext uri="{0D108BD9-81ED-4DB2-BD59-A6C34878D82A}">
                    <a16:rowId xmlns:a16="http://schemas.microsoft.com/office/drawing/2014/main" val="10000"/>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0.2.</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hare &amp; Forecast </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3471683"/>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highlight>
                          <a:srgbClr val="00FFFF"/>
                        </a:highlight>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IN" sz="900" kern="1200" dirty="0">
                        <a:solidFill>
                          <a:schemeClr val="tx1"/>
                        </a:solidFill>
                        <a:highlight>
                          <a:srgbClr val="00FFFF"/>
                        </a:highlight>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10.1.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Grad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311542"/>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highlight>
                          <a:srgbClr val="00FFFF"/>
                        </a:highlight>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IN" sz="900" kern="1200" dirty="0">
                        <a:solidFill>
                          <a:schemeClr val="tx1"/>
                        </a:solidFill>
                        <a:highlight>
                          <a:srgbClr val="00FFFF"/>
                        </a:highlight>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10.1.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End Us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0467385"/>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0.3.</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pper Sulphate Import &amp; Export Statistics</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327695"/>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0.4.</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mpetition Outlook</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59224021"/>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1.</a:t>
                      </a: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Rest of South-East Asia Copper Sulphate Market Outlook</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1795546"/>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1.1.</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ize &amp; Forecast </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2857211"/>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1.1.1.</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Value &amp; Volume</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059699"/>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1.2.</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pper Sulphate Trade Dynamics in Rest of Asia Region</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6938632"/>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2.</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Dynamics</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en-US" sz="1000" b="1" i="0" u="none" strike="noStrike" dirty="0">
                        <a:solidFill>
                          <a:srgbClr val="00206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6674648"/>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2.1.</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a:lnSpc>
                          <a:spcPct val="100000"/>
                        </a:lnSpc>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Impact Analysis</a:t>
                      </a:r>
                    </a:p>
                  </a:txBody>
                  <a:tcPr marL="100584" marR="100584" marT="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en-US" sz="1000" b="0" i="0" u="none" strike="noStrike" dirty="0">
                        <a:solidFill>
                          <a:srgbClr val="00206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16531"/>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2.2.</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a:lnSpc>
                          <a:spcPct val="100000"/>
                        </a:lnSpc>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Drivers</a:t>
                      </a:r>
                    </a:p>
                  </a:txBody>
                  <a:tcPr marL="100584" marR="100584" marT="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1119108"/>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2.3.</a:t>
                      </a: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Challenges/Restraints</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1409861"/>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3.</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Trends &amp; Developments</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7213157"/>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4.</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Product Benchmarking </a:t>
                      </a: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Supplier-wise grade)</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4646148"/>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4.1.</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a:lnSpc>
                          <a:spcPct val="100000"/>
                        </a:lnSpc>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Supplier </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en-US" sz="1000" b="0" i="0" u="none" strike="noStrike" dirty="0">
                        <a:solidFill>
                          <a:srgbClr val="00206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361247"/>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4.2.</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a:lnSpc>
                          <a:spcPct val="100000"/>
                        </a:lnSpc>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Grade</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en-US" sz="1000" b="0" i="0" u="none" strike="noStrike" dirty="0">
                        <a:solidFill>
                          <a:srgbClr val="00206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8065152"/>
                  </a:ext>
                </a:extLst>
              </a:tr>
              <a:tr h="32458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5.</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Customer Analysis (Buyer Coordinates and Consumption Behavior of Top 25 companies in South-East Asia)</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27046309"/>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6.</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Competitive Landscape</a:t>
                      </a:r>
                    </a:p>
                  </a:txBody>
                  <a:tcPr marL="100584" marR="100584" marT="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1000" b="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2780604"/>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6.1.</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Lam Seng Hang Indonesia. PT </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9580147"/>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6.2.</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Chemtronic</a:t>
                      </a: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 Technology (Thailand) </a:t>
                      </a:r>
                      <a:r>
                        <a:rPr lang="en-US" sz="90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Co.,Ltd</a:t>
                      </a: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 </a:t>
                      </a: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9802860"/>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6.3.</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Buildmore</a:t>
                      </a: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 Enterprise Co., Ltd</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3360248"/>
                  </a:ext>
                </a:extLst>
              </a:tr>
              <a:tr h="23307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6.4.</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Fajar</a:t>
                      </a: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n-IN" sz="90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Zippindo</a:t>
                      </a: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 PT</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1700929"/>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6.5.</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JL </a:t>
                      </a:r>
                      <a:r>
                        <a:rPr lang="en-IN" sz="90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Chemtonic</a:t>
                      </a: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 Co., Ltd.</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070607"/>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6.6.</a:t>
                      </a: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Resilient Mix </a:t>
                      </a:r>
                      <a:r>
                        <a:rPr lang="en-IN" sz="900" b="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Sdn</a:t>
                      </a: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 Bhd.</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5508618"/>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7.</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Strategic Recommendations</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1000" b="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711609"/>
                  </a:ext>
                </a:extLst>
              </a:tr>
            </a:tbl>
          </a:graphicData>
        </a:graphic>
      </p:graphicFrame>
    </p:spTree>
    <p:extLst>
      <p:ext uri="{BB962C8B-B14F-4D97-AF65-F5344CB8AC3E}">
        <p14:creationId xmlns:p14="http://schemas.microsoft.com/office/powerpoint/2010/main" val="341391689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6B1D01B8-32F7-47CA-AEE2-F21C067B30D7}"/>
              </a:ext>
            </a:extLst>
          </p:cNvPr>
          <p:cNvSpPr/>
          <p:nvPr/>
        </p:nvSpPr>
        <p:spPr>
          <a:xfrm>
            <a:off x="0" y="754379"/>
            <a:ext cx="6032500" cy="1083212"/>
          </a:xfrm>
          <a:custGeom>
            <a:avLst/>
            <a:gdLst>
              <a:gd name="connsiteX0" fmla="*/ 0 w 6032500"/>
              <a:gd name="connsiteY0" fmla="*/ 0 h 1083212"/>
              <a:gd name="connsiteX1" fmla="*/ 6032500 w 6032500"/>
              <a:gd name="connsiteY1" fmla="*/ 0 h 1083212"/>
              <a:gd name="connsiteX2" fmla="*/ 6032500 w 6032500"/>
              <a:gd name="connsiteY2" fmla="*/ 1083212 h 1083212"/>
              <a:gd name="connsiteX3" fmla="*/ 0 w 6032500"/>
              <a:gd name="connsiteY3" fmla="*/ 1083212 h 1083212"/>
              <a:gd name="connsiteX4" fmla="*/ 0 w 6032500"/>
              <a:gd name="connsiteY4" fmla="*/ 0 h 1083212"/>
              <a:gd name="connsiteX0" fmla="*/ 0 w 6032500"/>
              <a:gd name="connsiteY0" fmla="*/ 0 h 1083212"/>
              <a:gd name="connsiteX1" fmla="*/ 6032500 w 6032500"/>
              <a:gd name="connsiteY1" fmla="*/ 0 h 1083212"/>
              <a:gd name="connsiteX2" fmla="*/ 5526063 w 6032500"/>
              <a:gd name="connsiteY2" fmla="*/ 1083212 h 1083212"/>
              <a:gd name="connsiteX3" fmla="*/ 0 w 6032500"/>
              <a:gd name="connsiteY3" fmla="*/ 1083212 h 1083212"/>
              <a:gd name="connsiteX4" fmla="*/ 0 w 6032500"/>
              <a:gd name="connsiteY4" fmla="*/ 0 h 108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0" h="1083212">
                <a:moveTo>
                  <a:pt x="0" y="0"/>
                </a:moveTo>
                <a:lnTo>
                  <a:pt x="6032500" y="0"/>
                </a:lnTo>
                <a:lnTo>
                  <a:pt x="5526063" y="1083212"/>
                </a:lnTo>
                <a:lnTo>
                  <a:pt x="0" y="1083212"/>
                </a:lnTo>
                <a:lnTo>
                  <a:pt x="0" y="0"/>
                </a:lnTo>
                <a:close/>
              </a:path>
            </a:pathLst>
          </a:custGeom>
          <a:solidFill>
            <a:sysClr val="window" lastClr="FFFFFF"/>
          </a:solidFill>
          <a:ln w="12700" cap="flat" cmpd="sng" algn="ctr">
            <a:noFill/>
            <a:prstDash val="solid"/>
            <a:miter lim="800000"/>
          </a:ln>
          <a:effectLst>
            <a:innerShdw blurRad="76200" dist="76200" dir="18900000">
              <a:prstClr val="black">
                <a:alpha val="46000"/>
              </a:prstClr>
            </a:innerShdw>
          </a:effectLst>
        </p:spPr>
        <p:txBody>
          <a:bodyPr rtlCol="0" anchor="ctr"/>
          <a:lstStyle/>
          <a:p>
            <a:pPr marL="0" lvl="1">
              <a:defRPr/>
            </a:pPr>
            <a:r>
              <a:rPr lang="en-IN" sz="2400" b="1" dirty="0">
                <a:solidFill>
                  <a:prstClr val="black"/>
                </a:solidFill>
                <a:latin typeface="Arial" panose="020B0604020202020204" pitchFamily="34" charset="0"/>
                <a:cs typeface="Arial" panose="020B0604020202020204" pitchFamily="34" charset="0"/>
              </a:rPr>
              <a:t>Thailand Copper Sulphate Market Outlook</a:t>
            </a:r>
            <a:endParaRPr kumimoji="0" lang="en-US"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p:txBody>
      </p:sp>
      <p:pic>
        <p:nvPicPr>
          <p:cNvPr id="5122" name="Picture 2" descr="Image result for Indonesia flag">
            <a:extLst>
              <a:ext uri="{FF2B5EF4-FFF2-40B4-BE49-F238E27FC236}">
                <a16:creationId xmlns:a16="http://schemas.microsoft.com/office/drawing/2014/main" id="{9A378D46-EA87-47AF-987A-9067AF43F352}"/>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956859"/>
            <a:ext cx="8892000" cy="4345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19863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6D56440-7BB6-4355-9CC6-D51E1E67FF63}"/>
              </a:ext>
            </a:extLst>
          </p:cNvPr>
          <p:cNvSpPr txBox="1"/>
          <p:nvPr/>
        </p:nvSpPr>
        <p:spPr>
          <a:xfrm>
            <a:off x="211741" y="853872"/>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6: Thailand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alue, (USD Million), 2016-2026F</a:t>
            </a:r>
          </a:p>
        </p:txBody>
      </p:sp>
      <p:graphicFrame>
        <p:nvGraphicFramePr>
          <p:cNvPr id="8" name="Chart 7">
            <a:extLst>
              <a:ext uri="{FF2B5EF4-FFF2-40B4-BE49-F238E27FC236}">
                <a16:creationId xmlns:a16="http://schemas.microsoft.com/office/drawing/2014/main" id="{A26F37D2-0FE5-434C-BED8-194559B16CDB}"/>
              </a:ext>
            </a:extLst>
          </p:cNvPr>
          <p:cNvGraphicFramePr/>
          <p:nvPr/>
        </p:nvGraphicFramePr>
        <p:xfrm>
          <a:off x="222309" y="1645643"/>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Thailand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alue</a:t>
            </a:r>
            <a:endParaRPr kumimoji="0" lang="en-IN" sz="1400" b="1" i="0" u="none" strike="noStrike" kern="1200" cap="none" spc="0" normalizeH="0" baseline="0" noProof="0" dirty="0">
              <a:ln>
                <a:noFill/>
              </a:ln>
              <a:solidFill>
                <a:srgbClr val="FF0000"/>
              </a:solidFill>
              <a:effectLst/>
              <a:uLnTx/>
              <a:uFillTx/>
              <a:latin typeface="Arial" panose="020B0604020202020204" pitchFamily="34" charset="0"/>
              <a:ea typeface="+mj-ea"/>
              <a:cs typeface="Arial" panose="020B0604020202020204" pitchFamily="34" charset="0"/>
            </a:endParaRPr>
          </a:p>
        </p:txBody>
      </p:sp>
      <p:grpSp>
        <p:nvGrpSpPr>
          <p:cNvPr id="37" name="Group 36">
            <a:extLst>
              <a:ext uri="{FF2B5EF4-FFF2-40B4-BE49-F238E27FC236}">
                <a16:creationId xmlns:a16="http://schemas.microsoft.com/office/drawing/2014/main" id="{6386A73A-847E-4130-81BE-863495E3ED04}"/>
              </a:ext>
            </a:extLst>
          </p:cNvPr>
          <p:cNvGrpSpPr/>
          <p:nvPr/>
        </p:nvGrpSpPr>
        <p:grpSpPr>
          <a:xfrm>
            <a:off x="4356406" y="1233433"/>
            <a:ext cx="3753924" cy="516701"/>
            <a:chOff x="4524751" y="1404135"/>
            <a:chExt cx="3555640" cy="516701"/>
          </a:xfrm>
        </p:grpSpPr>
        <p:cxnSp>
          <p:nvCxnSpPr>
            <p:cNvPr id="38" name="Connector: Elbow 37">
              <a:extLst>
                <a:ext uri="{FF2B5EF4-FFF2-40B4-BE49-F238E27FC236}">
                  <a16:creationId xmlns:a16="http://schemas.microsoft.com/office/drawing/2014/main" id="{B81336F6-D7FE-4B7B-AED9-0CBC6E848C33}"/>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5549B13E-9C53-4126-B55B-A344435365DF}"/>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5.52%</a:t>
              </a:r>
              <a:endPar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17" name="Group 16">
            <a:extLst>
              <a:ext uri="{FF2B5EF4-FFF2-40B4-BE49-F238E27FC236}">
                <a16:creationId xmlns:a16="http://schemas.microsoft.com/office/drawing/2014/main" id="{2F515B5B-3EE0-42B7-8BCE-353FD362EF1C}"/>
              </a:ext>
            </a:extLst>
          </p:cNvPr>
          <p:cNvGrpSpPr/>
          <p:nvPr/>
        </p:nvGrpSpPr>
        <p:grpSpPr>
          <a:xfrm>
            <a:off x="543338" y="1285936"/>
            <a:ext cx="3184509" cy="516701"/>
            <a:chOff x="4524751" y="1404135"/>
            <a:chExt cx="3302533" cy="516701"/>
          </a:xfrm>
        </p:grpSpPr>
        <p:cxnSp>
          <p:nvCxnSpPr>
            <p:cNvPr id="18" name="Connector: Elbow 17">
              <a:extLst>
                <a:ext uri="{FF2B5EF4-FFF2-40B4-BE49-F238E27FC236}">
                  <a16:creationId xmlns:a16="http://schemas.microsoft.com/office/drawing/2014/main" id="{C428651D-8F06-4BA0-87B1-94DBEBF0A9ED}"/>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C5E4E871-8419-4F85-9872-9FF7D1AA6DD1}"/>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3.77</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28" name="TextBox 27">
            <a:extLst>
              <a:ext uri="{FF2B5EF4-FFF2-40B4-BE49-F238E27FC236}">
                <a16:creationId xmlns:a16="http://schemas.microsoft.com/office/drawing/2014/main" id="{38CFDCD4-BAB4-41D7-A4A0-EEAFD86FEE4A}"/>
              </a:ext>
            </a:extLst>
          </p:cNvPr>
          <p:cNvSpPr txBox="1"/>
          <p:nvPr/>
        </p:nvSpPr>
        <p:spPr>
          <a:xfrm>
            <a:off x="6546976" y="3329614"/>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3" name="Chart 12">
            <a:extLst>
              <a:ext uri="{FF2B5EF4-FFF2-40B4-BE49-F238E27FC236}">
                <a16:creationId xmlns:a16="http://schemas.microsoft.com/office/drawing/2014/main" id="{CA0FB292-CC05-42FD-A443-6127DA2216E1}"/>
              </a:ext>
            </a:extLst>
          </p:cNvPr>
          <p:cNvGraphicFramePr/>
          <p:nvPr>
            <p:extLst>
              <p:ext uri="{D42A27DB-BD31-4B8C-83A1-F6EECF244321}">
                <p14:modId xmlns:p14="http://schemas.microsoft.com/office/powerpoint/2010/main" val="1822705407"/>
              </p:ext>
            </p:extLst>
          </p:nvPr>
        </p:nvGraphicFramePr>
        <p:xfrm>
          <a:off x="4619151" y="4215863"/>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17529C3A-06FC-487D-BD23-3D2F528CB069}"/>
              </a:ext>
            </a:extLst>
          </p:cNvPr>
          <p:cNvSpPr txBox="1"/>
          <p:nvPr/>
        </p:nvSpPr>
        <p:spPr>
          <a:xfrm>
            <a:off x="4539639" y="3883409"/>
            <a:ext cx="4736884" cy="246221"/>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hailand Manufacturing (% of GDP), 2015-2020</a:t>
            </a:r>
          </a:p>
        </p:txBody>
      </p:sp>
      <p:sp>
        <p:nvSpPr>
          <p:cNvPr id="15" name="TextBox 14">
            <a:extLst>
              <a:ext uri="{FF2B5EF4-FFF2-40B4-BE49-F238E27FC236}">
                <a16:creationId xmlns:a16="http://schemas.microsoft.com/office/drawing/2014/main" id="{F92C573D-BBB7-46C8-B550-5AEB728F6486}"/>
              </a:ext>
            </a:extLst>
          </p:cNvPr>
          <p:cNvSpPr txBox="1"/>
          <p:nvPr/>
        </p:nvSpPr>
        <p:spPr>
          <a:xfrm>
            <a:off x="6546976" y="6314387"/>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
        <p:nvSpPr>
          <p:cNvPr id="20" name="Subtitle 2">
            <a:extLst>
              <a:ext uri="{FF2B5EF4-FFF2-40B4-BE49-F238E27FC236}">
                <a16:creationId xmlns:a16="http://schemas.microsoft.com/office/drawing/2014/main" id="{048858E2-E178-4E88-985A-4133DF2C3A1A}"/>
              </a:ext>
            </a:extLst>
          </p:cNvPr>
          <p:cNvSpPr txBox="1">
            <a:spLocks/>
          </p:cNvSpPr>
          <p:nvPr/>
        </p:nvSpPr>
        <p:spPr>
          <a:xfrm>
            <a:off x="150970" y="3936157"/>
            <a:ext cx="4373880" cy="2552400"/>
          </a:xfrm>
          <a:prstGeom prst="rect">
            <a:avLst/>
          </a:prstGeom>
        </p:spPr>
        <p:style>
          <a:lnRef idx="1">
            <a:schemeClr val="accent5"/>
          </a:lnRef>
          <a:fillRef idx="2">
            <a:schemeClr val="accent5"/>
          </a:fillRef>
          <a:effectRef idx="1">
            <a:schemeClr val="accent5"/>
          </a:effectRef>
          <a:fontRef idx="minor">
            <a:schemeClr val="dk1"/>
          </a:fontRef>
        </p:style>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Thailand copper sulphate market stood at USD5.07 Million in 2020 and is anticipated to reach USD6.70 Million at a healthy CAGR of 5.52% in 2026F. The growing demand from agricultural sector in the country stimulated the market for copper sulphate.</a:t>
            </a:r>
          </a:p>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Moreover, increasing industrialization and rapid urbanization in the country contributes to the increasing market for the product. The rising electrical industry in the country also boosts the demand of the chemical as it is used as an electrolyte in copper plating.</a:t>
            </a:r>
            <a:endParaRPr lang="en-US" sz="1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26370390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14320C3F-EF7D-410F-BFF2-8168F2D77AA0}"/>
              </a:ext>
            </a:extLst>
          </p:cNvPr>
          <p:cNvGraphicFramePr/>
          <p:nvPr/>
        </p:nvGraphicFramePr>
        <p:xfrm>
          <a:off x="219965" y="1645745"/>
          <a:ext cx="8268194" cy="1899415"/>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a:extLst>
              <a:ext uri="{FF2B5EF4-FFF2-40B4-BE49-F238E27FC236}">
                <a16:creationId xmlns:a16="http://schemas.microsoft.com/office/drawing/2014/main" id="{B83D75AB-0E3C-4B82-996F-87A7453E4A1F}"/>
              </a:ext>
            </a:extLst>
          </p:cNvPr>
          <p:cNvGrpSpPr/>
          <p:nvPr/>
        </p:nvGrpSpPr>
        <p:grpSpPr>
          <a:xfrm>
            <a:off x="4354062" y="1302008"/>
            <a:ext cx="3756268" cy="516701"/>
            <a:chOff x="4524751" y="1404135"/>
            <a:chExt cx="3555640" cy="516701"/>
          </a:xfrm>
        </p:grpSpPr>
        <p:cxnSp>
          <p:nvCxnSpPr>
            <p:cNvPr id="4" name="Connector: Elbow 3">
              <a:extLst>
                <a:ext uri="{FF2B5EF4-FFF2-40B4-BE49-F238E27FC236}">
                  <a16:creationId xmlns:a16="http://schemas.microsoft.com/office/drawing/2014/main" id="{95A6DFC4-4495-4F6A-A9EF-3E83D56C7111}"/>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F95BE91-1C09-4CB4-83F8-DAB4DE213186}"/>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4.84</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grpSp>
        <p:nvGrpSpPr>
          <p:cNvPr id="6" name="Group 5">
            <a:extLst>
              <a:ext uri="{FF2B5EF4-FFF2-40B4-BE49-F238E27FC236}">
                <a16:creationId xmlns:a16="http://schemas.microsoft.com/office/drawing/2014/main" id="{1F1797BD-8E39-4379-B7B5-4BD9B632F27D}"/>
              </a:ext>
            </a:extLst>
          </p:cNvPr>
          <p:cNvGrpSpPr/>
          <p:nvPr/>
        </p:nvGrpSpPr>
        <p:grpSpPr>
          <a:xfrm>
            <a:off x="543338" y="1296572"/>
            <a:ext cx="3182166" cy="516701"/>
            <a:chOff x="4524751" y="1404135"/>
            <a:chExt cx="3302533" cy="516701"/>
          </a:xfrm>
        </p:grpSpPr>
        <p:cxnSp>
          <p:nvCxnSpPr>
            <p:cNvPr id="7" name="Connector: Elbow 6">
              <a:extLst>
                <a:ext uri="{FF2B5EF4-FFF2-40B4-BE49-F238E27FC236}">
                  <a16:creationId xmlns:a16="http://schemas.microsoft.com/office/drawing/2014/main" id="{2F52B0F6-27F3-4CEB-A84F-9018459DA4B8}"/>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CE477C8-FC35-4CC6-BFD4-63C00C156893}"/>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2.51</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9" name="TextBox 8">
            <a:extLst>
              <a:ext uri="{FF2B5EF4-FFF2-40B4-BE49-F238E27FC236}">
                <a16:creationId xmlns:a16="http://schemas.microsoft.com/office/drawing/2014/main" id="{786AB1F4-AC9C-4AFF-8AAA-46411A146ED7}"/>
              </a:ext>
            </a:extLst>
          </p:cNvPr>
          <p:cNvSpPr txBox="1"/>
          <p:nvPr/>
        </p:nvSpPr>
        <p:spPr>
          <a:xfrm>
            <a:off x="211741" y="91519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7: Thailand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olume, (Kilo Tonnes), 2016-2026F</a:t>
            </a:r>
          </a:p>
        </p:txBody>
      </p:sp>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Thailand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olume</a:t>
            </a:r>
          </a:p>
        </p:txBody>
      </p:sp>
      <p:sp>
        <p:nvSpPr>
          <p:cNvPr id="12" name="TextBox 11">
            <a:extLst>
              <a:ext uri="{FF2B5EF4-FFF2-40B4-BE49-F238E27FC236}">
                <a16:creationId xmlns:a16="http://schemas.microsoft.com/office/drawing/2014/main" id="{62D9C698-BBD6-413D-8A80-5DCF57DBBD95}"/>
              </a:ext>
            </a:extLst>
          </p:cNvPr>
          <p:cNvSpPr txBox="1"/>
          <p:nvPr/>
        </p:nvSpPr>
        <p:spPr>
          <a:xfrm>
            <a:off x="6546976" y="372287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3" name="Chart 12">
            <a:extLst>
              <a:ext uri="{FF2B5EF4-FFF2-40B4-BE49-F238E27FC236}">
                <a16:creationId xmlns:a16="http://schemas.microsoft.com/office/drawing/2014/main" id="{671165BF-23CA-48B5-825B-5B5E6494F836}"/>
              </a:ext>
            </a:extLst>
          </p:cNvPr>
          <p:cNvGraphicFramePr/>
          <p:nvPr>
            <p:extLst>
              <p:ext uri="{D42A27DB-BD31-4B8C-83A1-F6EECF244321}">
                <p14:modId xmlns:p14="http://schemas.microsoft.com/office/powerpoint/2010/main" val="2280020668"/>
              </p:ext>
            </p:extLst>
          </p:nvPr>
        </p:nvGraphicFramePr>
        <p:xfrm>
          <a:off x="179673" y="4427895"/>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79560B77-A651-4AE0-AD2E-DEB86E5DA88A}"/>
              </a:ext>
            </a:extLst>
          </p:cNvPr>
          <p:cNvSpPr txBox="1"/>
          <p:nvPr/>
        </p:nvSpPr>
        <p:spPr>
          <a:xfrm>
            <a:off x="145481" y="4107470"/>
            <a:ext cx="4578626" cy="400110"/>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hailand Agricultural Production, By Value (USD Million), 2015-2019</a:t>
            </a:r>
          </a:p>
        </p:txBody>
      </p:sp>
      <p:sp>
        <p:nvSpPr>
          <p:cNvPr id="15" name="TextBox 14">
            <a:extLst>
              <a:ext uri="{FF2B5EF4-FFF2-40B4-BE49-F238E27FC236}">
                <a16:creationId xmlns:a16="http://schemas.microsoft.com/office/drawing/2014/main" id="{7D11B78F-F852-4073-804F-8FA0C1793779}"/>
              </a:ext>
            </a:extLst>
          </p:cNvPr>
          <p:cNvSpPr txBox="1"/>
          <p:nvPr/>
        </p:nvSpPr>
        <p:spPr>
          <a:xfrm>
            <a:off x="3031005" y="6410682"/>
            <a:ext cx="1139869"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FAO Stats </a:t>
            </a:r>
          </a:p>
        </p:txBody>
      </p:sp>
      <p:graphicFrame>
        <p:nvGraphicFramePr>
          <p:cNvPr id="22" name="Chart 21">
            <a:extLst>
              <a:ext uri="{FF2B5EF4-FFF2-40B4-BE49-F238E27FC236}">
                <a16:creationId xmlns:a16="http://schemas.microsoft.com/office/drawing/2014/main" id="{9D30440B-6005-4433-845E-5D9D27108B4D}"/>
              </a:ext>
            </a:extLst>
          </p:cNvPr>
          <p:cNvGraphicFramePr/>
          <p:nvPr>
            <p:extLst>
              <p:ext uri="{D42A27DB-BD31-4B8C-83A1-F6EECF244321}">
                <p14:modId xmlns:p14="http://schemas.microsoft.com/office/powerpoint/2010/main" val="2813322321"/>
              </p:ext>
            </p:extLst>
          </p:nvPr>
        </p:nvGraphicFramePr>
        <p:xfrm>
          <a:off x="4718538" y="4368262"/>
          <a:ext cx="3910054" cy="1983188"/>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Box 22">
            <a:extLst>
              <a:ext uri="{FF2B5EF4-FFF2-40B4-BE49-F238E27FC236}">
                <a16:creationId xmlns:a16="http://schemas.microsoft.com/office/drawing/2014/main" id="{B42ADD39-C55C-4F19-A9C5-0255570DE616}"/>
              </a:ext>
            </a:extLst>
          </p:cNvPr>
          <p:cNvSpPr txBox="1"/>
          <p:nvPr/>
        </p:nvSpPr>
        <p:spPr>
          <a:xfrm>
            <a:off x="4572000" y="4084702"/>
            <a:ext cx="4578626" cy="246221"/>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hailand Healthcare Expenditure (% of GDP), 2015-2019</a:t>
            </a:r>
          </a:p>
        </p:txBody>
      </p:sp>
      <p:sp>
        <p:nvSpPr>
          <p:cNvPr id="31" name="TextBox 30">
            <a:extLst>
              <a:ext uri="{FF2B5EF4-FFF2-40B4-BE49-F238E27FC236}">
                <a16:creationId xmlns:a16="http://schemas.microsoft.com/office/drawing/2014/main" id="{699BE35E-93F3-4805-B8B3-644CD30837CA}"/>
              </a:ext>
            </a:extLst>
          </p:cNvPr>
          <p:cNvSpPr txBox="1"/>
          <p:nvPr/>
        </p:nvSpPr>
        <p:spPr>
          <a:xfrm>
            <a:off x="6504703"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Tree>
    <p:extLst>
      <p:ext uri="{BB962C8B-B14F-4D97-AF65-F5344CB8AC3E}">
        <p14:creationId xmlns:p14="http://schemas.microsoft.com/office/powerpoint/2010/main" val="96025101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Thailand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a:t>
            </a:r>
          </a:p>
        </p:txBody>
      </p:sp>
      <p:sp>
        <p:nvSpPr>
          <p:cNvPr id="13" name="TextBox 12">
            <a:extLst>
              <a:ext uri="{FF2B5EF4-FFF2-40B4-BE49-F238E27FC236}">
                <a16:creationId xmlns:a16="http://schemas.microsoft.com/office/drawing/2014/main" id="{D6F011D1-F8F8-4C07-BF38-BB19CCF9F0E2}"/>
              </a:ext>
            </a:extLst>
          </p:cNvPr>
          <p:cNvSpPr txBox="1"/>
          <p:nvPr/>
        </p:nvSpPr>
        <p:spPr>
          <a:xfrm>
            <a:off x="357809" y="980661"/>
            <a:ext cx="8335617" cy="5889754"/>
          </a:xfrm>
          <a:prstGeom prst="rect">
            <a:avLst/>
          </a:prstGeom>
          <a:noFill/>
        </p:spPr>
        <p:txBody>
          <a:bodyPr wrap="square" rtlCol="0">
            <a:spAutoFit/>
          </a:bodyPr>
          <a:lstStyle/>
          <a:p>
            <a:pPr marL="171450" indent="-171450">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The agriculture sector in Thailand contributes largest to the demand of copper sulphate as it is used as a fungicide, pesticide or herbicide. The increasing labor force in the agricultural sector and rising population accounts for the increasing consumption of agricultural products which positively affected the market for copper sulphate. The country serves as one of the world’s biggest exporter of rice which also contributes to the growing market for the product. Various government initiatives like the Ministry of Agriculture and Co-operative Strategy 	has prepared a 20-year agriculture and Co-operative Strategy which will be helping in securing the livelihood of Thai farmers and grow the agricultural sector and help in sustaining agricultural resources.</a:t>
            </a:r>
          </a:p>
          <a:p>
            <a:pPr marL="171450" indent="-171450">
              <a:lnSpc>
                <a:spcPct val="200000"/>
              </a:lnSpc>
              <a:buFont typeface="Arial" panose="020B0604020202020204" pitchFamily="34" charset="0"/>
              <a:buChar char="•"/>
            </a:pPr>
            <a:endParaRPr lang="en-US" sz="1000" dirty="0">
              <a:latin typeface="Verdana" panose="020B0604030504040204" pitchFamily="34" charset="0"/>
              <a:ea typeface="Verdana" panose="020B0604030504040204" pitchFamily="34" charset="0"/>
              <a:cs typeface="Verdana" panose="020B0604030504040204" pitchFamily="34" charset="0"/>
            </a:endParaRPr>
          </a:p>
          <a:p>
            <a:pPr marL="171450" indent="-171450">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Manufacturing and industrial sector have played a major role in Thailand’s economy. Major industries which dominates the Thailand market are textiles and garments etc. Copper sulphate is used as a dyeing agent in textile industry which is classified under as conventional metallic mordants. It is also widely used in healthcare industry where it is used to help with public health and safety. It is used to control the growth of algae and bacteria which serves as the antimicrobial and molluscicide.</a:t>
            </a:r>
          </a:p>
          <a:p>
            <a:pPr marL="171450" indent="-171450">
              <a:lnSpc>
                <a:spcPct val="200000"/>
              </a:lnSpc>
              <a:buFont typeface="Arial" panose="020B0604020202020204" pitchFamily="34" charset="0"/>
              <a:buChar char="•"/>
            </a:pPr>
            <a:endParaRPr lang="en-US" sz="1000" dirty="0">
              <a:latin typeface="Verdana" panose="020B0604030504040204" pitchFamily="34" charset="0"/>
              <a:ea typeface="Verdana" panose="020B0604030504040204" pitchFamily="34" charset="0"/>
              <a:cs typeface="Verdana" panose="020B0604030504040204" pitchFamily="34" charset="0"/>
            </a:endParaRPr>
          </a:p>
          <a:p>
            <a:pPr marL="171450" indent="-171450">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The Thai government have been supporting the country’s livestock research projects for many years which helped in finding solutions to certain problems and to recommend sustainable development innovations which will help in stimulating the growth within Thailand’s livestock industry. </a:t>
            </a:r>
          </a:p>
          <a:p>
            <a:pPr marL="171450" indent="-171450">
              <a:lnSpc>
                <a:spcPct val="200000"/>
              </a:lnSpc>
              <a:buFont typeface="Arial" panose="020B0604020202020204" pitchFamily="34" charset="0"/>
              <a:buChar char="•"/>
            </a:pPr>
            <a:endParaRPr lang="en-US" sz="1000" dirty="0">
              <a:latin typeface="Verdana" panose="020B0604030504040204" pitchFamily="34" charset="0"/>
              <a:ea typeface="Verdana" panose="020B0604030504040204" pitchFamily="34" charset="0"/>
              <a:cs typeface="Verdana" panose="020B0604030504040204" pitchFamily="34" charset="0"/>
            </a:endParaRPr>
          </a:p>
          <a:p>
            <a:pPr marL="171450" indent="-171450">
              <a:lnSpc>
                <a:spcPct val="200000"/>
              </a:lnSpc>
              <a:buFont typeface="Arial" panose="020B0604020202020204" pitchFamily="34" charset="0"/>
              <a:buChar char="•"/>
            </a:pPr>
            <a:endParaRPr lang="en-US" sz="1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85954915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Thailand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hare &amp; Size, By </a:t>
            </a:r>
            <a:r>
              <a:rPr lang="en-IN" sz="1400" b="1" dirty="0">
                <a:solidFill>
                  <a:prstClr val="black"/>
                </a:solidFill>
                <a:latin typeface="Arial" panose="020B0604020202020204" pitchFamily="34" charset="0"/>
                <a:cs typeface="Arial" panose="020B0604020202020204" pitchFamily="34" charset="0"/>
              </a:rPr>
              <a:t>Grade </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28" name="TextBox 27">
            <a:extLst>
              <a:ext uri="{FF2B5EF4-FFF2-40B4-BE49-F238E27FC236}">
                <a16:creationId xmlns:a16="http://schemas.microsoft.com/office/drawing/2014/main" id="{DDF0E565-D0AB-44F0-A5D8-D1B068022189}"/>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8: Thailand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Grade</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USD Million), 2016-2026F</a:t>
            </a:r>
          </a:p>
        </p:txBody>
      </p:sp>
      <p:sp>
        <p:nvSpPr>
          <p:cNvPr id="8" name="TextBox 7">
            <a:extLst>
              <a:ext uri="{FF2B5EF4-FFF2-40B4-BE49-F238E27FC236}">
                <a16:creationId xmlns:a16="http://schemas.microsoft.com/office/drawing/2014/main" id="{377E04C2-64EC-4071-91D2-2DF2EB9F00BB}"/>
              </a:ext>
            </a:extLst>
          </p:cNvPr>
          <p:cNvSpPr txBox="1"/>
          <p:nvPr/>
        </p:nvSpPr>
        <p:spPr>
          <a:xfrm>
            <a:off x="291548" y="4373217"/>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7: Thailand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Grade, By Value, (USD Million), 2016-2026F</a:t>
            </a:r>
          </a:p>
        </p:txBody>
      </p:sp>
      <p:graphicFrame>
        <p:nvGraphicFramePr>
          <p:cNvPr id="10" name="Table 9">
            <a:extLst>
              <a:ext uri="{FF2B5EF4-FFF2-40B4-BE49-F238E27FC236}">
                <a16:creationId xmlns:a16="http://schemas.microsoft.com/office/drawing/2014/main" id="{B817CD9E-C62D-4948-BD3B-6404CF626DE6}"/>
              </a:ext>
            </a:extLst>
          </p:cNvPr>
          <p:cNvGraphicFramePr>
            <a:graphicFrameLocks noGrp="1"/>
          </p:cNvGraphicFramePr>
          <p:nvPr>
            <p:extLst>
              <p:ext uri="{D42A27DB-BD31-4B8C-83A1-F6EECF244321}">
                <p14:modId xmlns:p14="http://schemas.microsoft.com/office/powerpoint/2010/main" val="1695337485"/>
              </p:ext>
            </p:extLst>
          </p:nvPr>
        </p:nvGraphicFramePr>
        <p:xfrm>
          <a:off x="371102" y="4818743"/>
          <a:ext cx="8362084" cy="853597"/>
        </p:xfrm>
        <a:graphic>
          <a:graphicData uri="http://schemas.openxmlformats.org/drawingml/2006/table">
            <a:tbl>
              <a:tblPr>
                <a:tableStyleId>{8EC20E35-A176-4012-BC5E-935CFFF8708E}</a:tableStyleId>
              </a:tblPr>
              <a:tblGrid>
                <a:gridCol w="1764152">
                  <a:extLst>
                    <a:ext uri="{9D8B030D-6E8A-4147-A177-3AD203B41FA5}">
                      <a16:colId xmlns:a16="http://schemas.microsoft.com/office/drawing/2014/main" val="2017731148"/>
                    </a:ext>
                  </a:extLst>
                </a:gridCol>
                <a:gridCol w="599812">
                  <a:extLst>
                    <a:ext uri="{9D8B030D-6E8A-4147-A177-3AD203B41FA5}">
                      <a16:colId xmlns:a16="http://schemas.microsoft.com/office/drawing/2014/main" val="2667391389"/>
                    </a:ext>
                  </a:extLst>
                </a:gridCol>
                <a:gridCol w="599812">
                  <a:extLst>
                    <a:ext uri="{9D8B030D-6E8A-4147-A177-3AD203B41FA5}">
                      <a16:colId xmlns:a16="http://schemas.microsoft.com/office/drawing/2014/main" val="3750729452"/>
                    </a:ext>
                  </a:extLst>
                </a:gridCol>
                <a:gridCol w="599812">
                  <a:extLst>
                    <a:ext uri="{9D8B030D-6E8A-4147-A177-3AD203B41FA5}">
                      <a16:colId xmlns:a16="http://schemas.microsoft.com/office/drawing/2014/main" val="425130346"/>
                    </a:ext>
                  </a:extLst>
                </a:gridCol>
                <a:gridCol w="599812">
                  <a:extLst>
                    <a:ext uri="{9D8B030D-6E8A-4147-A177-3AD203B41FA5}">
                      <a16:colId xmlns:a16="http://schemas.microsoft.com/office/drawing/2014/main" val="1091415442"/>
                    </a:ext>
                  </a:extLst>
                </a:gridCol>
                <a:gridCol w="599812">
                  <a:extLst>
                    <a:ext uri="{9D8B030D-6E8A-4147-A177-3AD203B41FA5}">
                      <a16:colId xmlns:a16="http://schemas.microsoft.com/office/drawing/2014/main" val="2869642291"/>
                    </a:ext>
                  </a:extLst>
                </a:gridCol>
                <a:gridCol w="599812">
                  <a:extLst>
                    <a:ext uri="{9D8B030D-6E8A-4147-A177-3AD203B41FA5}">
                      <a16:colId xmlns:a16="http://schemas.microsoft.com/office/drawing/2014/main" val="1492483844"/>
                    </a:ext>
                  </a:extLst>
                </a:gridCol>
                <a:gridCol w="599812">
                  <a:extLst>
                    <a:ext uri="{9D8B030D-6E8A-4147-A177-3AD203B41FA5}">
                      <a16:colId xmlns:a16="http://schemas.microsoft.com/office/drawing/2014/main" val="536896032"/>
                    </a:ext>
                  </a:extLst>
                </a:gridCol>
                <a:gridCol w="599812">
                  <a:extLst>
                    <a:ext uri="{9D8B030D-6E8A-4147-A177-3AD203B41FA5}">
                      <a16:colId xmlns:a16="http://schemas.microsoft.com/office/drawing/2014/main" val="2293403703"/>
                    </a:ext>
                  </a:extLst>
                </a:gridCol>
                <a:gridCol w="599812">
                  <a:extLst>
                    <a:ext uri="{9D8B030D-6E8A-4147-A177-3AD203B41FA5}">
                      <a16:colId xmlns:a16="http://schemas.microsoft.com/office/drawing/2014/main" val="2748373219"/>
                    </a:ext>
                  </a:extLst>
                </a:gridCol>
                <a:gridCol w="599812">
                  <a:extLst>
                    <a:ext uri="{9D8B030D-6E8A-4147-A177-3AD203B41FA5}">
                      <a16:colId xmlns:a16="http://schemas.microsoft.com/office/drawing/2014/main" val="316596246"/>
                    </a:ext>
                  </a:extLst>
                </a:gridCol>
                <a:gridCol w="599812">
                  <a:extLst>
                    <a:ext uri="{9D8B030D-6E8A-4147-A177-3AD203B41FA5}">
                      <a16:colId xmlns:a16="http://schemas.microsoft.com/office/drawing/2014/main" val="2656604351"/>
                    </a:ext>
                  </a:extLst>
                </a:gridCol>
              </a:tblGrid>
              <a:tr h="261393">
                <a:tc>
                  <a:txBody>
                    <a:bodyPr/>
                    <a:lstStyle/>
                    <a:p>
                      <a:pPr algn="l" fontAlgn="b"/>
                      <a:r>
                        <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Grade </a:t>
                      </a: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4277395723"/>
                  </a:ext>
                </a:extLst>
              </a:tr>
              <a:tr h="296102">
                <a:tc>
                  <a:txBody>
                    <a:bodyPr/>
                    <a:lstStyle/>
                    <a:p>
                      <a:pPr algn="l" fontAlgn="b"/>
                      <a:r>
                        <a:rPr lang="en-IN" sz="1000" b="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dirty="0">
                          <a:solidFill>
                            <a:srgbClr val="000000"/>
                          </a:solidFill>
                          <a:effectLst/>
                          <a:latin typeface="Cambria" panose="02040503050406030204" pitchFamily="18" charset="0"/>
                        </a:rPr>
                        <a:t>3.9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4.36</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4.7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4.9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4.52</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4.59</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4.86</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5.17</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5.47</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5.79</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6.14</a:t>
                      </a:r>
                    </a:p>
                  </a:txBody>
                  <a:tcPr marL="9525" marR="9525" marT="9525" marB="0" anchor="b"/>
                </a:tc>
                <a:extLst>
                  <a:ext uri="{0D108BD9-81ED-4DB2-BD59-A6C34878D82A}">
                    <a16:rowId xmlns:a16="http://schemas.microsoft.com/office/drawing/2014/main" val="3614340383"/>
                  </a:ext>
                </a:extLst>
              </a:tr>
              <a:tr h="296102">
                <a:tc>
                  <a:txBody>
                    <a:bodyPr/>
                    <a:lstStyle/>
                    <a:p>
                      <a:pPr algn="l" fontAlgn="b"/>
                      <a:r>
                        <a:rPr lang="en-US"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Reagent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dirty="0">
                          <a:solidFill>
                            <a:srgbClr val="000000"/>
                          </a:solidFill>
                          <a:effectLst/>
                          <a:latin typeface="Cambria" panose="02040503050406030204" pitchFamily="18" charset="0"/>
                        </a:rPr>
                        <a:t>0.42</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33</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31</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47</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5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5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5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53</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56</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5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56</a:t>
                      </a:r>
                    </a:p>
                  </a:txBody>
                  <a:tcPr marL="9525" marR="9525" marT="9525" marB="0" anchor="b"/>
                </a:tc>
                <a:extLst>
                  <a:ext uri="{0D108BD9-81ED-4DB2-BD59-A6C34878D82A}">
                    <a16:rowId xmlns:a16="http://schemas.microsoft.com/office/drawing/2014/main" val="3954528466"/>
                  </a:ext>
                </a:extLst>
              </a:tr>
            </a:tbl>
          </a:graphicData>
        </a:graphic>
      </p:graphicFrame>
      <p:graphicFrame>
        <p:nvGraphicFramePr>
          <p:cNvPr id="11" name="Chart 10">
            <a:extLst>
              <a:ext uri="{FF2B5EF4-FFF2-40B4-BE49-F238E27FC236}">
                <a16:creationId xmlns:a16="http://schemas.microsoft.com/office/drawing/2014/main" id="{4BD1A32F-9549-4B29-AC30-AA339884F884}"/>
              </a:ext>
            </a:extLst>
          </p:cNvPr>
          <p:cNvGraphicFramePr/>
          <p:nvPr/>
        </p:nvGraphicFramePr>
        <p:xfrm>
          <a:off x="291548" y="1264480"/>
          <a:ext cx="8560904" cy="2727250"/>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A7A6CF22-A98E-4AE8-B030-ECCDC89339DE}"/>
              </a:ext>
            </a:extLst>
          </p:cNvPr>
          <p:cNvSpPr txBox="1"/>
          <p:nvPr/>
        </p:nvSpPr>
        <p:spPr>
          <a:xfrm>
            <a:off x="6527118" y="390061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3" name="TextBox 12">
            <a:extLst>
              <a:ext uri="{FF2B5EF4-FFF2-40B4-BE49-F238E27FC236}">
                <a16:creationId xmlns:a16="http://schemas.microsoft.com/office/drawing/2014/main" id="{CCA3F8C5-D38F-43F7-8739-2FDEC21C494A}"/>
              </a:ext>
            </a:extLst>
          </p:cNvPr>
          <p:cNvSpPr txBox="1"/>
          <p:nvPr/>
        </p:nvSpPr>
        <p:spPr>
          <a:xfrm>
            <a:off x="6646384" y="5784245"/>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395306688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457200">
              <a:lnSpc>
                <a:spcPts val="1700"/>
              </a:lnSpc>
              <a:defRPr/>
            </a:pPr>
            <a:r>
              <a:rPr lang="en-IN" sz="1400" b="1" dirty="0">
                <a:solidFill>
                  <a:prstClr val="black"/>
                </a:solidFill>
                <a:latin typeface="Arial" panose="020B0604020202020204" pitchFamily="34" charset="0"/>
                <a:cs typeface="Arial" panose="020B0604020202020204" pitchFamily="34" charset="0"/>
              </a:rPr>
              <a:t>Thailand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a:t>
            </a:r>
            <a:r>
              <a:rPr lang="en-IN" sz="1400" b="1" dirty="0">
                <a:solidFill>
                  <a:prstClr val="black"/>
                </a:solidFill>
                <a:latin typeface="Arial" panose="020B0604020202020204" pitchFamily="34" charset="0"/>
                <a:cs typeface="Arial" panose="020B0604020202020204" pitchFamily="34" charset="0"/>
              </a:rPr>
              <a:t>Share &amp; Size, </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y End Use</a:t>
            </a:r>
          </a:p>
        </p:txBody>
      </p:sp>
      <p:sp>
        <p:nvSpPr>
          <p:cNvPr id="28" name="TextBox 27">
            <a:extLst>
              <a:ext uri="{FF2B5EF4-FFF2-40B4-BE49-F238E27FC236}">
                <a16:creationId xmlns:a16="http://schemas.microsoft.com/office/drawing/2014/main" id="{DDF0E565-D0AB-44F0-A5D8-D1B068022189}"/>
              </a:ext>
            </a:extLst>
          </p:cNvPr>
          <p:cNvSpPr txBox="1"/>
          <p:nvPr/>
        </p:nvSpPr>
        <p:spPr>
          <a:xfrm>
            <a:off x="198120" y="802677"/>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9: Thailand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End Use, By Volume, 2016-2026F</a:t>
            </a:r>
          </a:p>
        </p:txBody>
      </p:sp>
      <p:sp>
        <p:nvSpPr>
          <p:cNvPr id="8" name="TextBox 7">
            <a:extLst>
              <a:ext uri="{FF2B5EF4-FFF2-40B4-BE49-F238E27FC236}">
                <a16:creationId xmlns:a16="http://schemas.microsoft.com/office/drawing/2014/main" id="{377E04C2-64EC-4071-91D2-2DF2EB9F00BB}"/>
              </a:ext>
            </a:extLst>
          </p:cNvPr>
          <p:cNvSpPr txBox="1"/>
          <p:nvPr/>
        </p:nvSpPr>
        <p:spPr>
          <a:xfrm>
            <a:off x="169092" y="3951091"/>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8: Thailand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End Use, By Value, (USD Million), 2016-2026F</a:t>
            </a:r>
          </a:p>
        </p:txBody>
      </p:sp>
      <p:graphicFrame>
        <p:nvGraphicFramePr>
          <p:cNvPr id="14" name="Chart 13">
            <a:extLst>
              <a:ext uri="{FF2B5EF4-FFF2-40B4-BE49-F238E27FC236}">
                <a16:creationId xmlns:a16="http://schemas.microsoft.com/office/drawing/2014/main" id="{3E07543C-8813-43B1-9CB4-96D84207C10F}"/>
              </a:ext>
            </a:extLst>
          </p:cNvPr>
          <p:cNvGraphicFramePr/>
          <p:nvPr/>
        </p:nvGraphicFramePr>
        <p:xfrm>
          <a:off x="198120" y="1076004"/>
          <a:ext cx="8560904" cy="27272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Table 14">
            <a:extLst>
              <a:ext uri="{FF2B5EF4-FFF2-40B4-BE49-F238E27FC236}">
                <a16:creationId xmlns:a16="http://schemas.microsoft.com/office/drawing/2014/main" id="{EEBBF18E-6C43-4730-A55A-9E266E818782}"/>
              </a:ext>
            </a:extLst>
          </p:cNvPr>
          <p:cNvGraphicFramePr>
            <a:graphicFrameLocks noGrp="1"/>
          </p:cNvGraphicFramePr>
          <p:nvPr>
            <p:extLst>
              <p:ext uri="{D42A27DB-BD31-4B8C-83A1-F6EECF244321}">
                <p14:modId xmlns:p14="http://schemas.microsoft.com/office/powerpoint/2010/main" val="725325581"/>
              </p:ext>
            </p:extLst>
          </p:nvPr>
        </p:nvGraphicFramePr>
        <p:xfrm>
          <a:off x="290286" y="4278790"/>
          <a:ext cx="8047227" cy="2131554"/>
        </p:xfrm>
        <a:graphic>
          <a:graphicData uri="http://schemas.openxmlformats.org/drawingml/2006/table">
            <a:tbl>
              <a:tblPr>
                <a:tableStyleId>{8EC20E35-A176-4012-BC5E-935CFFF8708E}</a:tableStyleId>
              </a:tblPr>
              <a:tblGrid>
                <a:gridCol w="1425590">
                  <a:extLst>
                    <a:ext uri="{9D8B030D-6E8A-4147-A177-3AD203B41FA5}">
                      <a16:colId xmlns:a16="http://schemas.microsoft.com/office/drawing/2014/main" val="2017731148"/>
                    </a:ext>
                  </a:extLst>
                </a:gridCol>
                <a:gridCol w="601967">
                  <a:extLst>
                    <a:ext uri="{9D8B030D-6E8A-4147-A177-3AD203B41FA5}">
                      <a16:colId xmlns:a16="http://schemas.microsoft.com/office/drawing/2014/main" val="2667391389"/>
                    </a:ext>
                  </a:extLst>
                </a:gridCol>
                <a:gridCol w="601967">
                  <a:extLst>
                    <a:ext uri="{9D8B030D-6E8A-4147-A177-3AD203B41FA5}">
                      <a16:colId xmlns:a16="http://schemas.microsoft.com/office/drawing/2014/main" val="3750729452"/>
                    </a:ext>
                  </a:extLst>
                </a:gridCol>
                <a:gridCol w="601967">
                  <a:extLst>
                    <a:ext uri="{9D8B030D-6E8A-4147-A177-3AD203B41FA5}">
                      <a16:colId xmlns:a16="http://schemas.microsoft.com/office/drawing/2014/main" val="425130346"/>
                    </a:ext>
                  </a:extLst>
                </a:gridCol>
                <a:gridCol w="601967">
                  <a:extLst>
                    <a:ext uri="{9D8B030D-6E8A-4147-A177-3AD203B41FA5}">
                      <a16:colId xmlns:a16="http://schemas.microsoft.com/office/drawing/2014/main" val="1091415442"/>
                    </a:ext>
                  </a:extLst>
                </a:gridCol>
                <a:gridCol w="601967">
                  <a:extLst>
                    <a:ext uri="{9D8B030D-6E8A-4147-A177-3AD203B41FA5}">
                      <a16:colId xmlns:a16="http://schemas.microsoft.com/office/drawing/2014/main" val="2869642291"/>
                    </a:ext>
                  </a:extLst>
                </a:gridCol>
                <a:gridCol w="601967">
                  <a:extLst>
                    <a:ext uri="{9D8B030D-6E8A-4147-A177-3AD203B41FA5}">
                      <a16:colId xmlns:a16="http://schemas.microsoft.com/office/drawing/2014/main" val="1492483844"/>
                    </a:ext>
                  </a:extLst>
                </a:gridCol>
                <a:gridCol w="601967">
                  <a:extLst>
                    <a:ext uri="{9D8B030D-6E8A-4147-A177-3AD203B41FA5}">
                      <a16:colId xmlns:a16="http://schemas.microsoft.com/office/drawing/2014/main" val="536896032"/>
                    </a:ext>
                  </a:extLst>
                </a:gridCol>
                <a:gridCol w="601967">
                  <a:extLst>
                    <a:ext uri="{9D8B030D-6E8A-4147-A177-3AD203B41FA5}">
                      <a16:colId xmlns:a16="http://schemas.microsoft.com/office/drawing/2014/main" val="2293403703"/>
                    </a:ext>
                  </a:extLst>
                </a:gridCol>
                <a:gridCol w="601967">
                  <a:extLst>
                    <a:ext uri="{9D8B030D-6E8A-4147-A177-3AD203B41FA5}">
                      <a16:colId xmlns:a16="http://schemas.microsoft.com/office/drawing/2014/main" val="2748373219"/>
                    </a:ext>
                  </a:extLst>
                </a:gridCol>
                <a:gridCol w="601967">
                  <a:extLst>
                    <a:ext uri="{9D8B030D-6E8A-4147-A177-3AD203B41FA5}">
                      <a16:colId xmlns:a16="http://schemas.microsoft.com/office/drawing/2014/main" val="316596246"/>
                    </a:ext>
                  </a:extLst>
                </a:gridCol>
                <a:gridCol w="601967">
                  <a:extLst>
                    <a:ext uri="{9D8B030D-6E8A-4147-A177-3AD203B41FA5}">
                      <a16:colId xmlns:a16="http://schemas.microsoft.com/office/drawing/2014/main" val="2656604351"/>
                    </a:ext>
                  </a:extLst>
                </a:gridCol>
              </a:tblGrid>
              <a:tr h="263361">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End Use </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p>
                  </a:txBody>
                  <a:tcPr marL="0" marR="0" marT="0" marB="0" anchor="ctr"/>
                </a:tc>
                <a:extLst>
                  <a:ext uri="{0D108BD9-81ED-4DB2-BD59-A6C34878D82A}">
                    <a16:rowId xmlns:a16="http://schemas.microsoft.com/office/drawing/2014/main" val="4277395723"/>
                  </a:ext>
                </a:extLst>
              </a:tr>
              <a:tr h="263361">
                <a:tc>
                  <a:txBody>
                    <a:bodyPr/>
                    <a:lstStyle/>
                    <a:p>
                      <a:pPr marL="0" algn="l" defTabSz="914400" rtl="0" eaLnBrk="1" fontAlgn="b" latinLnBrk="0" hangingPunct="1"/>
                      <a:r>
                        <a:rPr lang="en-US" sz="1000" b="0"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44</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59</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75</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82</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65</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67</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77</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86</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97</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2.07</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2.19</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3614340383"/>
                  </a:ext>
                </a:extLst>
              </a:tr>
              <a:tr h="26336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i="0" u="none" strike="noStrike" kern="1200" noProof="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Animal Husbandry</a:t>
                      </a: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87</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95</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02</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10</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03</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02</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07</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13</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19</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24</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32</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2094423544"/>
                  </a:ext>
                </a:extLst>
              </a:tr>
              <a:tr h="26336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i="0" u="none" strike="noStrike" kern="1200" noProof="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Healthcare</a:t>
                      </a: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65</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70</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75</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81</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81</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82</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87</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92</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97</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02</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08</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741399779"/>
                  </a:ext>
                </a:extLst>
              </a:tr>
              <a:tr h="263361">
                <a:tc>
                  <a:txBody>
                    <a:bodyPr/>
                    <a:lstStyle/>
                    <a:p>
                      <a:pPr marL="0" algn="l" defTabSz="914400" rtl="0" eaLnBrk="1" fontAlgn="b" latinLnBrk="0" hangingPunct="1"/>
                      <a:r>
                        <a:rPr lang="en-US" sz="1000" b="0"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a:t>
                      </a: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44</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48</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52</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57</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54</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55</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59</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63</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66</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71</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76</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865856288"/>
                  </a:ext>
                </a:extLst>
              </a:tr>
              <a:tr h="238091">
                <a:tc>
                  <a:txBody>
                    <a:bodyPr/>
                    <a:lstStyle/>
                    <a:p>
                      <a:pPr marL="0" algn="l" defTabSz="914400" rtl="0" eaLnBrk="1" fontAlgn="b" latinLnBrk="0" hangingPunct="1"/>
                      <a:r>
                        <a:rPr lang="en-US" sz="1000" b="0"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Chemicals</a:t>
                      </a: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27</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29</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32</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35</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29</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31</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33</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35</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37</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39</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41</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3954528466"/>
                  </a:ext>
                </a:extLst>
              </a:tr>
              <a:tr h="313297">
                <a:tc>
                  <a:txBody>
                    <a:bodyPr/>
                    <a:lstStyle/>
                    <a:p>
                      <a:pPr marL="0" algn="l" defTabSz="914400" rtl="0" eaLnBrk="1" fontAlgn="b" latinLnBrk="0" hangingPunct="1"/>
                      <a:r>
                        <a:rPr lang="en-US" sz="1000" b="0"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Leather and Textiles   </a:t>
                      </a: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20</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22</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22</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24</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21</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21</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23</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24</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25</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27</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28</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587225213"/>
                  </a:ext>
                </a:extLst>
              </a:tr>
              <a:tr h="263361">
                <a:tc>
                  <a:txBody>
                    <a:bodyPr/>
                    <a:lstStyle/>
                    <a:p>
                      <a:pPr marL="0" algn="l" defTabSz="914400" rtl="0" eaLnBrk="1" fontAlgn="b" latinLnBrk="0" hangingPunct="1"/>
                      <a:r>
                        <a:rPr lang="en-US" sz="1000" b="0"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Others</a:t>
                      </a: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50</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47</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47</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54</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53</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54</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56</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58</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61</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63</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65</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1631373380"/>
                  </a:ext>
                </a:extLst>
              </a:tr>
            </a:tbl>
          </a:graphicData>
        </a:graphic>
      </p:graphicFrame>
      <p:sp>
        <p:nvSpPr>
          <p:cNvPr id="12" name="TextBox 11">
            <a:extLst>
              <a:ext uri="{FF2B5EF4-FFF2-40B4-BE49-F238E27FC236}">
                <a16:creationId xmlns:a16="http://schemas.microsoft.com/office/drawing/2014/main" id="{4ED0280A-DB01-484E-BE1F-A07ED7D146CB}"/>
              </a:ext>
            </a:extLst>
          </p:cNvPr>
          <p:cNvSpPr txBox="1"/>
          <p:nvPr/>
        </p:nvSpPr>
        <p:spPr>
          <a:xfrm>
            <a:off x="6135757" y="3731707"/>
            <a:ext cx="2589143"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 name="TextBox 8">
            <a:extLst>
              <a:ext uri="{FF2B5EF4-FFF2-40B4-BE49-F238E27FC236}">
                <a16:creationId xmlns:a16="http://schemas.microsoft.com/office/drawing/2014/main" id="{C394BBF0-8D31-4A52-98F1-1A5BEC56043F}"/>
              </a:ext>
            </a:extLst>
          </p:cNvPr>
          <p:cNvSpPr txBox="1"/>
          <p:nvPr/>
        </p:nvSpPr>
        <p:spPr>
          <a:xfrm>
            <a:off x="6041412" y="6395080"/>
            <a:ext cx="2589143"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23137297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Thailand Trade Dynamics</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3" name="TextBox 2">
            <a:extLst>
              <a:ext uri="{FF2B5EF4-FFF2-40B4-BE49-F238E27FC236}">
                <a16:creationId xmlns:a16="http://schemas.microsoft.com/office/drawing/2014/main" id="{794C340A-1814-458C-B951-A36DE5B0742F}"/>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0: Thailand Copper Sulphate Import</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16-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5" name="Chart 4">
            <a:extLst>
              <a:ext uri="{FF2B5EF4-FFF2-40B4-BE49-F238E27FC236}">
                <a16:creationId xmlns:a16="http://schemas.microsoft.com/office/drawing/2014/main" id="{74BC5EE8-859E-4E5F-AE1A-FEDD45EE9107}"/>
              </a:ext>
            </a:extLst>
          </p:cNvPr>
          <p:cNvGraphicFramePr/>
          <p:nvPr>
            <p:extLst>
              <p:ext uri="{D42A27DB-BD31-4B8C-83A1-F6EECF244321}">
                <p14:modId xmlns:p14="http://schemas.microsoft.com/office/powerpoint/2010/main" val="817905116"/>
              </p:ext>
            </p:extLst>
          </p:nvPr>
        </p:nvGraphicFramePr>
        <p:xfrm>
          <a:off x="222309" y="1329121"/>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17E47EF-C5A1-4800-89D3-CAB8953BE22A}"/>
              </a:ext>
            </a:extLst>
          </p:cNvPr>
          <p:cNvSpPr txBox="1"/>
          <p:nvPr/>
        </p:nvSpPr>
        <p:spPr>
          <a:xfrm>
            <a:off x="6154275" y="310496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8" name="TextBox 13">
            <a:extLst>
              <a:ext uri="{FF2B5EF4-FFF2-40B4-BE49-F238E27FC236}">
                <a16:creationId xmlns:a16="http://schemas.microsoft.com/office/drawing/2014/main" id="{4E8B964E-7F89-4C16-A308-B38A1846CF29}"/>
              </a:ext>
            </a:extLst>
          </p:cNvPr>
          <p:cNvSpPr txBox="1"/>
          <p:nvPr/>
        </p:nvSpPr>
        <p:spPr>
          <a:xfrm>
            <a:off x="214086" y="3581566"/>
            <a:ext cx="4270912" cy="52290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US" sz="1000" b="1" kern="0" dirty="0">
                <a:latin typeface="Verdana" panose="020B0604030504040204" pitchFamily="34" charset="0"/>
                <a:ea typeface="Verdana" panose="020B0604030504040204" pitchFamily="34" charset="0"/>
                <a:cs typeface="Verdana" panose="020B0604030504040204" pitchFamily="34" charset="0"/>
              </a:rPr>
              <a:t>Thailand </a:t>
            </a:r>
            <a:r>
              <a:rPr lang="en-IN" sz="1000" b="1" kern="0" dirty="0">
                <a:latin typeface="Verdana" panose="020B0604030504040204" pitchFamily="34" charset="0"/>
                <a:ea typeface="Verdana" panose="020B0604030504040204" pitchFamily="34" charset="0"/>
                <a:cs typeface="Verdana" panose="020B0604030504040204" pitchFamily="34" charset="0"/>
              </a:rPr>
              <a:t>Agriculture, Forestry, and Fishing, ( USD Billion), 2015-2020</a:t>
            </a:r>
          </a:p>
        </p:txBody>
      </p:sp>
      <p:sp>
        <p:nvSpPr>
          <p:cNvPr id="13" name="TextBox 13">
            <a:extLst>
              <a:ext uri="{FF2B5EF4-FFF2-40B4-BE49-F238E27FC236}">
                <a16:creationId xmlns:a16="http://schemas.microsoft.com/office/drawing/2014/main" id="{22B93B88-584E-4396-8A76-615732453C3B}"/>
              </a:ext>
            </a:extLst>
          </p:cNvPr>
          <p:cNvSpPr txBox="1"/>
          <p:nvPr/>
        </p:nvSpPr>
        <p:spPr>
          <a:xfrm>
            <a:off x="4484998" y="3584814"/>
            <a:ext cx="4270912" cy="52290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IN" sz="1000" b="1" kern="0" dirty="0">
                <a:latin typeface="Verdana" panose="020B0604030504040204" pitchFamily="34" charset="0"/>
                <a:ea typeface="Verdana" panose="020B0604030504040204" pitchFamily="34" charset="0"/>
                <a:cs typeface="Verdana" panose="020B0604030504040204" pitchFamily="34" charset="0"/>
              </a:rPr>
              <a:t> </a:t>
            </a:r>
            <a:r>
              <a:rPr lang="en-US" sz="1000" b="1" kern="0" dirty="0">
                <a:latin typeface="Verdana" panose="020B0604030504040204" pitchFamily="34" charset="0"/>
                <a:ea typeface="Verdana" panose="020B0604030504040204" pitchFamily="34" charset="0"/>
                <a:cs typeface="Verdana" panose="020B0604030504040204" pitchFamily="34" charset="0"/>
              </a:rPr>
              <a:t>Top 4 Exporting Countries to Thailand, By Volume Copper Sulphate, 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Table 14">
            <a:extLst>
              <a:ext uri="{FF2B5EF4-FFF2-40B4-BE49-F238E27FC236}">
                <a16:creationId xmlns:a16="http://schemas.microsoft.com/office/drawing/2014/main" id="{7C46207C-8FD8-461D-B07D-E8A4DC575455}"/>
              </a:ext>
            </a:extLst>
          </p:cNvPr>
          <p:cNvGraphicFramePr>
            <a:graphicFrameLocks noGrp="1"/>
          </p:cNvGraphicFramePr>
          <p:nvPr>
            <p:extLst>
              <p:ext uri="{D42A27DB-BD31-4B8C-83A1-F6EECF244321}">
                <p14:modId xmlns:p14="http://schemas.microsoft.com/office/powerpoint/2010/main" val="2808116269"/>
              </p:ext>
            </p:extLst>
          </p:nvPr>
        </p:nvGraphicFramePr>
        <p:xfrm>
          <a:off x="4605499" y="4322994"/>
          <a:ext cx="3754844" cy="1468073"/>
        </p:xfrm>
        <a:graphic>
          <a:graphicData uri="http://schemas.openxmlformats.org/drawingml/2006/table">
            <a:tbl>
              <a:tblPr>
                <a:tableStyleId>{3B4B98B0-60AC-42C2-AFA5-B58CD77FA1E5}</a:tableStyleId>
              </a:tblPr>
              <a:tblGrid>
                <a:gridCol w="1877422">
                  <a:extLst>
                    <a:ext uri="{9D8B030D-6E8A-4147-A177-3AD203B41FA5}">
                      <a16:colId xmlns:a16="http://schemas.microsoft.com/office/drawing/2014/main" val="435593215"/>
                    </a:ext>
                  </a:extLst>
                </a:gridCol>
                <a:gridCol w="1877422">
                  <a:extLst>
                    <a:ext uri="{9D8B030D-6E8A-4147-A177-3AD203B41FA5}">
                      <a16:colId xmlns:a16="http://schemas.microsoft.com/office/drawing/2014/main" val="2622006846"/>
                    </a:ext>
                  </a:extLst>
                </a:gridCol>
              </a:tblGrid>
              <a:tr h="251797">
                <a:tc>
                  <a:txBody>
                    <a:bodyPr/>
                    <a:lstStyle/>
                    <a:p>
                      <a:pPr algn="l" fontAlgn="ctr"/>
                      <a:r>
                        <a:rPr lang="en-IN" sz="1000" b="1" u="none" strike="noStrike" dirty="0">
                          <a:effectLst/>
                          <a:latin typeface="Verdana" panose="020B0604030504040204" pitchFamily="34" charset="0"/>
                          <a:ea typeface="Verdana" panose="020B0604030504040204" pitchFamily="34" charset="0"/>
                          <a:cs typeface="Verdana" panose="020B0604030504040204" pitchFamily="34" charset="0"/>
                        </a:rPr>
                        <a:t>Countries</a:t>
                      </a:r>
                      <a:endPar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   Volum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98928573"/>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aiwan</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1.4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8077485"/>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Japan</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5286502"/>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Chin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7895310"/>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Indi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0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2825168"/>
                  </a:ext>
                </a:extLst>
              </a:tr>
            </a:tbl>
          </a:graphicData>
        </a:graphic>
      </p:graphicFrame>
      <p:sp>
        <p:nvSpPr>
          <p:cNvPr id="16" name="TextBox 15">
            <a:extLst>
              <a:ext uri="{FF2B5EF4-FFF2-40B4-BE49-F238E27FC236}">
                <a16:creationId xmlns:a16="http://schemas.microsoft.com/office/drawing/2014/main" id="{5494065C-E459-4D86-A71A-C6EF631296F8}"/>
              </a:ext>
            </a:extLst>
          </p:cNvPr>
          <p:cNvSpPr txBox="1"/>
          <p:nvPr/>
        </p:nvSpPr>
        <p:spPr>
          <a:xfrm>
            <a:off x="6006954" y="6316240"/>
            <a:ext cx="2544697"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I</a:t>
            </a:r>
            <a:r>
              <a:rPr lang="en-IN" dirty="0">
                <a:solidFill>
                  <a:prstClr val="white">
                    <a:lumMod val="50000"/>
                  </a:prstClr>
                </a:solidFill>
              </a:rPr>
              <a:t>TC Data</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7" name="Chart 16">
            <a:extLst>
              <a:ext uri="{FF2B5EF4-FFF2-40B4-BE49-F238E27FC236}">
                <a16:creationId xmlns:a16="http://schemas.microsoft.com/office/drawing/2014/main" id="{3A27F49B-269F-449F-BE42-943AA3401581}"/>
              </a:ext>
            </a:extLst>
          </p:cNvPr>
          <p:cNvGraphicFramePr/>
          <p:nvPr>
            <p:extLst>
              <p:ext uri="{D42A27DB-BD31-4B8C-83A1-F6EECF244321}">
                <p14:modId xmlns:p14="http://schemas.microsoft.com/office/powerpoint/2010/main" val="3714460264"/>
              </p:ext>
            </p:extLst>
          </p:nvPr>
        </p:nvGraphicFramePr>
        <p:xfrm>
          <a:off x="245933" y="4454399"/>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Box 17">
            <a:extLst>
              <a:ext uri="{FF2B5EF4-FFF2-40B4-BE49-F238E27FC236}">
                <a16:creationId xmlns:a16="http://schemas.microsoft.com/office/drawing/2014/main" id="{3B1D0D16-2226-4559-9480-8227FE127752}"/>
              </a:ext>
            </a:extLst>
          </p:cNvPr>
          <p:cNvSpPr txBox="1"/>
          <p:nvPr/>
        </p:nvSpPr>
        <p:spPr>
          <a:xfrm>
            <a:off x="2317009"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Tree>
    <p:extLst>
      <p:ext uri="{BB962C8B-B14F-4D97-AF65-F5344CB8AC3E}">
        <p14:creationId xmlns:p14="http://schemas.microsoft.com/office/powerpoint/2010/main" val="244015317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75D31631-046C-49F0-AF4D-23981686B626}"/>
              </a:ext>
            </a:extLst>
          </p:cNvPr>
          <p:cNvGrpSpPr/>
          <p:nvPr/>
        </p:nvGrpSpPr>
        <p:grpSpPr>
          <a:xfrm>
            <a:off x="385816" y="1134502"/>
            <a:ext cx="4158053" cy="378905"/>
            <a:chOff x="222392" y="286"/>
            <a:chExt cx="1828512" cy="1097107"/>
          </a:xfrm>
          <a:scene3d>
            <a:camera prst="orthographicFront">
              <a:rot lat="0" lon="0" rev="0"/>
            </a:camera>
            <a:lightRig rig="balanced" dir="t">
              <a:rot lat="0" lon="0" rev="8700000"/>
            </a:lightRig>
          </a:scene3d>
        </p:grpSpPr>
        <p:sp>
          <p:nvSpPr>
            <p:cNvPr id="30" name="Rectangle 29">
              <a:extLst>
                <a:ext uri="{FF2B5EF4-FFF2-40B4-BE49-F238E27FC236}">
                  <a16:creationId xmlns:a16="http://schemas.microsoft.com/office/drawing/2014/main" id="{BC7B5B2D-2C3E-4817-AC05-8A1077CBC2C2}"/>
                </a:ext>
              </a:extLst>
            </p:cNvPr>
            <p:cNvSpPr/>
            <p:nvPr/>
          </p:nvSpPr>
          <p:spPr>
            <a:xfrm>
              <a:off x="222392" y="286"/>
              <a:ext cx="1828512" cy="1097107"/>
            </a:xfrm>
            <a:prstGeom prst="rect">
              <a:avLst/>
            </a:prstGeom>
            <a:solidFill>
              <a:schemeClr val="tx1">
                <a:lumMod val="50000"/>
                <a:lumOff val="50000"/>
              </a:schemeClr>
            </a:solidFill>
            <a:ln>
              <a:noFill/>
            </a:ln>
            <a:effectLst>
              <a:outerShdw blurRad="44450" dist="27940" dir="5400000" algn="ctr">
                <a:srgbClr val="000000">
                  <a:alpha val="32000"/>
                </a:srgbClr>
              </a:outerShdw>
            </a:effectLst>
            <a:sp3d>
              <a:bevelT w="190500" h="38100"/>
            </a:sp3d>
          </p:spPr>
          <p:style>
            <a:lnRef idx="0">
              <a:schemeClr val="dk2">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2">
                <a:hueOff val="0"/>
                <a:satOff val="0"/>
                <a:lumOff val="0"/>
                <a:alphaOff val="0"/>
              </a:schemeClr>
            </a:fontRef>
          </p:style>
        </p:sp>
        <p:sp>
          <p:nvSpPr>
            <p:cNvPr id="31" name="TextBox 30">
              <a:extLst>
                <a:ext uri="{FF2B5EF4-FFF2-40B4-BE49-F238E27FC236}">
                  <a16:creationId xmlns:a16="http://schemas.microsoft.com/office/drawing/2014/main" id="{1A8A6335-1252-425B-B278-8634D4B2E4D9}"/>
                </a:ext>
              </a:extLst>
            </p:cNvPr>
            <p:cNvSpPr txBox="1"/>
            <p:nvPr/>
          </p:nvSpPr>
          <p:spPr>
            <a:xfrm>
              <a:off x="222392" y="286"/>
              <a:ext cx="1828512" cy="1097107"/>
            </a:xfrm>
            <a:prstGeom prst="rect">
              <a:avLst/>
            </a:prstGeom>
            <a:ln>
              <a:noFill/>
            </a:ln>
            <a:effectLst>
              <a:outerShdw blurRad="44450" dist="27940" dir="5400000" algn="ctr">
                <a:srgbClr val="000000">
                  <a:alpha val="32000"/>
                </a:srgbClr>
              </a:outerShdw>
            </a:effectLst>
            <a:sp3d>
              <a:bevelT w="190500" h="38100"/>
            </a:sp3d>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60960" tIns="60960" rIns="60960" bIns="60960" numCol="1" spcCol="1270" anchor="ctr" anchorCtr="0">
              <a:noAutofit/>
            </a:bodyPr>
            <a:lstStyle/>
            <a:p>
              <a:pPr algn="ctr" defTabSz="711200">
                <a:lnSpc>
                  <a:spcPct val="90000"/>
                </a:lnSpc>
                <a:spcBef>
                  <a:spcPct val="0"/>
                </a:spcBef>
                <a:spcAft>
                  <a:spcPct val="35000"/>
                </a:spcAft>
              </a:pPr>
              <a:r>
                <a:rPr lang="en-IN" sz="1600" b="1" dirty="0">
                  <a:solidFill>
                    <a:schemeClr val="bg1"/>
                  </a:solidFill>
                  <a:latin typeface="Calibri" panose="020F0502020204030204"/>
                </a:rPr>
                <a:t>Leading Companies / Brands in Thailand</a:t>
              </a:r>
            </a:p>
          </p:txBody>
        </p:sp>
      </p:grpSp>
      <p:sp>
        <p:nvSpPr>
          <p:cNvPr id="6" name="Rectangle 5">
            <a:extLst>
              <a:ext uri="{FF2B5EF4-FFF2-40B4-BE49-F238E27FC236}">
                <a16:creationId xmlns:a16="http://schemas.microsoft.com/office/drawing/2014/main" id="{983A0455-0A23-42C1-A471-17813F6F36E5}"/>
              </a:ext>
            </a:extLst>
          </p:cNvPr>
          <p:cNvSpPr/>
          <p:nvPr/>
        </p:nvSpPr>
        <p:spPr>
          <a:xfrm>
            <a:off x="296596" y="914401"/>
            <a:ext cx="4373880" cy="5524501"/>
          </a:xfrm>
          <a:prstGeom prst="rect">
            <a:avLst/>
          </a:prstGeom>
          <a:noFill/>
          <a:ln w="19050">
            <a:solidFill>
              <a:schemeClr val="tx1">
                <a:lumMod val="50000"/>
                <a:lumOff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1" name="Group 10">
            <a:extLst>
              <a:ext uri="{FF2B5EF4-FFF2-40B4-BE49-F238E27FC236}">
                <a16:creationId xmlns:a16="http://schemas.microsoft.com/office/drawing/2014/main" id="{CD160E9B-4116-4FB8-9A71-86555CFBCE8D}"/>
              </a:ext>
            </a:extLst>
          </p:cNvPr>
          <p:cNvGrpSpPr/>
          <p:nvPr/>
        </p:nvGrpSpPr>
        <p:grpSpPr>
          <a:xfrm>
            <a:off x="4937759" y="658441"/>
            <a:ext cx="3384000" cy="1080000"/>
            <a:chOff x="4937759" y="951620"/>
            <a:chExt cx="3505692" cy="1228872"/>
          </a:xfrm>
        </p:grpSpPr>
        <p:sp>
          <p:nvSpPr>
            <p:cNvPr id="8" name="Arrow: Striped Right 7">
              <a:extLst>
                <a:ext uri="{FF2B5EF4-FFF2-40B4-BE49-F238E27FC236}">
                  <a16:creationId xmlns:a16="http://schemas.microsoft.com/office/drawing/2014/main" id="{03F6DBD7-5DC8-421A-855F-8CFD7F059AFB}"/>
                </a:ext>
              </a:extLst>
            </p:cNvPr>
            <p:cNvSpPr/>
            <p:nvPr/>
          </p:nvSpPr>
          <p:spPr>
            <a:xfrm>
              <a:off x="4937759" y="951620"/>
              <a:ext cx="1589650" cy="1228872"/>
            </a:xfrm>
            <a:prstGeom prst="striped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Competition Scenario</a:t>
              </a:r>
            </a:p>
          </p:txBody>
        </p:sp>
        <p:sp>
          <p:nvSpPr>
            <p:cNvPr id="9" name="Flowchart: Display 8">
              <a:extLst>
                <a:ext uri="{FF2B5EF4-FFF2-40B4-BE49-F238E27FC236}">
                  <a16:creationId xmlns:a16="http://schemas.microsoft.com/office/drawing/2014/main" id="{12D1CBAB-D90E-4665-B371-FEE05B7E2145}"/>
                </a:ext>
              </a:extLst>
            </p:cNvPr>
            <p:cNvSpPr/>
            <p:nvPr/>
          </p:nvSpPr>
          <p:spPr>
            <a:xfrm>
              <a:off x="6741260" y="1259732"/>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grpSp>
        <p:nvGrpSpPr>
          <p:cNvPr id="12" name="Group 11">
            <a:extLst>
              <a:ext uri="{FF2B5EF4-FFF2-40B4-BE49-F238E27FC236}">
                <a16:creationId xmlns:a16="http://schemas.microsoft.com/office/drawing/2014/main" id="{4377EFB3-F0E4-49F5-AF73-CB70BF7D9913}"/>
              </a:ext>
            </a:extLst>
          </p:cNvPr>
          <p:cNvGrpSpPr/>
          <p:nvPr/>
        </p:nvGrpSpPr>
        <p:grpSpPr>
          <a:xfrm>
            <a:off x="4937759" y="2552788"/>
            <a:ext cx="3384000" cy="1080000"/>
            <a:chOff x="4937759" y="2856214"/>
            <a:chExt cx="3505692" cy="1228872"/>
          </a:xfrm>
        </p:grpSpPr>
        <p:sp>
          <p:nvSpPr>
            <p:cNvPr id="40" name="Arrow: Striped Right 39">
              <a:extLst>
                <a:ext uri="{FF2B5EF4-FFF2-40B4-BE49-F238E27FC236}">
                  <a16:creationId xmlns:a16="http://schemas.microsoft.com/office/drawing/2014/main" id="{F189F971-2700-4730-B3A4-9E51930D5C5F}"/>
                </a:ext>
              </a:extLst>
            </p:cNvPr>
            <p:cNvSpPr/>
            <p:nvPr/>
          </p:nvSpPr>
          <p:spPr>
            <a:xfrm>
              <a:off x="4937759" y="2856214"/>
              <a:ext cx="1589650" cy="1228872"/>
            </a:xfrm>
            <a:prstGeom prst="striped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Growth Prospects</a:t>
              </a:r>
            </a:p>
          </p:txBody>
        </p:sp>
        <p:sp>
          <p:nvSpPr>
            <p:cNvPr id="43" name="Flowchart: Display 42">
              <a:extLst>
                <a:ext uri="{FF2B5EF4-FFF2-40B4-BE49-F238E27FC236}">
                  <a16:creationId xmlns:a16="http://schemas.microsoft.com/office/drawing/2014/main" id="{31216467-3064-4594-A767-982E4397E2A3}"/>
                </a:ext>
              </a:extLst>
            </p:cNvPr>
            <p:cNvSpPr/>
            <p:nvPr/>
          </p:nvSpPr>
          <p:spPr>
            <a:xfrm>
              <a:off x="6741260" y="3145241"/>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grpSp>
        <p:nvGrpSpPr>
          <p:cNvPr id="21" name="Group 20">
            <a:extLst>
              <a:ext uri="{FF2B5EF4-FFF2-40B4-BE49-F238E27FC236}">
                <a16:creationId xmlns:a16="http://schemas.microsoft.com/office/drawing/2014/main" id="{5EB35027-976B-49DF-AD91-E37705947DC0}"/>
              </a:ext>
            </a:extLst>
          </p:cNvPr>
          <p:cNvGrpSpPr/>
          <p:nvPr/>
        </p:nvGrpSpPr>
        <p:grpSpPr>
          <a:xfrm>
            <a:off x="5096785" y="4665593"/>
            <a:ext cx="3384000" cy="1080000"/>
            <a:chOff x="4937759" y="4831145"/>
            <a:chExt cx="3505692" cy="1228872"/>
          </a:xfrm>
        </p:grpSpPr>
        <p:sp>
          <p:nvSpPr>
            <p:cNvPr id="41" name="Arrow: Striped Right 40">
              <a:extLst>
                <a:ext uri="{FF2B5EF4-FFF2-40B4-BE49-F238E27FC236}">
                  <a16:creationId xmlns:a16="http://schemas.microsoft.com/office/drawing/2014/main" id="{60E22D3C-00A0-4FF3-B3D8-642E45B8FCA4}"/>
                </a:ext>
              </a:extLst>
            </p:cNvPr>
            <p:cNvSpPr/>
            <p:nvPr/>
          </p:nvSpPr>
          <p:spPr>
            <a:xfrm>
              <a:off x="4937759" y="4831145"/>
              <a:ext cx="1589650" cy="1228872"/>
            </a:xfrm>
            <a:prstGeom prst="striped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Outlook</a:t>
              </a:r>
            </a:p>
          </p:txBody>
        </p:sp>
        <p:sp>
          <p:nvSpPr>
            <p:cNvPr id="44" name="Flowchart: Display 43">
              <a:extLst>
                <a:ext uri="{FF2B5EF4-FFF2-40B4-BE49-F238E27FC236}">
                  <a16:creationId xmlns:a16="http://schemas.microsoft.com/office/drawing/2014/main" id="{DF621444-198A-4395-A3D5-87383E1A01F4}"/>
                </a:ext>
              </a:extLst>
            </p:cNvPr>
            <p:cNvSpPr/>
            <p:nvPr/>
          </p:nvSpPr>
          <p:spPr>
            <a:xfrm>
              <a:off x="6741260" y="5139257"/>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sp>
        <p:nvSpPr>
          <p:cNvPr id="10" name="Rectangle 9">
            <a:extLst>
              <a:ext uri="{FF2B5EF4-FFF2-40B4-BE49-F238E27FC236}">
                <a16:creationId xmlns:a16="http://schemas.microsoft.com/office/drawing/2014/main" id="{8BD34E69-CF39-424D-9DE9-2F73E555B95A}"/>
              </a:ext>
            </a:extLst>
          </p:cNvPr>
          <p:cNvSpPr/>
          <p:nvPr/>
        </p:nvSpPr>
        <p:spPr>
          <a:xfrm>
            <a:off x="4911255" y="1684711"/>
            <a:ext cx="3782171" cy="996107"/>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The competition for copper sulphate in Thailand among producers is on the higher side. JL </a:t>
            </a:r>
            <a:r>
              <a:rPr lang="en-US" sz="10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hemtonic</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Co. Ltd is one of the largest producers in Thailand and has the capacity to produce more than 50% of the country’s demand.</a:t>
            </a:r>
          </a:p>
        </p:txBody>
      </p:sp>
      <p:sp>
        <p:nvSpPr>
          <p:cNvPr id="46" name="Rectangle 45">
            <a:extLst>
              <a:ext uri="{FF2B5EF4-FFF2-40B4-BE49-F238E27FC236}">
                <a16:creationId xmlns:a16="http://schemas.microsoft.com/office/drawing/2014/main" id="{9C10E17B-1F3D-427B-8DCC-335C7785DD5F}"/>
              </a:ext>
            </a:extLst>
          </p:cNvPr>
          <p:cNvSpPr/>
          <p:nvPr/>
        </p:nvSpPr>
        <p:spPr>
          <a:xfrm>
            <a:off x="4924505" y="3652578"/>
            <a:ext cx="4007460" cy="996107"/>
          </a:xfrm>
          <a:prstGeom prst="rect">
            <a:avLst/>
          </a:prstGeom>
        </p:spPr>
        <p:txBody>
          <a:bodyPr wrap="square">
            <a:spAutoFit/>
          </a:bodyPr>
          <a:lstStyle/>
          <a:p>
            <a:pPr algn="just">
              <a:lnSpc>
                <a:spcPct val="120000"/>
              </a:lnSpc>
              <a:spcBef>
                <a:spcPts val="400"/>
              </a:spcBef>
              <a:spcAft>
                <a:spcPts val="400"/>
              </a:spcAft>
            </a:pPr>
            <a:r>
              <a:rPr lang="en-IN"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The Copper sulphate market in Thailand is expected to rise due to increasing demand from export market of fertilizers from Indonesia, Philippines and Vietnam. The rising demand for high quality products in animal feed and fertilizer applications are expected to propel the market. </a:t>
            </a:r>
            <a:endPar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0" name="Rectangle 49">
            <a:extLst>
              <a:ext uri="{FF2B5EF4-FFF2-40B4-BE49-F238E27FC236}">
                <a16:creationId xmlns:a16="http://schemas.microsoft.com/office/drawing/2014/main" id="{C2530AFD-4B7D-4A00-9782-D6D451550390}"/>
              </a:ext>
            </a:extLst>
          </p:cNvPr>
          <p:cNvSpPr/>
          <p:nvPr/>
        </p:nvSpPr>
        <p:spPr>
          <a:xfrm>
            <a:off x="4925148" y="5666080"/>
            <a:ext cx="4006817" cy="996107"/>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Thailand is one of the major exporters of Copper Sulphate. The company exports around three times of its domestic demand of Copper Sulphate. Growing technological innovations to increase the quality of final grade are expected to propel the market during the forecast year.</a:t>
            </a:r>
          </a:p>
        </p:txBody>
      </p:sp>
      <p:sp>
        <p:nvSpPr>
          <p:cNvPr id="25" name="Title 1">
            <a:extLst>
              <a:ext uri="{FF2B5EF4-FFF2-40B4-BE49-F238E27FC236}">
                <a16:creationId xmlns:a16="http://schemas.microsoft.com/office/drawing/2014/main" id="{F6F4C119-0EA0-4DC7-BC95-465085749DF1}"/>
              </a:ext>
            </a:extLst>
          </p:cNvPr>
          <p:cNvSpPr txBox="1">
            <a:spLocks/>
          </p:cNvSpPr>
          <p:nvPr/>
        </p:nvSpPr>
        <p:spPr>
          <a:xfrm>
            <a:off x="42204" y="164731"/>
            <a:ext cx="3751028" cy="301814"/>
          </a:xfrm>
          <a:prstGeom prst="rect">
            <a:avLst/>
          </a:prstGeom>
          <a:noFill/>
        </p:spPr>
        <p:txBody>
          <a:bodyPr vert="horz" wrap="square" lIns="91440" tIns="45720" rIns="91440" bIns="45720" rtlCol="0" anchor="ctr">
            <a:spAutoFit/>
          </a:bodyPr>
          <a:lstStyle>
            <a:defPPr>
              <a:defRPr lang="en-US"/>
            </a:defPPr>
            <a:lvl1pPr marR="0" lvl="0" indent="0" defTabSz="45720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 Competition Outlook in Thailand</a:t>
            </a:r>
          </a:p>
        </p:txBody>
      </p:sp>
      <p:pic>
        <p:nvPicPr>
          <p:cNvPr id="3" name="Picture 2">
            <a:extLst>
              <a:ext uri="{FF2B5EF4-FFF2-40B4-BE49-F238E27FC236}">
                <a16:creationId xmlns:a16="http://schemas.microsoft.com/office/drawing/2014/main" id="{2A8FDD65-6BF5-4226-AB21-333D0BB4D8DF}"/>
              </a:ext>
            </a:extLst>
          </p:cNvPr>
          <p:cNvPicPr>
            <a:picLocks noChangeAspect="1"/>
          </p:cNvPicPr>
          <p:nvPr/>
        </p:nvPicPr>
        <p:blipFill>
          <a:blip r:embed="rId2"/>
          <a:stretch>
            <a:fillRect/>
          </a:stretch>
        </p:blipFill>
        <p:spPr>
          <a:xfrm>
            <a:off x="504970" y="3070342"/>
            <a:ext cx="1939120" cy="802871"/>
          </a:xfrm>
          <a:prstGeom prst="rect">
            <a:avLst/>
          </a:prstGeom>
        </p:spPr>
      </p:pic>
      <p:pic>
        <p:nvPicPr>
          <p:cNvPr id="13" name="Picture 12">
            <a:extLst>
              <a:ext uri="{FF2B5EF4-FFF2-40B4-BE49-F238E27FC236}">
                <a16:creationId xmlns:a16="http://schemas.microsoft.com/office/drawing/2014/main" id="{2442D994-7615-47F9-94B0-6BB74798F377}"/>
              </a:ext>
            </a:extLst>
          </p:cNvPr>
          <p:cNvPicPr>
            <a:picLocks noChangeAspect="1"/>
          </p:cNvPicPr>
          <p:nvPr/>
        </p:nvPicPr>
        <p:blipFill>
          <a:blip r:embed="rId3"/>
          <a:stretch>
            <a:fillRect/>
          </a:stretch>
        </p:blipFill>
        <p:spPr>
          <a:xfrm>
            <a:off x="1366583" y="4518640"/>
            <a:ext cx="1939120" cy="495300"/>
          </a:xfrm>
          <a:prstGeom prst="rect">
            <a:avLst/>
          </a:prstGeom>
        </p:spPr>
      </p:pic>
      <p:pic>
        <p:nvPicPr>
          <p:cNvPr id="17" name="Picture 16">
            <a:extLst>
              <a:ext uri="{FF2B5EF4-FFF2-40B4-BE49-F238E27FC236}">
                <a16:creationId xmlns:a16="http://schemas.microsoft.com/office/drawing/2014/main" id="{023A6B1D-4CDF-446A-990A-D41346740DF5}"/>
              </a:ext>
            </a:extLst>
          </p:cNvPr>
          <p:cNvPicPr>
            <a:picLocks noChangeAspect="1"/>
          </p:cNvPicPr>
          <p:nvPr/>
        </p:nvPicPr>
        <p:blipFill>
          <a:blip r:embed="rId4"/>
          <a:stretch>
            <a:fillRect/>
          </a:stretch>
        </p:blipFill>
        <p:spPr>
          <a:xfrm>
            <a:off x="2718161" y="1721597"/>
            <a:ext cx="1800830" cy="881435"/>
          </a:xfrm>
          <a:prstGeom prst="rect">
            <a:avLst/>
          </a:prstGeom>
        </p:spPr>
      </p:pic>
      <p:pic>
        <p:nvPicPr>
          <p:cNvPr id="20" name="Picture 19">
            <a:extLst>
              <a:ext uri="{FF2B5EF4-FFF2-40B4-BE49-F238E27FC236}">
                <a16:creationId xmlns:a16="http://schemas.microsoft.com/office/drawing/2014/main" id="{CB409F4D-C1D5-4CD1-9C97-73ED1CE214A7}"/>
              </a:ext>
            </a:extLst>
          </p:cNvPr>
          <p:cNvPicPr>
            <a:picLocks noChangeAspect="1"/>
          </p:cNvPicPr>
          <p:nvPr/>
        </p:nvPicPr>
        <p:blipFill>
          <a:blip r:embed="rId5"/>
          <a:stretch>
            <a:fillRect/>
          </a:stretch>
        </p:blipFill>
        <p:spPr>
          <a:xfrm>
            <a:off x="643260" y="1618997"/>
            <a:ext cx="1800830" cy="984035"/>
          </a:xfrm>
          <a:prstGeom prst="rect">
            <a:avLst/>
          </a:prstGeom>
        </p:spPr>
      </p:pic>
      <p:pic>
        <p:nvPicPr>
          <p:cNvPr id="4" name="Picture 3">
            <a:extLst>
              <a:ext uri="{FF2B5EF4-FFF2-40B4-BE49-F238E27FC236}">
                <a16:creationId xmlns:a16="http://schemas.microsoft.com/office/drawing/2014/main" id="{0E279901-BE68-49B3-A5CC-95B1345B078C}"/>
              </a:ext>
            </a:extLst>
          </p:cNvPr>
          <p:cNvPicPr>
            <a:picLocks noChangeAspect="1"/>
          </p:cNvPicPr>
          <p:nvPr/>
        </p:nvPicPr>
        <p:blipFill>
          <a:blip r:embed="rId6"/>
          <a:stretch>
            <a:fillRect/>
          </a:stretch>
        </p:blipFill>
        <p:spPr>
          <a:xfrm>
            <a:off x="3021495" y="3054988"/>
            <a:ext cx="1311965" cy="809625"/>
          </a:xfrm>
          <a:prstGeom prst="rect">
            <a:avLst/>
          </a:prstGeom>
        </p:spPr>
      </p:pic>
      <p:pic>
        <p:nvPicPr>
          <p:cNvPr id="15" name="Picture 14">
            <a:extLst>
              <a:ext uri="{FF2B5EF4-FFF2-40B4-BE49-F238E27FC236}">
                <a16:creationId xmlns:a16="http://schemas.microsoft.com/office/drawing/2014/main" id="{ECBAB967-F70E-425E-A219-1EF9E2EE1336}"/>
              </a:ext>
            </a:extLst>
          </p:cNvPr>
          <p:cNvPicPr>
            <a:picLocks noChangeAspect="1"/>
          </p:cNvPicPr>
          <p:nvPr/>
        </p:nvPicPr>
        <p:blipFill>
          <a:blip r:embed="rId7"/>
          <a:stretch>
            <a:fillRect/>
          </a:stretch>
        </p:blipFill>
        <p:spPr>
          <a:xfrm>
            <a:off x="1366583" y="5362753"/>
            <a:ext cx="2317521" cy="771525"/>
          </a:xfrm>
          <a:prstGeom prst="rect">
            <a:avLst/>
          </a:prstGeom>
        </p:spPr>
      </p:pic>
    </p:spTree>
    <p:extLst>
      <p:ext uri="{BB962C8B-B14F-4D97-AF65-F5344CB8AC3E}">
        <p14:creationId xmlns:p14="http://schemas.microsoft.com/office/powerpoint/2010/main" val="324444116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6B1D01B8-32F7-47CA-AEE2-F21C067B30D7}"/>
              </a:ext>
            </a:extLst>
          </p:cNvPr>
          <p:cNvSpPr/>
          <p:nvPr/>
        </p:nvSpPr>
        <p:spPr>
          <a:xfrm>
            <a:off x="0" y="754379"/>
            <a:ext cx="6032500" cy="1083212"/>
          </a:xfrm>
          <a:custGeom>
            <a:avLst/>
            <a:gdLst>
              <a:gd name="connsiteX0" fmla="*/ 0 w 6032500"/>
              <a:gd name="connsiteY0" fmla="*/ 0 h 1083212"/>
              <a:gd name="connsiteX1" fmla="*/ 6032500 w 6032500"/>
              <a:gd name="connsiteY1" fmla="*/ 0 h 1083212"/>
              <a:gd name="connsiteX2" fmla="*/ 6032500 w 6032500"/>
              <a:gd name="connsiteY2" fmla="*/ 1083212 h 1083212"/>
              <a:gd name="connsiteX3" fmla="*/ 0 w 6032500"/>
              <a:gd name="connsiteY3" fmla="*/ 1083212 h 1083212"/>
              <a:gd name="connsiteX4" fmla="*/ 0 w 6032500"/>
              <a:gd name="connsiteY4" fmla="*/ 0 h 1083212"/>
              <a:gd name="connsiteX0" fmla="*/ 0 w 6032500"/>
              <a:gd name="connsiteY0" fmla="*/ 0 h 1083212"/>
              <a:gd name="connsiteX1" fmla="*/ 6032500 w 6032500"/>
              <a:gd name="connsiteY1" fmla="*/ 0 h 1083212"/>
              <a:gd name="connsiteX2" fmla="*/ 5526063 w 6032500"/>
              <a:gd name="connsiteY2" fmla="*/ 1083212 h 1083212"/>
              <a:gd name="connsiteX3" fmla="*/ 0 w 6032500"/>
              <a:gd name="connsiteY3" fmla="*/ 1083212 h 1083212"/>
              <a:gd name="connsiteX4" fmla="*/ 0 w 6032500"/>
              <a:gd name="connsiteY4" fmla="*/ 0 h 108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0" h="1083212">
                <a:moveTo>
                  <a:pt x="0" y="0"/>
                </a:moveTo>
                <a:lnTo>
                  <a:pt x="6032500" y="0"/>
                </a:lnTo>
                <a:lnTo>
                  <a:pt x="5526063" y="1083212"/>
                </a:lnTo>
                <a:lnTo>
                  <a:pt x="0" y="1083212"/>
                </a:lnTo>
                <a:lnTo>
                  <a:pt x="0" y="0"/>
                </a:lnTo>
                <a:close/>
              </a:path>
            </a:pathLst>
          </a:custGeom>
          <a:solidFill>
            <a:sysClr val="window" lastClr="FFFFFF"/>
          </a:solidFill>
          <a:ln w="12700" cap="flat" cmpd="sng" algn="ctr">
            <a:noFill/>
            <a:prstDash val="solid"/>
            <a:miter lim="800000"/>
          </a:ln>
          <a:effectLst>
            <a:innerShdw blurRad="76200" dist="76200" dir="18900000">
              <a:prstClr val="black">
                <a:alpha val="46000"/>
              </a:prstClr>
            </a:innerShdw>
          </a:effectLst>
        </p:spPr>
        <p:txBody>
          <a:bodyPr rtlCol="0" anchor="ctr"/>
          <a:lstStyle/>
          <a:p>
            <a:pPr marL="0" lvl="1">
              <a:defRPr/>
            </a:pPr>
            <a:r>
              <a:rPr lang="en-IN" sz="2400" b="1" dirty="0">
                <a:solidFill>
                  <a:prstClr val="black"/>
                </a:solidFill>
                <a:latin typeface="Arial" panose="020B0604020202020204" pitchFamily="34" charset="0"/>
                <a:cs typeface="Arial" panose="020B0604020202020204" pitchFamily="34" charset="0"/>
              </a:rPr>
              <a:t>Malaysia Copper Sulphate Market Outlook</a:t>
            </a:r>
            <a:endParaRPr kumimoji="0" lang="en-US"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p:txBody>
      </p:sp>
      <p:pic>
        <p:nvPicPr>
          <p:cNvPr id="5122" name="Picture 2" descr="Image result for Indonesia flag">
            <a:extLst>
              <a:ext uri="{FF2B5EF4-FFF2-40B4-BE49-F238E27FC236}">
                <a16:creationId xmlns:a16="http://schemas.microsoft.com/office/drawing/2014/main" id="{9A378D46-EA87-47AF-987A-9067AF43F352}"/>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956859"/>
            <a:ext cx="8892000" cy="4345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26715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6D56440-7BB6-4355-9CC6-D51E1E67FF63}"/>
              </a:ext>
            </a:extLst>
          </p:cNvPr>
          <p:cNvSpPr txBox="1"/>
          <p:nvPr/>
        </p:nvSpPr>
        <p:spPr>
          <a:xfrm>
            <a:off x="214086" y="969726"/>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1: Malay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alue, (USD Million), 2016-2026F</a:t>
            </a:r>
          </a:p>
        </p:txBody>
      </p:sp>
      <p:graphicFrame>
        <p:nvGraphicFramePr>
          <p:cNvPr id="8" name="Chart 7">
            <a:extLst>
              <a:ext uri="{FF2B5EF4-FFF2-40B4-BE49-F238E27FC236}">
                <a16:creationId xmlns:a16="http://schemas.microsoft.com/office/drawing/2014/main" id="{A26F37D2-0FE5-434C-BED8-194559B16CDB}"/>
              </a:ext>
            </a:extLst>
          </p:cNvPr>
          <p:cNvGraphicFramePr/>
          <p:nvPr/>
        </p:nvGraphicFramePr>
        <p:xfrm>
          <a:off x="222309" y="1645643"/>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Malay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alue</a:t>
            </a:r>
            <a:endParaRPr kumimoji="0" lang="en-IN" sz="1400" b="1" i="0" u="none" strike="noStrike" kern="1200" cap="none" spc="0" normalizeH="0" baseline="0" noProof="0" dirty="0">
              <a:ln>
                <a:noFill/>
              </a:ln>
              <a:solidFill>
                <a:srgbClr val="FF0000"/>
              </a:solidFill>
              <a:effectLst/>
              <a:uLnTx/>
              <a:uFillTx/>
              <a:latin typeface="Arial" panose="020B0604020202020204" pitchFamily="34" charset="0"/>
              <a:ea typeface="+mj-ea"/>
              <a:cs typeface="Arial" panose="020B0604020202020204" pitchFamily="34" charset="0"/>
            </a:endParaRPr>
          </a:p>
        </p:txBody>
      </p:sp>
      <p:grpSp>
        <p:nvGrpSpPr>
          <p:cNvPr id="37" name="Group 36">
            <a:extLst>
              <a:ext uri="{FF2B5EF4-FFF2-40B4-BE49-F238E27FC236}">
                <a16:creationId xmlns:a16="http://schemas.microsoft.com/office/drawing/2014/main" id="{6386A73A-847E-4130-81BE-863495E3ED04}"/>
              </a:ext>
            </a:extLst>
          </p:cNvPr>
          <p:cNvGrpSpPr/>
          <p:nvPr/>
        </p:nvGrpSpPr>
        <p:grpSpPr>
          <a:xfrm>
            <a:off x="4356406" y="1285936"/>
            <a:ext cx="3753924" cy="516701"/>
            <a:chOff x="4524751" y="1404135"/>
            <a:chExt cx="3555640" cy="516701"/>
          </a:xfrm>
        </p:grpSpPr>
        <p:cxnSp>
          <p:nvCxnSpPr>
            <p:cNvPr id="38" name="Connector: Elbow 37">
              <a:extLst>
                <a:ext uri="{FF2B5EF4-FFF2-40B4-BE49-F238E27FC236}">
                  <a16:creationId xmlns:a16="http://schemas.microsoft.com/office/drawing/2014/main" id="{B81336F6-D7FE-4B7B-AED9-0CBC6E848C33}"/>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5549B13E-9C53-4126-B55B-A344435365DF}"/>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5.61%</a:t>
              </a:r>
              <a:endPar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17" name="Group 16">
            <a:extLst>
              <a:ext uri="{FF2B5EF4-FFF2-40B4-BE49-F238E27FC236}">
                <a16:creationId xmlns:a16="http://schemas.microsoft.com/office/drawing/2014/main" id="{2F515B5B-3EE0-42B7-8BCE-353FD362EF1C}"/>
              </a:ext>
            </a:extLst>
          </p:cNvPr>
          <p:cNvGrpSpPr/>
          <p:nvPr/>
        </p:nvGrpSpPr>
        <p:grpSpPr>
          <a:xfrm>
            <a:off x="543338" y="1285936"/>
            <a:ext cx="3184509" cy="516701"/>
            <a:chOff x="4524751" y="1404135"/>
            <a:chExt cx="3302533" cy="516701"/>
          </a:xfrm>
        </p:grpSpPr>
        <p:cxnSp>
          <p:nvCxnSpPr>
            <p:cNvPr id="18" name="Connector: Elbow 17">
              <a:extLst>
                <a:ext uri="{FF2B5EF4-FFF2-40B4-BE49-F238E27FC236}">
                  <a16:creationId xmlns:a16="http://schemas.microsoft.com/office/drawing/2014/main" id="{C428651D-8F06-4BA0-87B1-94DBEBF0A9ED}"/>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C5E4E871-8419-4F85-9872-9FF7D1AA6DD1}"/>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3.92</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28" name="TextBox 27">
            <a:extLst>
              <a:ext uri="{FF2B5EF4-FFF2-40B4-BE49-F238E27FC236}">
                <a16:creationId xmlns:a16="http://schemas.microsoft.com/office/drawing/2014/main" id="{6461C85D-C858-4E7D-9484-A312A0BDDB32}"/>
              </a:ext>
            </a:extLst>
          </p:cNvPr>
          <p:cNvSpPr txBox="1"/>
          <p:nvPr/>
        </p:nvSpPr>
        <p:spPr>
          <a:xfrm>
            <a:off x="6546976" y="372287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4" name="Chart 13">
            <a:extLst>
              <a:ext uri="{FF2B5EF4-FFF2-40B4-BE49-F238E27FC236}">
                <a16:creationId xmlns:a16="http://schemas.microsoft.com/office/drawing/2014/main" id="{5E28FF65-25F3-4EC6-856E-BCDB0D58F2D6}"/>
              </a:ext>
            </a:extLst>
          </p:cNvPr>
          <p:cNvGraphicFramePr/>
          <p:nvPr>
            <p:extLst>
              <p:ext uri="{D42A27DB-BD31-4B8C-83A1-F6EECF244321}">
                <p14:modId xmlns:p14="http://schemas.microsoft.com/office/powerpoint/2010/main" val="2739640375"/>
              </p:ext>
            </p:extLst>
          </p:nvPr>
        </p:nvGraphicFramePr>
        <p:xfrm>
          <a:off x="4931863" y="4139564"/>
          <a:ext cx="3629526" cy="1874086"/>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9D694EB3-B5A6-48B8-B802-8A50C37AA176}"/>
              </a:ext>
            </a:extLst>
          </p:cNvPr>
          <p:cNvSpPr txBox="1"/>
          <p:nvPr/>
        </p:nvSpPr>
        <p:spPr>
          <a:xfrm>
            <a:off x="4926502" y="3853436"/>
            <a:ext cx="4578626" cy="292068"/>
          </a:xfrm>
          <a:prstGeom prst="rect">
            <a:avLst/>
          </a:prstGeom>
          <a:noFill/>
        </p:spPr>
        <p:txBody>
          <a:bodyPr wrap="square">
            <a:spAutoFit/>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alaysia Real GDP Growth, 2015-2020 (%)</a:t>
            </a:r>
          </a:p>
        </p:txBody>
      </p:sp>
      <p:sp>
        <p:nvSpPr>
          <p:cNvPr id="23" name="TextBox 22">
            <a:extLst>
              <a:ext uri="{FF2B5EF4-FFF2-40B4-BE49-F238E27FC236}">
                <a16:creationId xmlns:a16="http://schemas.microsoft.com/office/drawing/2014/main" id="{BB7EBA8A-27CD-4FA3-BFC2-B33258BBEA3D}"/>
              </a:ext>
            </a:extLst>
          </p:cNvPr>
          <p:cNvSpPr txBox="1"/>
          <p:nvPr/>
        </p:nvSpPr>
        <p:spPr>
          <a:xfrm>
            <a:off x="6546976" y="6284061"/>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24" name="Subtitle 2">
            <a:extLst>
              <a:ext uri="{FF2B5EF4-FFF2-40B4-BE49-F238E27FC236}">
                <a16:creationId xmlns:a16="http://schemas.microsoft.com/office/drawing/2014/main" id="{3477C67A-CBA4-4F9B-A100-D62510B17DC0}"/>
              </a:ext>
            </a:extLst>
          </p:cNvPr>
          <p:cNvSpPr txBox="1">
            <a:spLocks/>
          </p:cNvSpPr>
          <p:nvPr/>
        </p:nvSpPr>
        <p:spPr>
          <a:xfrm>
            <a:off x="291295" y="3839383"/>
            <a:ext cx="4280705" cy="2552400"/>
          </a:xfrm>
          <a:prstGeom prst="rect">
            <a:avLst/>
          </a:prstGeom>
        </p:spPr>
        <p:style>
          <a:lnRef idx="1">
            <a:schemeClr val="accent6"/>
          </a:lnRef>
          <a:fillRef idx="2">
            <a:schemeClr val="accent6"/>
          </a:fillRef>
          <a:effectRef idx="1">
            <a:schemeClr val="accent6"/>
          </a:effectRef>
          <a:fontRef idx="minor">
            <a:schemeClr val="dk1"/>
          </a:fontRef>
        </p:style>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Malaysia copper sulphate market stood at USD21.84 Million in 2020 and is anticipated to reach USD30.24 Million at a healthy CAGR of 5.61% in 2026F. The increasing demand from industrial sector is stimulating the market for copper sulphate in the country.</a:t>
            </a:r>
          </a:p>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Additionally, the constant demand from the agriculture sector, where it is used as a fungicide, pesticide or herbicide, contributes to the rising market for copper sulphate in the country. The increasing healthcare sector also boosts the demand for the chemical.</a:t>
            </a:r>
            <a:endParaRPr lang="en-US" sz="1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2103641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152400" y="193795"/>
            <a:ext cx="7863840" cy="457200"/>
          </a:xfrm>
          <a:prstGeom prst="rect">
            <a:avLst/>
          </a:prstGeom>
        </p:spPr>
        <p:txBody>
          <a:bodyPr>
            <a:normAutofit/>
          </a:bodyPr>
          <a:lstStyle/>
          <a:p>
            <a:pPr marL="0" indent="0">
              <a:buNone/>
            </a:pPr>
            <a:r>
              <a:rPr lang="en-US" sz="1600" b="1" spc="0" dirty="0">
                <a:solidFill>
                  <a:schemeClr val="tx1">
                    <a:lumMod val="85000"/>
                    <a:lumOff val="15000"/>
                  </a:schemeClr>
                </a:solidFill>
                <a:latin typeface="Montserrat" panose="02000505000000020004" pitchFamily="2" charset="0"/>
              </a:rPr>
              <a:t>Table of Contents : Additional Customization</a:t>
            </a:r>
          </a:p>
        </p:txBody>
      </p:sp>
      <p:graphicFrame>
        <p:nvGraphicFramePr>
          <p:cNvPr id="6" name="Table 5">
            <a:extLst>
              <a:ext uri="{FF2B5EF4-FFF2-40B4-BE49-F238E27FC236}">
                <a16:creationId xmlns:a16="http://schemas.microsoft.com/office/drawing/2014/main" id="{B447EB88-FF2A-4CEF-92A1-1C1B5802DE79}"/>
              </a:ext>
            </a:extLst>
          </p:cNvPr>
          <p:cNvGraphicFramePr>
            <a:graphicFrameLocks noGrp="1"/>
          </p:cNvGraphicFramePr>
          <p:nvPr>
            <p:extLst>
              <p:ext uri="{D42A27DB-BD31-4B8C-83A1-F6EECF244321}">
                <p14:modId xmlns:p14="http://schemas.microsoft.com/office/powerpoint/2010/main" val="2353464391"/>
              </p:ext>
            </p:extLst>
          </p:nvPr>
        </p:nvGraphicFramePr>
        <p:xfrm>
          <a:off x="152400" y="769424"/>
          <a:ext cx="8518076" cy="2298769"/>
        </p:xfrm>
        <a:graphic>
          <a:graphicData uri="http://schemas.openxmlformats.org/drawingml/2006/table">
            <a:tbl>
              <a:tblPr firstRow="1" bandRow="1">
                <a:tableStyleId>{5C22544A-7EE6-4342-B048-85BDC9FD1C3A}</a:tableStyleId>
              </a:tblPr>
              <a:tblGrid>
                <a:gridCol w="660400">
                  <a:extLst>
                    <a:ext uri="{9D8B030D-6E8A-4147-A177-3AD203B41FA5}">
                      <a16:colId xmlns:a16="http://schemas.microsoft.com/office/drawing/2014/main" val="20000"/>
                    </a:ext>
                  </a:extLst>
                </a:gridCol>
                <a:gridCol w="837798">
                  <a:extLst>
                    <a:ext uri="{9D8B030D-6E8A-4147-A177-3AD203B41FA5}">
                      <a16:colId xmlns:a16="http://schemas.microsoft.com/office/drawing/2014/main" val="20001"/>
                    </a:ext>
                  </a:extLst>
                </a:gridCol>
                <a:gridCol w="5969403">
                  <a:extLst>
                    <a:ext uri="{9D8B030D-6E8A-4147-A177-3AD203B41FA5}">
                      <a16:colId xmlns:a16="http://schemas.microsoft.com/office/drawing/2014/main" val="20002"/>
                    </a:ext>
                  </a:extLst>
                </a:gridCol>
                <a:gridCol w="1050475">
                  <a:extLst>
                    <a:ext uri="{9D8B030D-6E8A-4147-A177-3AD203B41FA5}">
                      <a16:colId xmlns:a16="http://schemas.microsoft.com/office/drawing/2014/main" val="3165443865"/>
                    </a:ext>
                  </a:extLst>
                </a:gridCol>
              </a:tblGrid>
              <a:tr h="163686">
                <a:tc>
                  <a:txBody>
                    <a:bodyPr/>
                    <a:lstStyle/>
                    <a:p>
                      <a:pPr algn="ctr">
                        <a:lnSpc>
                          <a:spcPts val="6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S. No.</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gridSpan="2">
                  <a:txBody>
                    <a:bodyPr/>
                    <a:lstStyle/>
                    <a:p>
                      <a:pPr algn="ctr">
                        <a:lnSpc>
                          <a:spcPts val="600"/>
                        </a:lnSpc>
                      </a:pPr>
                      <a:r>
                        <a:rPr lang="en-IN" sz="900" dirty="0">
                          <a:solidFill>
                            <a:schemeClr val="tx1"/>
                          </a:solidFill>
                          <a:latin typeface="Verdana" panose="020B0604030504040204" pitchFamily="34" charset="0"/>
                          <a:ea typeface="Verdana" panose="020B0604030504040204" pitchFamily="34" charset="0"/>
                          <a:cs typeface="Verdana" panose="020B0604030504040204" pitchFamily="34" charset="0"/>
                        </a:rPr>
                        <a:t>Content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hMerge="1">
                  <a:txBody>
                    <a:bodyPr/>
                    <a:lstStyle/>
                    <a:p>
                      <a:endParaRPr lang="en-IN"/>
                    </a:p>
                  </a:txBody>
                  <a:tcPr/>
                </a:tc>
                <a:tc>
                  <a:txBody>
                    <a:bodyPr/>
                    <a:lstStyle/>
                    <a:p>
                      <a:pPr algn="ctr">
                        <a:lnSpc>
                          <a:spcPts val="600"/>
                        </a:lnSpc>
                      </a:pPr>
                      <a:r>
                        <a:rPr lang="en-IN" sz="900" dirty="0">
                          <a:solidFill>
                            <a:schemeClr val="tx1"/>
                          </a:solidFill>
                          <a:latin typeface="Verdana" panose="020B0604030504040204" pitchFamily="34" charset="0"/>
                          <a:ea typeface="Verdana" panose="020B0604030504040204" pitchFamily="34" charset="0"/>
                          <a:cs typeface="Verdana" panose="020B0604030504040204" pitchFamily="34" charset="0"/>
                        </a:rPr>
                        <a:t>Page No.</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extLst>
                  <a:ext uri="{0D108BD9-81ED-4DB2-BD59-A6C34878D82A}">
                    <a16:rowId xmlns:a16="http://schemas.microsoft.com/office/drawing/2014/main" val="10000"/>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8.</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Global Copper Sulphate Manufacturing Process Overview</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1795546"/>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8.1.</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Process Details</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2857211"/>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8.2.</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Technological Maturities</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6938632"/>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9.</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Global Manufacturing Cost Analysis</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6674648"/>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9.1.</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Raw Material</a:t>
                      </a:r>
                    </a:p>
                  </a:txBody>
                  <a:tcPr marL="100584" marR="100584" marT="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16531"/>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9.2.</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gin</a:t>
                      </a:r>
                    </a:p>
                  </a:txBody>
                  <a:tcPr marL="100584" marR="100584" marT="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1119108"/>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9.3.</a:t>
                      </a:r>
                      <a:endPar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Variable Cost</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1409861"/>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20.</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Global Copper Sulphate Demand-Supply Outlook</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7213157"/>
                  </a:ext>
                </a:extLst>
              </a:tr>
              <a:tr h="2752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21.</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Country-Wise Import of Copper Sulphate in South-East Asia, By Value &amp; Volume – 2020 (By Country &amp; By Grade)</a:t>
                      </a:r>
                      <a:endPar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4646148"/>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22.</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About Us</a:t>
                      </a:r>
                      <a:r>
                        <a:rPr lang="en-US" sz="900" b="1"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amp; Disclaimer</a:t>
                      </a: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nSpc>
                          <a:spcPct val="100000"/>
                        </a:lnSpc>
                      </a:pPr>
                      <a:endPar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9136563"/>
                  </a:ext>
                </a:extLst>
              </a:tr>
            </a:tbl>
          </a:graphicData>
        </a:graphic>
      </p:graphicFrame>
    </p:spTree>
    <p:extLst>
      <p:ext uri="{BB962C8B-B14F-4D97-AF65-F5344CB8AC3E}">
        <p14:creationId xmlns:p14="http://schemas.microsoft.com/office/powerpoint/2010/main" val="35947180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14320C3F-EF7D-410F-BFF2-8168F2D77AA0}"/>
              </a:ext>
            </a:extLst>
          </p:cNvPr>
          <p:cNvGraphicFramePr/>
          <p:nvPr/>
        </p:nvGraphicFramePr>
        <p:xfrm>
          <a:off x="219965" y="1645745"/>
          <a:ext cx="8268194" cy="1899415"/>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a:extLst>
              <a:ext uri="{FF2B5EF4-FFF2-40B4-BE49-F238E27FC236}">
                <a16:creationId xmlns:a16="http://schemas.microsoft.com/office/drawing/2014/main" id="{B83D75AB-0E3C-4B82-996F-87A7453E4A1F}"/>
              </a:ext>
            </a:extLst>
          </p:cNvPr>
          <p:cNvGrpSpPr/>
          <p:nvPr/>
        </p:nvGrpSpPr>
        <p:grpSpPr>
          <a:xfrm>
            <a:off x="4354062" y="1302008"/>
            <a:ext cx="3756268" cy="516701"/>
            <a:chOff x="4524751" y="1404135"/>
            <a:chExt cx="3555640" cy="516701"/>
          </a:xfrm>
        </p:grpSpPr>
        <p:cxnSp>
          <p:nvCxnSpPr>
            <p:cNvPr id="4" name="Connector: Elbow 3">
              <a:extLst>
                <a:ext uri="{FF2B5EF4-FFF2-40B4-BE49-F238E27FC236}">
                  <a16:creationId xmlns:a16="http://schemas.microsoft.com/office/drawing/2014/main" id="{95A6DFC4-4495-4F6A-A9EF-3E83D56C7111}"/>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F95BE91-1C09-4CB4-83F8-DAB4DE213186}"/>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4.59</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grpSp>
        <p:nvGrpSpPr>
          <p:cNvPr id="6" name="Group 5">
            <a:extLst>
              <a:ext uri="{FF2B5EF4-FFF2-40B4-BE49-F238E27FC236}">
                <a16:creationId xmlns:a16="http://schemas.microsoft.com/office/drawing/2014/main" id="{1F1797BD-8E39-4379-B7B5-4BD9B632F27D}"/>
              </a:ext>
            </a:extLst>
          </p:cNvPr>
          <p:cNvGrpSpPr/>
          <p:nvPr/>
        </p:nvGrpSpPr>
        <p:grpSpPr>
          <a:xfrm>
            <a:off x="543338" y="1296572"/>
            <a:ext cx="3182166" cy="516701"/>
            <a:chOff x="4524751" y="1404135"/>
            <a:chExt cx="3302533" cy="516701"/>
          </a:xfrm>
        </p:grpSpPr>
        <p:cxnSp>
          <p:nvCxnSpPr>
            <p:cNvPr id="7" name="Connector: Elbow 6">
              <a:extLst>
                <a:ext uri="{FF2B5EF4-FFF2-40B4-BE49-F238E27FC236}">
                  <a16:creationId xmlns:a16="http://schemas.microsoft.com/office/drawing/2014/main" id="{2F52B0F6-27F3-4CEB-A84F-9018459DA4B8}"/>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CE477C8-FC35-4CC6-BFD4-63C00C156893}"/>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2.95</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9" name="TextBox 8">
            <a:extLst>
              <a:ext uri="{FF2B5EF4-FFF2-40B4-BE49-F238E27FC236}">
                <a16:creationId xmlns:a16="http://schemas.microsoft.com/office/drawing/2014/main" id="{786AB1F4-AC9C-4AFF-8AAA-46411A146ED7}"/>
              </a:ext>
            </a:extLst>
          </p:cNvPr>
          <p:cNvSpPr txBox="1"/>
          <p:nvPr/>
        </p:nvSpPr>
        <p:spPr>
          <a:xfrm>
            <a:off x="211741" y="91519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2: Malay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olume, (Kilo Tonnes), 2016-2026F</a:t>
            </a:r>
          </a:p>
        </p:txBody>
      </p:sp>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Malay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olume</a:t>
            </a:r>
          </a:p>
        </p:txBody>
      </p:sp>
      <p:sp>
        <p:nvSpPr>
          <p:cNvPr id="12" name="TextBox 11">
            <a:extLst>
              <a:ext uri="{FF2B5EF4-FFF2-40B4-BE49-F238E27FC236}">
                <a16:creationId xmlns:a16="http://schemas.microsoft.com/office/drawing/2014/main" id="{B6C77CA6-6F73-4F9F-899F-6A92CD137EAF}"/>
              </a:ext>
            </a:extLst>
          </p:cNvPr>
          <p:cNvSpPr txBox="1"/>
          <p:nvPr/>
        </p:nvSpPr>
        <p:spPr>
          <a:xfrm>
            <a:off x="6424623" y="3390582"/>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3" name="Chart 12">
            <a:extLst>
              <a:ext uri="{FF2B5EF4-FFF2-40B4-BE49-F238E27FC236}">
                <a16:creationId xmlns:a16="http://schemas.microsoft.com/office/drawing/2014/main" id="{ECD0FA95-1182-4A9F-AF99-35D8684CFE4D}"/>
              </a:ext>
            </a:extLst>
          </p:cNvPr>
          <p:cNvGraphicFramePr/>
          <p:nvPr>
            <p:extLst>
              <p:ext uri="{D42A27DB-BD31-4B8C-83A1-F6EECF244321}">
                <p14:modId xmlns:p14="http://schemas.microsoft.com/office/powerpoint/2010/main" val="3461447642"/>
              </p:ext>
            </p:extLst>
          </p:nvPr>
        </p:nvGraphicFramePr>
        <p:xfrm>
          <a:off x="245933" y="4454399"/>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BC44B119-AA15-4664-8D54-58E38F3D7FD5}"/>
              </a:ext>
            </a:extLst>
          </p:cNvPr>
          <p:cNvSpPr txBox="1"/>
          <p:nvPr/>
        </p:nvSpPr>
        <p:spPr>
          <a:xfrm>
            <a:off x="211741" y="4186982"/>
            <a:ext cx="4578626" cy="400110"/>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Malaysia Agricultural Production, By Value (USD Million), 2015-2019</a:t>
            </a:r>
          </a:p>
        </p:txBody>
      </p:sp>
      <p:sp>
        <p:nvSpPr>
          <p:cNvPr id="18" name="TextBox 17">
            <a:extLst>
              <a:ext uri="{FF2B5EF4-FFF2-40B4-BE49-F238E27FC236}">
                <a16:creationId xmlns:a16="http://schemas.microsoft.com/office/drawing/2014/main" id="{91531331-54FE-4600-B54F-AE1C51F5B6B6}"/>
              </a:ext>
            </a:extLst>
          </p:cNvPr>
          <p:cNvSpPr txBox="1"/>
          <p:nvPr/>
        </p:nvSpPr>
        <p:spPr>
          <a:xfrm>
            <a:off x="3031005" y="6410682"/>
            <a:ext cx="1139869"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FAO Stats </a:t>
            </a:r>
          </a:p>
        </p:txBody>
      </p:sp>
      <p:graphicFrame>
        <p:nvGraphicFramePr>
          <p:cNvPr id="19" name="Chart 18">
            <a:extLst>
              <a:ext uri="{FF2B5EF4-FFF2-40B4-BE49-F238E27FC236}">
                <a16:creationId xmlns:a16="http://schemas.microsoft.com/office/drawing/2014/main" id="{B7C112DA-3CDF-45D3-A63C-1F5CB0297809}"/>
              </a:ext>
            </a:extLst>
          </p:cNvPr>
          <p:cNvGraphicFramePr/>
          <p:nvPr>
            <p:extLst>
              <p:ext uri="{D42A27DB-BD31-4B8C-83A1-F6EECF244321}">
                <p14:modId xmlns:p14="http://schemas.microsoft.com/office/powerpoint/2010/main" val="218131658"/>
              </p:ext>
            </p:extLst>
          </p:nvPr>
        </p:nvGraphicFramePr>
        <p:xfrm>
          <a:off x="4559517" y="4408019"/>
          <a:ext cx="3910054" cy="1983188"/>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Box 19">
            <a:extLst>
              <a:ext uri="{FF2B5EF4-FFF2-40B4-BE49-F238E27FC236}">
                <a16:creationId xmlns:a16="http://schemas.microsoft.com/office/drawing/2014/main" id="{13BD5E45-DCBF-441F-8FDF-89923B9D03A3}"/>
              </a:ext>
            </a:extLst>
          </p:cNvPr>
          <p:cNvSpPr txBox="1"/>
          <p:nvPr/>
        </p:nvSpPr>
        <p:spPr>
          <a:xfrm>
            <a:off x="4644593" y="4140602"/>
            <a:ext cx="4578626" cy="400110"/>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Malaysia Fertilizer Consumption (% of Fertilizer Production), 2015-2019</a:t>
            </a:r>
          </a:p>
        </p:txBody>
      </p:sp>
      <p:sp>
        <p:nvSpPr>
          <p:cNvPr id="24" name="TextBox 23">
            <a:extLst>
              <a:ext uri="{FF2B5EF4-FFF2-40B4-BE49-F238E27FC236}">
                <a16:creationId xmlns:a16="http://schemas.microsoft.com/office/drawing/2014/main" id="{E330DB6A-2EBB-415E-AAF2-D2D6771659D5}"/>
              </a:ext>
            </a:extLst>
          </p:cNvPr>
          <p:cNvSpPr txBox="1"/>
          <p:nvPr/>
        </p:nvSpPr>
        <p:spPr>
          <a:xfrm>
            <a:off x="6266160" y="6452073"/>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Tree>
    <p:extLst>
      <p:ext uri="{BB962C8B-B14F-4D97-AF65-F5344CB8AC3E}">
        <p14:creationId xmlns:p14="http://schemas.microsoft.com/office/powerpoint/2010/main" val="95034939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Malay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a:t>
            </a:r>
          </a:p>
        </p:txBody>
      </p:sp>
      <p:sp>
        <p:nvSpPr>
          <p:cNvPr id="13" name="TextBox 12">
            <a:extLst>
              <a:ext uri="{FF2B5EF4-FFF2-40B4-BE49-F238E27FC236}">
                <a16:creationId xmlns:a16="http://schemas.microsoft.com/office/drawing/2014/main" id="{D6F011D1-F8F8-4C07-BF38-BB19CCF9F0E2}"/>
              </a:ext>
            </a:extLst>
          </p:cNvPr>
          <p:cNvSpPr txBox="1"/>
          <p:nvPr/>
        </p:nvSpPr>
        <p:spPr>
          <a:xfrm>
            <a:off x="198120" y="861391"/>
            <a:ext cx="8335617" cy="5274201"/>
          </a:xfrm>
          <a:prstGeom prst="rect">
            <a:avLst/>
          </a:prstGeom>
          <a:noFill/>
        </p:spPr>
        <p:txBody>
          <a:bodyPr wrap="square" rtlCol="0">
            <a:spAutoFit/>
          </a:bodyPr>
          <a:lstStyle/>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The country’s growing fisheries and forestry sectors accounts for the rising market for copper sulphate where it is used as a fungicide or an antimicrobial agent. The country is the world’s second largest palm oil producer and exporter after Indonesia. The country has relatively strong agricultural research capability and even production of rice is subsidized through support prices. Additionally, the land productivity in Malaysia has grown up by 2.97 times.</a:t>
            </a:r>
          </a:p>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In 2020, the fisheries sector in Malaysia was the one of largest demand generator for copper sulphate. This industry provided employment to 185,200 people and its contribution to national GDP was at 1.05%. Copper sulphate is a broad-based disinfecting agent used by major shrimp and aquarium fish farms of Malaysia.</a:t>
            </a:r>
          </a:p>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The poultry sector in the country is well developed and relatively strong contributing to the rising market for the copper sulphate which helps in preventing the growth of microbes. Various strategies have been adopted by government to boost up the local beef production in the country like Integrated Cattle and Oil Palm Farming Systems (ICOFS). Moreover, the proposed policy of National Agrofood Policy 2.0 for 2021-2030 which includes adoption of modern technology to increase productivity, enhance food value chain, attract private investment and includes livestock sector. </a:t>
            </a:r>
          </a:p>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The country experienced an economic boom and gone through rapid development in the late 20</a:t>
            </a:r>
            <a:r>
              <a:rPr lang="en-US" sz="1000" baseline="30000" dirty="0">
                <a:latin typeface="Verdana" panose="020B0604030504040204" pitchFamily="34" charset="0"/>
                <a:ea typeface="Verdana" panose="020B0604030504040204" pitchFamily="34" charset="0"/>
                <a:cs typeface="Verdana" panose="020B0604030504040204" pitchFamily="34" charset="0"/>
              </a:rPr>
              <a:t>TH</a:t>
            </a:r>
            <a:r>
              <a:rPr lang="en-US" sz="1000" dirty="0">
                <a:latin typeface="Verdana" panose="020B0604030504040204" pitchFamily="34" charset="0"/>
                <a:ea typeface="Verdana" panose="020B0604030504040204" pitchFamily="34" charset="0"/>
                <a:cs typeface="Verdana" panose="020B0604030504040204" pitchFamily="34" charset="0"/>
              </a:rPr>
              <a:t> century which helped various foreign investments contributing to the increasing industrial development and rapid urbanization serving as the major driving factor for the growing copper sulphate market.</a:t>
            </a:r>
          </a:p>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The growing healthcare sector in the country fueled by ageing population, increasing life expectancy, and rising affluence contributes to the increasing market for copper sulphate. </a:t>
            </a:r>
          </a:p>
        </p:txBody>
      </p:sp>
    </p:spTree>
    <p:extLst>
      <p:ext uri="{BB962C8B-B14F-4D97-AF65-F5344CB8AC3E}">
        <p14:creationId xmlns:p14="http://schemas.microsoft.com/office/powerpoint/2010/main" val="287122729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Malay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hare &amp; Size, By </a:t>
            </a:r>
            <a:r>
              <a:rPr lang="en-IN" sz="1400" b="1" dirty="0">
                <a:solidFill>
                  <a:prstClr val="black"/>
                </a:solidFill>
                <a:latin typeface="Arial" panose="020B0604020202020204" pitchFamily="34" charset="0"/>
                <a:cs typeface="Arial" panose="020B0604020202020204" pitchFamily="34" charset="0"/>
              </a:rPr>
              <a:t>Grade </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28" name="TextBox 27">
            <a:extLst>
              <a:ext uri="{FF2B5EF4-FFF2-40B4-BE49-F238E27FC236}">
                <a16:creationId xmlns:a16="http://schemas.microsoft.com/office/drawing/2014/main" id="{DDF0E565-D0AB-44F0-A5D8-D1B068022189}"/>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3: Malay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Grade</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USD Million), 2016-2026F</a:t>
            </a:r>
          </a:p>
        </p:txBody>
      </p:sp>
      <p:sp>
        <p:nvSpPr>
          <p:cNvPr id="8" name="TextBox 7">
            <a:extLst>
              <a:ext uri="{FF2B5EF4-FFF2-40B4-BE49-F238E27FC236}">
                <a16:creationId xmlns:a16="http://schemas.microsoft.com/office/drawing/2014/main" id="{377E04C2-64EC-4071-91D2-2DF2EB9F00BB}"/>
              </a:ext>
            </a:extLst>
          </p:cNvPr>
          <p:cNvSpPr txBox="1"/>
          <p:nvPr/>
        </p:nvSpPr>
        <p:spPr>
          <a:xfrm>
            <a:off x="291548" y="4373217"/>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9: Malaysia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Grade, By Value, (USD Million), 2016-2026F</a:t>
            </a:r>
          </a:p>
        </p:txBody>
      </p:sp>
      <p:graphicFrame>
        <p:nvGraphicFramePr>
          <p:cNvPr id="10" name="Table 9">
            <a:extLst>
              <a:ext uri="{FF2B5EF4-FFF2-40B4-BE49-F238E27FC236}">
                <a16:creationId xmlns:a16="http://schemas.microsoft.com/office/drawing/2014/main" id="{B817CD9E-C62D-4948-BD3B-6404CF626DE6}"/>
              </a:ext>
            </a:extLst>
          </p:cNvPr>
          <p:cNvGraphicFramePr>
            <a:graphicFrameLocks noGrp="1"/>
          </p:cNvGraphicFramePr>
          <p:nvPr>
            <p:extLst>
              <p:ext uri="{D42A27DB-BD31-4B8C-83A1-F6EECF244321}">
                <p14:modId xmlns:p14="http://schemas.microsoft.com/office/powerpoint/2010/main" val="1666144713"/>
              </p:ext>
            </p:extLst>
          </p:nvPr>
        </p:nvGraphicFramePr>
        <p:xfrm>
          <a:off x="371102" y="4784034"/>
          <a:ext cx="8362084" cy="888306"/>
        </p:xfrm>
        <a:graphic>
          <a:graphicData uri="http://schemas.openxmlformats.org/drawingml/2006/table">
            <a:tbl>
              <a:tblPr>
                <a:tableStyleId>{8EC20E35-A176-4012-BC5E-935CFFF8708E}</a:tableStyleId>
              </a:tblPr>
              <a:tblGrid>
                <a:gridCol w="1764152">
                  <a:extLst>
                    <a:ext uri="{9D8B030D-6E8A-4147-A177-3AD203B41FA5}">
                      <a16:colId xmlns:a16="http://schemas.microsoft.com/office/drawing/2014/main" val="2017731148"/>
                    </a:ext>
                  </a:extLst>
                </a:gridCol>
                <a:gridCol w="599812">
                  <a:extLst>
                    <a:ext uri="{9D8B030D-6E8A-4147-A177-3AD203B41FA5}">
                      <a16:colId xmlns:a16="http://schemas.microsoft.com/office/drawing/2014/main" val="2667391389"/>
                    </a:ext>
                  </a:extLst>
                </a:gridCol>
                <a:gridCol w="599812">
                  <a:extLst>
                    <a:ext uri="{9D8B030D-6E8A-4147-A177-3AD203B41FA5}">
                      <a16:colId xmlns:a16="http://schemas.microsoft.com/office/drawing/2014/main" val="3750729452"/>
                    </a:ext>
                  </a:extLst>
                </a:gridCol>
                <a:gridCol w="599812">
                  <a:extLst>
                    <a:ext uri="{9D8B030D-6E8A-4147-A177-3AD203B41FA5}">
                      <a16:colId xmlns:a16="http://schemas.microsoft.com/office/drawing/2014/main" val="425130346"/>
                    </a:ext>
                  </a:extLst>
                </a:gridCol>
                <a:gridCol w="599812">
                  <a:extLst>
                    <a:ext uri="{9D8B030D-6E8A-4147-A177-3AD203B41FA5}">
                      <a16:colId xmlns:a16="http://schemas.microsoft.com/office/drawing/2014/main" val="1091415442"/>
                    </a:ext>
                  </a:extLst>
                </a:gridCol>
                <a:gridCol w="599812">
                  <a:extLst>
                    <a:ext uri="{9D8B030D-6E8A-4147-A177-3AD203B41FA5}">
                      <a16:colId xmlns:a16="http://schemas.microsoft.com/office/drawing/2014/main" val="2869642291"/>
                    </a:ext>
                  </a:extLst>
                </a:gridCol>
                <a:gridCol w="599812">
                  <a:extLst>
                    <a:ext uri="{9D8B030D-6E8A-4147-A177-3AD203B41FA5}">
                      <a16:colId xmlns:a16="http://schemas.microsoft.com/office/drawing/2014/main" val="1492483844"/>
                    </a:ext>
                  </a:extLst>
                </a:gridCol>
                <a:gridCol w="599812">
                  <a:extLst>
                    <a:ext uri="{9D8B030D-6E8A-4147-A177-3AD203B41FA5}">
                      <a16:colId xmlns:a16="http://schemas.microsoft.com/office/drawing/2014/main" val="536896032"/>
                    </a:ext>
                  </a:extLst>
                </a:gridCol>
                <a:gridCol w="599812">
                  <a:extLst>
                    <a:ext uri="{9D8B030D-6E8A-4147-A177-3AD203B41FA5}">
                      <a16:colId xmlns:a16="http://schemas.microsoft.com/office/drawing/2014/main" val="2293403703"/>
                    </a:ext>
                  </a:extLst>
                </a:gridCol>
                <a:gridCol w="599812">
                  <a:extLst>
                    <a:ext uri="{9D8B030D-6E8A-4147-A177-3AD203B41FA5}">
                      <a16:colId xmlns:a16="http://schemas.microsoft.com/office/drawing/2014/main" val="2748373219"/>
                    </a:ext>
                  </a:extLst>
                </a:gridCol>
                <a:gridCol w="599812">
                  <a:extLst>
                    <a:ext uri="{9D8B030D-6E8A-4147-A177-3AD203B41FA5}">
                      <a16:colId xmlns:a16="http://schemas.microsoft.com/office/drawing/2014/main" val="316596246"/>
                    </a:ext>
                  </a:extLst>
                </a:gridCol>
                <a:gridCol w="599812">
                  <a:extLst>
                    <a:ext uri="{9D8B030D-6E8A-4147-A177-3AD203B41FA5}">
                      <a16:colId xmlns:a16="http://schemas.microsoft.com/office/drawing/2014/main" val="2656604351"/>
                    </a:ext>
                  </a:extLst>
                </a:gridCol>
              </a:tblGrid>
              <a:tr h="296102">
                <a:tc>
                  <a:txBody>
                    <a:bodyPr/>
                    <a:lstStyle/>
                    <a:p>
                      <a:pPr algn="l" fontAlgn="b"/>
                      <a:r>
                        <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Grade </a:t>
                      </a: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4277395723"/>
                  </a:ext>
                </a:extLst>
              </a:tr>
              <a:tr h="296102">
                <a:tc>
                  <a:txBody>
                    <a:bodyPr/>
                    <a:lstStyle/>
                    <a:p>
                      <a:pPr algn="l" fontAlgn="b"/>
                      <a:r>
                        <a:rPr lang="en-IN" sz="1000" b="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r" fontAlgn="b"/>
                      <a:r>
                        <a:rPr lang="en-IN" sz="1100" b="0" i="0" u="none" strike="noStrike" dirty="0">
                          <a:solidFill>
                            <a:srgbClr val="000000"/>
                          </a:solidFill>
                          <a:effectLst/>
                          <a:latin typeface="Cambria" panose="02040503050406030204" pitchFamily="18" charset="0"/>
                        </a:rPr>
                        <a:t>17.35</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19.21</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0.12</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1.53</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0.26</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1.36</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2.54</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3.76</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5.12</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6.51</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7.95</a:t>
                      </a:r>
                    </a:p>
                  </a:txBody>
                  <a:tcPr marL="9525" marR="9525" marT="9525" marB="0" anchor="b"/>
                </a:tc>
                <a:extLst>
                  <a:ext uri="{0D108BD9-81ED-4DB2-BD59-A6C34878D82A}">
                    <a16:rowId xmlns:a16="http://schemas.microsoft.com/office/drawing/2014/main" val="3614340383"/>
                  </a:ext>
                </a:extLst>
              </a:tr>
              <a:tr h="296102">
                <a:tc>
                  <a:txBody>
                    <a:bodyPr/>
                    <a:lstStyle/>
                    <a:p>
                      <a:pPr algn="l" fontAlgn="b"/>
                      <a:r>
                        <a:rPr lang="en-US"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Reagent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r" fontAlgn="b"/>
                      <a:r>
                        <a:rPr lang="en-IN" sz="1100" b="0" i="0" u="none" strike="noStrike" dirty="0">
                          <a:solidFill>
                            <a:srgbClr val="000000"/>
                          </a:solidFill>
                          <a:effectLst/>
                          <a:latin typeface="Cambria" panose="02040503050406030204" pitchFamily="18" charset="0"/>
                        </a:rPr>
                        <a:t>1.38</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0.77</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1.27</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1.05</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1.58</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1.65</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1.73</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1.83</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1.92</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12</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29</a:t>
                      </a:r>
                    </a:p>
                  </a:txBody>
                  <a:tcPr marL="9525" marR="9525" marT="9525" marB="0" anchor="b"/>
                </a:tc>
                <a:extLst>
                  <a:ext uri="{0D108BD9-81ED-4DB2-BD59-A6C34878D82A}">
                    <a16:rowId xmlns:a16="http://schemas.microsoft.com/office/drawing/2014/main" val="3954528466"/>
                  </a:ext>
                </a:extLst>
              </a:tr>
            </a:tbl>
          </a:graphicData>
        </a:graphic>
      </p:graphicFrame>
      <p:graphicFrame>
        <p:nvGraphicFramePr>
          <p:cNvPr id="11" name="Chart 10">
            <a:extLst>
              <a:ext uri="{FF2B5EF4-FFF2-40B4-BE49-F238E27FC236}">
                <a16:creationId xmlns:a16="http://schemas.microsoft.com/office/drawing/2014/main" id="{4BD1A32F-9549-4B29-AC30-AA339884F884}"/>
              </a:ext>
            </a:extLst>
          </p:cNvPr>
          <p:cNvGraphicFramePr/>
          <p:nvPr/>
        </p:nvGraphicFramePr>
        <p:xfrm>
          <a:off x="291548" y="1264480"/>
          <a:ext cx="8560904" cy="2727250"/>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BA0C6939-127A-47EA-B38C-CFE9BC518959}"/>
              </a:ext>
            </a:extLst>
          </p:cNvPr>
          <p:cNvSpPr txBox="1"/>
          <p:nvPr/>
        </p:nvSpPr>
        <p:spPr>
          <a:xfrm>
            <a:off x="6527118" y="3967029"/>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3" name="TextBox 12">
            <a:extLst>
              <a:ext uri="{FF2B5EF4-FFF2-40B4-BE49-F238E27FC236}">
                <a16:creationId xmlns:a16="http://schemas.microsoft.com/office/drawing/2014/main" id="{BCA6602A-053E-42D0-8431-FF631921CB8F}"/>
              </a:ext>
            </a:extLst>
          </p:cNvPr>
          <p:cNvSpPr txBox="1"/>
          <p:nvPr/>
        </p:nvSpPr>
        <p:spPr>
          <a:xfrm>
            <a:off x="6634188" y="5791089"/>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48606917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457200">
              <a:lnSpc>
                <a:spcPts val="1700"/>
              </a:lnSpc>
              <a:defRPr/>
            </a:pPr>
            <a:r>
              <a:rPr lang="en-IN" sz="1400" b="1" dirty="0">
                <a:solidFill>
                  <a:prstClr val="black"/>
                </a:solidFill>
                <a:latin typeface="Arial" panose="020B0604020202020204" pitchFamily="34" charset="0"/>
                <a:cs typeface="Arial" panose="020B0604020202020204" pitchFamily="34" charset="0"/>
              </a:rPr>
              <a:t>Malay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a:t>
            </a:r>
            <a:r>
              <a:rPr lang="en-IN" sz="1400" b="1" dirty="0">
                <a:solidFill>
                  <a:prstClr val="black"/>
                </a:solidFill>
                <a:latin typeface="Arial" panose="020B0604020202020204" pitchFamily="34" charset="0"/>
                <a:cs typeface="Arial" panose="020B0604020202020204" pitchFamily="34" charset="0"/>
              </a:rPr>
              <a:t>Share &amp; Size, </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y End Use</a:t>
            </a:r>
          </a:p>
        </p:txBody>
      </p:sp>
      <p:sp>
        <p:nvSpPr>
          <p:cNvPr id="28" name="TextBox 27">
            <a:extLst>
              <a:ext uri="{FF2B5EF4-FFF2-40B4-BE49-F238E27FC236}">
                <a16:creationId xmlns:a16="http://schemas.microsoft.com/office/drawing/2014/main" id="{DDF0E565-D0AB-44F0-A5D8-D1B068022189}"/>
              </a:ext>
            </a:extLst>
          </p:cNvPr>
          <p:cNvSpPr txBox="1"/>
          <p:nvPr/>
        </p:nvSpPr>
        <p:spPr>
          <a:xfrm>
            <a:off x="198120" y="802677"/>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4: Malay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End Use, By Value, (USD Million), 2016-2026F</a:t>
            </a:r>
          </a:p>
        </p:txBody>
      </p:sp>
      <p:sp>
        <p:nvSpPr>
          <p:cNvPr id="8" name="TextBox 7">
            <a:extLst>
              <a:ext uri="{FF2B5EF4-FFF2-40B4-BE49-F238E27FC236}">
                <a16:creationId xmlns:a16="http://schemas.microsoft.com/office/drawing/2014/main" id="{377E04C2-64EC-4071-91D2-2DF2EB9F00BB}"/>
              </a:ext>
            </a:extLst>
          </p:cNvPr>
          <p:cNvSpPr txBox="1"/>
          <p:nvPr/>
        </p:nvSpPr>
        <p:spPr>
          <a:xfrm>
            <a:off x="198120" y="4023663"/>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10: Malaysia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End Use, By Value, (USD Million), 2016-2026F</a:t>
            </a:r>
          </a:p>
        </p:txBody>
      </p:sp>
      <p:graphicFrame>
        <p:nvGraphicFramePr>
          <p:cNvPr id="15" name="Chart 14">
            <a:extLst>
              <a:ext uri="{FF2B5EF4-FFF2-40B4-BE49-F238E27FC236}">
                <a16:creationId xmlns:a16="http://schemas.microsoft.com/office/drawing/2014/main" id="{E704A909-C5AC-4E3D-BEB5-7AC1E7DC6074}"/>
              </a:ext>
            </a:extLst>
          </p:cNvPr>
          <p:cNvGraphicFramePr/>
          <p:nvPr>
            <p:extLst>
              <p:ext uri="{D42A27DB-BD31-4B8C-83A1-F6EECF244321}">
                <p14:modId xmlns:p14="http://schemas.microsoft.com/office/powerpoint/2010/main" val="975160656"/>
              </p:ext>
            </p:extLst>
          </p:nvPr>
        </p:nvGraphicFramePr>
        <p:xfrm>
          <a:off x="163996" y="982497"/>
          <a:ext cx="8560904" cy="27272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Table 15">
            <a:extLst>
              <a:ext uri="{FF2B5EF4-FFF2-40B4-BE49-F238E27FC236}">
                <a16:creationId xmlns:a16="http://schemas.microsoft.com/office/drawing/2014/main" id="{8A6C784B-2CAB-4EA7-A0DC-3FC1CB94896C}"/>
              </a:ext>
            </a:extLst>
          </p:cNvPr>
          <p:cNvGraphicFramePr>
            <a:graphicFrameLocks noGrp="1"/>
          </p:cNvGraphicFramePr>
          <p:nvPr>
            <p:extLst>
              <p:ext uri="{D42A27DB-BD31-4B8C-83A1-F6EECF244321}">
                <p14:modId xmlns:p14="http://schemas.microsoft.com/office/powerpoint/2010/main" val="148280316"/>
              </p:ext>
            </p:extLst>
          </p:nvPr>
        </p:nvGraphicFramePr>
        <p:xfrm>
          <a:off x="378106" y="4389090"/>
          <a:ext cx="8066821" cy="2080919"/>
        </p:xfrm>
        <a:graphic>
          <a:graphicData uri="http://schemas.openxmlformats.org/drawingml/2006/table">
            <a:tbl>
              <a:tblPr>
                <a:tableStyleId>{8EC20E35-A176-4012-BC5E-935CFFF8708E}</a:tableStyleId>
              </a:tblPr>
              <a:tblGrid>
                <a:gridCol w="1445184">
                  <a:extLst>
                    <a:ext uri="{9D8B030D-6E8A-4147-A177-3AD203B41FA5}">
                      <a16:colId xmlns:a16="http://schemas.microsoft.com/office/drawing/2014/main" val="2017731148"/>
                    </a:ext>
                  </a:extLst>
                </a:gridCol>
                <a:gridCol w="601967">
                  <a:extLst>
                    <a:ext uri="{9D8B030D-6E8A-4147-A177-3AD203B41FA5}">
                      <a16:colId xmlns:a16="http://schemas.microsoft.com/office/drawing/2014/main" val="2667391389"/>
                    </a:ext>
                  </a:extLst>
                </a:gridCol>
                <a:gridCol w="601967">
                  <a:extLst>
                    <a:ext uri="{9D8B030D-6E8A-4147-A177-3AD203B41FA5}">
                      <a16:colId xmlns:a16="http://schemas.microsoft.com/office/drawing/2014/main" val="3750729452"/>
                    </a:ext>
                  </a:extLst>
                </a:gridCol>
                <a:gridCol w="601967">
                  <a:extLst>
                    <a:ext uri="{9D8B030D-6E8A-4147-A177-3AD203B41FA5}">
                      <a16:colId xmlns:a16="http://schemas.microsoft.com/office/drawing/2014/main" val="425130346"/>
                    </a:ext>
                  </a:extLst>
                </a:gridCol>
                <a:gridCol w="601967">
                  <a:extLst>
                    <a:ext uri="{9D8B030D-6E8A-4147-A177-3AD203B41FA5}">
                      <a16:colId xmlns:a16="http://schemas.microsoft.com/office/drawing/2014/main" val="1091415442"/>
                    </a:ext>
                  </a:extLst>
                </a:gridCol>
                <a:gridCol w="601967">
                  <a:extLst>
                    <a:ext uri="{9D8B030D-6E8A-4147-A177-3AD203B41FA5}">
                      <a16:colId xmlns:a16="http://schemas.microsoft.com/office/drawing/2014/main" val="2869642291"/>
                    </a:ext>
                  </a:extLst>
                </a:gridCol>
                <a:gridCol w="601967">
                  <a:extLst>
                    <a:ext uri="{9D8B030D-6E8A-4147-A177-3AD203B41FA5}">
                      <a16:colId xmlns:a16="http://schemas.microsoft.com/office/drawing/2014/main" val="1492483844"/>
                    </a:ext>
                  </a:extLst>
                </a:gridCol>
                <a:gridCol w="601967">
                  <a:extLst>
                    <a:ext uri="{9D8B030D-6E8A-4147-A177-3AD203B41FA5}">
                      <a16:colId xmlns:a16="http://schemas.microsoft.com/office/drawing/2014/main" val="536896032"/>
                    </a:ext>
                  </a:extLst>
                </a:gridCol>
                <a:gridCol w="601967">
                  <a:extLst>
                    <a:ext uri="{9D8B030D-6E8A-4147-A177-3AD203B41FA5}">
                      <a16:colId xmlns:a16="http://schemas.microsoft.com/office/drawing/2014/main" val="2293403703"/>
                    </a:ext>
                  </a:extLst>
                </a:gridCol>
                <a:gridCol w="601967">
                  <a:extLst>
                    <a:ext uri="{9D8B030D-6E8A-4147-A177-3AD203B41FA5}">
                      <a16:colId xmlns:a16="http://schemas.microsoft.com/office/drawing/2014/main" val="2748373219"/>
                    </a:ext>
                  </a:extLst>
                </a:gridCol>
                <a:gridCol w="601967">
                  <a:extLst>
                    <a:ext uri="{9D8B030D-6E8A-4147-A177-3AD203B41FA5}">
                      <a16:colId xmlns:a16="http://schemas.microsoft.com/office/drawing/2014/main" val="316596246"/>
                    </a:ext>
                  </a:extLst>
                </a:gridCol>
                <a:gridCol w="601967">
                  <a:extLst>
                    <a:ext uri="{9D8B030D-6E8A-4147-A177-3AD203B41FA5}">
                      <a16:colId xmlns:a16="http://schemas.microsoft.com/office/drawing/2014/main" val="2656604351"/>
                    </a:ext>
                  </a:extLst>
                </a:gridCol>
              </a:tblGrid>
              <a:tr h="263123">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End Use </a:t>
                      </a:r>
                    </a:p>
                  </a:txBody>
                  <a:tcPr marL="0" marR="0" marT="0" marB="0" anchor="ctr"/>
                </a:tc>
                <a:tc>
                  <a:txBody>
                    <a:bodyPr/>
                    <a:lstStyle/>
                    <a:p>
                      <a:pPr algn="ctr" fontAlgn="b"/>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p>
                  </a:txBody>
                  <a:tcPr marL="0" marR="0" marT="0" marB="0" anchor="ctr"/>
                </a:tc>
                <a:tc>
                  <a:txBody>
                    <a:bodyPr/>
                    <a:lstStyle/>
                    <a:p>
                      <a:pPr algn="ctr" fontAlgn="b"/>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p>
                  </a:txBody>
                  <a:tcPr marL="0" marR="0" marT="0" marB="0" anchor="ctr"/>
                </a:tc>
                <a:tc>
                  <a:txBody>
                    <a:bodyPr/>
                    <a:lstStyle/>
                    <a:p>
                      <a:pPr algn="ctr" fontAlgn="b"/>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p>
                  </a:txBody>
                  <a:tcPr marL="0" marR="0" marT="0" marB="0" anchor="ctr"/>
                </a:tc>
                <a:tc>
                  <a:txBody>
                    <a:bodyPr/>
                    <a:lstStyle/>
                    <a:p>
                      <a:pPr algn="ctr" fontAlgn="b"/>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p>
                  </a:txBody>
                  <a:tcPr marL="0" marR="0" marT="0" marB="0" anchor="ctr"/>
                </a:tc>
                <a:tc>
                  <a:txBody>
                    <a:bodyPr/>
                    <a:lstStyle/>
                    <a:p>
                      <a:pPr algn="ctr" fontAlgn="b"/>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p>
                  </a:txBody>
                  <a:tcPr marL="0" marR="0" marT="0" marB="0" anchor="ctr"/>
                </a:tc>
                <a:tc>
                  <a:txBody>
                    <a:bodyPr/>
                    <a:lstStyle/>
                    <a:p>
                      <a:pPr algn="ctr" fontAlgn="b"/>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p>
                  </a:txBody>
                  <a:tcPr marL="0" marR="0" marT="0" marB="0" anchor="ctr"/>
                </a:tc>
                <a:tc>
                  <a:txBody>
                    <a:bodyPr/>
                    <a:lstStyle/>
                    <a:p>
                      <a:pPr algn="ctr" fontAlgn="b"/>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p>
                  </a:txBody>
                  <a:tcPr marL="0" marR="0" marT="0" marB="0" anchor="ctr"/>
                </a:tc>
                <a:tc>
                  <a:txBody>
                    <a:bodyPr/>
                    <a:lstStyle/>
                    <a:p>
                      <a:pPr algn="ctr" fontAlgn="b"/>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p>
                  </a:txBody>
                  <a:tcPr marL="0" marR="0" marT="0" marB="0" anchor="ctr"/>
                </a:tc>
                <a:tc>
                  <a:txBody>
                    <a:bodyPr/>
                    <a:lstStyle/>
                    <a:p>
                      <a:pPr algn="ctr" fontAlgn="b"/>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p>
                  </a:txBody>
                  <a:tcPr marL="0" marR="0" marT="0" marB="0" anchor="ctr"/>
                </a:tc>
                <a:tc>
                  <a:txBody>
                    <a:bodyPr/>
                    <a:lstStyle/>
                    <a:p>
                      <a:pPr algn="ctr" fontAlgn="b"/>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p>
                  </a:txBody>
                  <a:tcPr marL="0" marR="0" marT="0" marB="0" anchor="ctr"/>
                </a:tc>
                <a:tc>
                  <a:txBody>
                    <a:bodyPr/>
                    <a:lstStyle/>
                    <a:p>
                      <a:pPr algn="ctr" fontAlgn="b"/>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p>
                  </a:txBody>
                  <a:tcPr marL="0" marR="0" marT="0" marB="0" anchor="ctr"/>
                </a:tc>
                <a:extLst>
                  <a:ext uri="{0D108BD9-81ED-4DB2-BD59-A6C34878D82A}">
                    <a16:rowId xmlns:a16="http://schemas.microsoft.com/office/drawing/2014/main" val="4277395723"/>
                  </a:ext>
                </a:extLst>
              </a:tr>
              <a:tr h="263123">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9525" marR="9525" marT="9525" marB="0" anchor="ctr"/>
                </a:tc>
                <a:tc>
                  <a:txBody>
                    <a:bodyPr/>
                    <a:lstStyle/>
                    <a:p>
                      <a:pPr algn="r" fontAlgn="b"/>
                      <a:r>
                        <a:rPr lang="en-IN" sz="1100" b="0" u="none" strike="noStrike" dirty="0">
                          <a:solidFill>
                            <a:srgbClr val="000000"/>
                          </a:solidFill>
                          <a:effectLst/>
                        </a:rPr>
                        <a:t>7.89</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8.7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9.08</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9.52</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9.08</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9.5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10.0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10.5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11.1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11.7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12.33</a:t>
                      </a:r>
                      <a:endParaRPr lang="en-IN" sz="1100" b="0" i="0" u="none" strike="noStrike" dirty="0">
                        <a:solidFill>
                          <a:srgbClr val="000000"/>
                        </a:solidFill>
                        <a:effectLst/>
                        <a:latin typeface="Cambria" panose="02040503050406030204" pitchFamily="18" charset="0"/>
                      </a:endParaRPr>
                    </a:p>
                  </a:txBody>
                  <a:tcPr marL="9525" marR="9525" marT="9525" marB="0" anchor="ctr"/>
                </a:tc>
                <a:extLst>
                  <a:ext uri="{0D108BD9-81ED-4DB2-BD59-A6C34878D82A}">
                    <a16:rowId xmlns:a16="http://schemas.microsoft.com/office/drawing/2014/main" val="3614340383"/>
                  </a:ext>
                </a:extLst>
              </a:tr>
              <a:tr h="30602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noProof="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Animal Husbandry</a:t>
                      </a:r>
                    </a:p>
                  </a:txBody>
                  <a:tcPr marL="9525" marR="9525" marT="9525" marB="0" anchor="ctr"/>
                </a:tc>
                <a:tc>
                  <a:txBody>
                    <a:bodyPr/>
                    <a:lstStyle/>
                    <a:p>
                      <a:pPr algn="r" fontAlgn="b"/>
                      <a:r>
                        <a:rPr lang="en-IN" sz="1100" b="0" u="none" strike="noStrike" dirty="0">
                          <a:solidFill>
                            <a:srgbClr val="000000"/>
                          </a:solidFill>
                          <a:effectLst/>
                        </a:rPr>
                        <a:t>4.29</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4.59</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4.92</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5.20</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5.0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5.39</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5.7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6.10</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a:solidFill>
                            <a:srgbClr val="000000"/>
                          </a:solidFill>
                          <a:effectLst/>
                        </a:rPr>
                        <a:t>6.50</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6.99</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7.44</a:t>
                      </a:r>
                      <a:endParaRPr lang="en-IN" sz="1100" b="0" i="0" u="none" strike="noStrike" dirty="0">
                        <a:solidFill>
                          <a:srgbClr val="000000"/>
                        </a:solidFill>
                        <a:effectLst/>
                        <a:latin typeface="Cambria" panose="02040503050406030204" pitchFamily="18" charset="0"/>
                      </a:endParaRPr>
                    </a:p>
                  </a:txBody>
                  <a:tcPr marL="9525" marR="9525" marT="9525" marB="0" anchor="ctr"/>
                </a:tc>
                <a:extLst>
                  <a:ext uri="{0D108BD9-81ED-4DB2-BD59-A6C34878D82A}">
                    <a16:rowId xmlns:a16="http://schemas.microsoft.com/office/drawing/2014/main" val="2094423544"/>
                  </a:ext>
                </a:extLst>
              </a:tr>
              <a:tr h="26312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noProof="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Healthcare</a:t>
                      </a:r>
                    </a:p>
                  </a:txBody>
                  <a:tcPr marL="9525" marR="9525" marT="9525" marB="0" anchor="ctr"/>
                </a:tc>
                <a:tc>
                  <a:txBody>
                    <a:bodyPr/>
                    <a:lstStyle/>
                    <a:p>
                      <a:pPr algn="r" fontAlgn="b"/>
                      <a:r>
                        <a:rPr lang="en-IN" sz="1100" b="0" u="none" strike="noStrike" dirty="0">
                          <a:solidFill>
                            <a:srgbClr val="000000"/>
                          </a:solidFill>
                          <a:effectLst/>
                        </a:rPr>
                        <a:t>2.72</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2.99</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3.22</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3.4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3.50</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3.70</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3.91</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4.1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a:solidFill>
                            <a:srgbClr val="000000"/>
                          </a:solidFill>
                          <a:effectLst/>
                        </a:rPr>
                        <a:t>4.37</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4.6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4.92</a:t>
                      </a:r>
                      <a:endParaRPr lang="en-IN" sz="1100" b="0" i="0" u="none" strike="noStrike" dirty="0">
                        <a:solidFill>
                          <a:srgbClr val="000000"/>
                        </a:solidFill>
                        <a:effectLst/>
                        <a:latin typeface="Cambria" panose="02040503050406030204" pitchFamily="18" charset="0"/>
                      </a:endParaRPr>
                    </a:p>
                  </a:txBody>
                  <a:tcPr marL="9525" marR="9525" marT="9525" marB="0" anchor="ctr"/>
                </a:tc>
                <a:extLst>
                  <a:ext uri="{0D108BD9-81ED-4DB2-BD59-A6C34878D82A}">
                    <a16:rowId xmlns:a16="http://schemas.microsoft.com/office/drawing/2014/main" val="741399779"/>
                  </a:ext>
                </a:extLst>
              </a:tr>
              <a:tr h="263123">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a:t>
                      </a:r>
                    </a:p>
                  </a:txBody>
                  <a:tcPr marL="9525" marR="9525" marT="9525" marB="0" anchor="ctr"/>
                </a:tc>
                <a:tc>
                  <a:txBody>
                    <a:bodyPr/>
                    <a:lstStyle/>
                    <a:p>
                      <a:pPr algn="r" fontAlgn="b"/>
                      <a:r>
                        <a:rPr lang="en-IN" sz="1100" b="0" u="none" strike="noStrike" dirty="0">
                          <a:solidFill>
                            <a:srgbClr val="000000"/>
                          </a:solidFill>
                          <a:effectLst/>
                        </a:rPr>
                        <a:t>1.78</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1.81</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2.0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2.17</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2.09</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2.2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2.3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2.50</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a:solidFill>
                            <a:srgbClr val="000000"/>
                          </a:solidFill>
                          <a:effectLst/>
                        </a:rPr>
                        <a:t>2.6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2.81</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2.98</a:t>
                      </a:r>
                      <a:endParaRPr lang="en-IN" sz="1100" b="0" i="0" u="none" strike="noStrike" dirty="0">
                        <a:solidFill>
                          <a:srgbClr val="000000"/>
                        </a:solidFill>
                        <a:effectLst/>
                        <a:latin typeface="Cambria" panose="02040503050406030204" pitchFamily="18" charset="0"/>
                      </a:endParaRPr>
                    </a:p>
                  </a:txBody>
                  <a:tcPr marL="9525" marR="9525" marT="9525" marB="0" anchor="ctr"/>
                </a:tc>
                <a:extLst>
                  <a:ext uri="{0D108BD9-81ED-4DB2-BD59-A6C34878D82A}">
                    <a16:rowId xmlns:a16="http://schemas.microsoft.com/office/drawing/2014/main" val="865856288"/>
                  </a:ext>
                </a:extLst>
              </a:tr>
              <a:tr h="237876">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Chemicals</a:t>
                      </a:r>
                    </a:p>
                  </a:txBody>
                  <a:tcPr marL="9525" marR="9525" marT="9525" marB="0" anchor="ctr"/>
                </a:tc>
                <a:tc>
                  <a:txBody>
                    <a:bodyPr/>
                    <a:lstStyle/>
                    <a:p>
                      <a:pPr algn="r" fontAlgn="b"/>
                      <a:r>
                        <a:rPr lang="en-IN" sz="1100" b="0" u="none" strike="noStrike" dirty="0">
                          <a:solidFill>
                            <a:srgbClr val="000000"/>
                          </a:solidFill>
                          <a:effectLst/>
                        </a:rPr>
                        <a:t>0.68</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60</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7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8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6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69</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7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78</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a:solidFill>
                            <a:srgbClr val="000000"/>
                          </a:solidFill>
                          <a:effectLst/>
                        </a:rPr>
                        <a:t>0.8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87</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91</a:t>
                      </a:r>
                      <a:endParaRPr lang="en-IN" sz="1100" b="0" i="0" u="none" strike="noStrike" dirty="0">
                        <a:solidFill>
                          <a:srgbClr val="000000"/>
                        </a:solidFill>
                        <a:effectLst/>
                        <a:latin typeface="Cambria" panose="02040503050406030204" pitchFamily="18" charset="0"/>
                      </a:endParaRPr>
                    </a:p>
                  </a:txBody>
                  <a:tcPr marL="9525" marR="9525" marT="9525" marB="0" anchor="ctr"/>
                </a:tc>
                <a:extLst>
                  <a:ext uri="{0D108BD9-81ED-4DB2-BD59-A6C34878D82A}">
                    <a16:rowId xmlns:a16="http://schemas.microsoft.com/office/drawing/2014/main" val="3954528466"/>
                  </a:ext>
                </a:extLst>
              </a:tr>
              <a:tr h="221407">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Leather and Textiles   </a:t>
                      </a:r>
                    </a:p>
                  </a:txBody>
                  <a:tcPr marL="9525" marR="9525" marT="9525" marB="0" anchor="ctr"/>
                </a:tc>
                <a:tc>
                  <a:txBody>
                    <a:bodyPr/>
                    <a:lstStyle/>
                    <a:p>
                      <a:pPr algn="r" fontAlgn="b"/>
                      <a:r>
                        <a:rPr lang="en-IN" sz="1100" b="0" u="none" strike="noStrike" dirty="0">
                          <a:solidFill>
                            <a:srgbClr val="000000"/>
                          </a:solidFill>
                          <a:effectLst/>
                        </a:rPr>
                        <a:t>0.49</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5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54</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5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52</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5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59</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6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a:solidFill>
                            <a:srgbClr val="000000"/>
                          </a:solidFill>
                          <a:effectLst/>
                        </a:rPr>
                        <a:t>0.6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68</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69</a:t>
                      </a:r>
                      <a:endParaRPr lang="en-IN" sz="1100" b="0" i="0" u="none" strike="noStrike" dirty="0">
                        <a:solidFill>
                          <a:srgbClr val="000000"/>
                        </a:solidFill>
                        <a:effectLst/>
                        <a:latin typeface="Cambria" panose="02040503050406030204" pitchFamily="18" charset="0"/>
                      </a:endParaRPr>
                    </a:p>
                  </a:txBody>
                  <a:tcPr marL="9525" marR="9525" marT="9525" marB="0" anchor="ctr"/>
                </a:tc>
                <a:extLst>
                  <a:ext uri="{0D108BD9-81ED-4DB2-BD59-A6C34878D82A}">
                    <a16:rowId xmlns:a16="http://schemas.microsoft.com/office/drawing/2014/main" val="587225213"/>
                  </a:ext>
                </a:extLst>
              </a:tr>
              <a:tr h="263123">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Others</a:t>
                      </a:r>
                    </a:p>
                  </a:txBody>
                  <a:tcPr marL="9525" marR="9525" marT="9525" marB="0" anchor="ctr"/>
                </a:tc>
                <a:tc>
                  <a:txBody>
                    <a:bodyPr/>
                    <a:lstStyle/>
                    <a:p>
                      <a:pPr algn="r" fontAlgn="b"/>
                      <a:r>
                        <a:rPr lang="en-IN" sz="1100" b="0" u="none" strike="noStrike" dirty="0">
                          <a:solidFill>
                            <a:srgbClr val="000000"/>
                          </a:solidFill>
                          <a:effectLst/>
                        </a:rPr>
                        <a:t>0.88</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71</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8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8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97</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91</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89</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89</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91</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88</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97</a:t>
                      </a:r>
                      <a:endParaRPr lang="en-IN" sz="1100" b="0" i="0" u="none" strike="noStrike" dirty="0">
                        <a:solidFill>
                          <a:srgbClr val="000000"/>
                        </a:solidFill>
                        <a:effectLst/>
                        <a:latin typeface="Cambria" panose="02040503050406030204" pitchFamily="18" charset="0"/>
                      </a:endParaRPr>
                    </a:p>
                  </a:txBody>
                  <a:tcPr marL="9525" marR="9525" marT="9525" marB="0" anchor="ctr"/>
                </a:tc>
                <a:extLst>
                  <a:ext uri="{0D108BD9-81ED-4DB2-BD59-A6C34878D82A}">
                    <a16:rowId xmlns:a16="http://schemas.microsoft.com/office/drawing/2014/main" val="1631373380"/>
                  </a:ext>
                </a:extLst>
              </a:tr>
            </a:tbl>
          </a:graphicData>
        </a:graphic>
      </p:graphicFrame>
      <p:sp>
        <p:nvSpPr>
          <p:cNvPr id="12" name="TextBox 11">
            <a:extLst>
              <a:ext uri="{FF2B5EF4-FFF2-40B4-BE49-F238E27FC236}">
                <a16:creationId xmlns:a16="http://schemas.microsoft.com/office/drawing/2014/main" id="{FD60A3A7-45C6-4FD3-A8CC-D9947299CC04}"/>
              </a:ext>
            </a:extLst>
          </p:cNvPr>
          <p:cNvSpPr txBox="1"/>
          <p:nvPr/>
        </p:nvSpPr>
        <p:spPr>
          <a:xfrm>
            <a:off x="5897217" y="3718455"/>
            <a:ext cx="2827683"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 name="TextBox 8">
            <a:extLst>
              <a:ext uri="{FF2B5EF4-FFF2-40B4-BE49-F238E27FC236}">
                <a16:creationId xmlns:a16="http://schemas.microsoft.com/office/drawing/2014/main" id="{644F5E05-F5FF-494E-8B36-011811BCC34F}"/>
              </a:ext>
            </a:extLst>
          </p:cNvPr>
          <p:cNvSpPr txBox="1"/>
          <p:nvPr/>
        </p:nvSpPr>
        <p:spPr>
          <a:xfrm>
            <a:off x="6006075" y="6396345"/>
            <a:ext cx="2827683"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16529357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Malaysia Trade Dynamics</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3" name="TextBox 2">
            <a:extLst>
              <a:ext uri="{FF2B5EF4-FFF2-40B4-BE49-F238E27FC236}">
                <a16:creationId xmlns:a16="http://schemas.microsoft.com/office/drawing/2014/main" id="{794C340A-1814-458C-B951-A36DE5B0742F}"/>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5: Malaysia Copper Sulphate Import</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16-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5" name="Chart 4">
            <a:extLst>
              <a:ext uri="{FF2B5EF4-FFF2-40B4-BE49-F238E27FC236}">
                <a16:creationId xmlns:a16="http://schemas.microsoft.com/office/drawing/2014/main" id="{74BC5EE8-859E-4E5F-AE1A-FEDD45EE9107}"/>
              </a:ext>
            </a:extLst>
          </p:cNvPr>
          <p:cNvGraphicFramePr/>
          <p:nvPr>
            <p:extLst>
              <p:ext uri="{D42A27DB-BD31-4B8C-83A1-F6EECF244321}">
                <p14:modId xmlns:p14="http://schemas.microsoft.com/office/powerpoint/2010/main" val="651721477"/>
              </p:ext>
            </p:extLst>
          </p:nvPr>
        </p:nvGraphicFramePr>
        <p:xfrm>
          <a:off x="222309" y="1329121"/>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17E47EF-C5A1-4800-89D3-CAB8953BE22A}"/>
              </a:ext>
            </a:extLst>
          </p:cNvPr>
          <p:cNvSpPr txBox="1"/>
          <p:nvPr/>
        </p:nvSpPr>
        <p:spPr>
          <a:xfrm>
            <a:off x="6154275" y="310496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8" name="TextBox 13">
            <a:extLst>
              <a:ext uri="{FF2B5EF4-FFF2-40B4-BE49-F238E27FC236}">
                <a16:creationId xmlns:a16="http://schemas.microsoft.com/office/drawing/2014/main" id="{4E8B964E-7F89-4C16-A308-B38A1846CF29}"/>
              </a:ext>
            </a:extLst>
          </p:cNvPr>
          <p:cNvSpPr txBox="1"/>
          <p:nvPr/>
        </p:nvSpPr>
        <p:spPr>
          <a:xfrm>
            <a:off x="214086" y="3581566"/>
            <a:ext cx="4270912" cy="52290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US" sz="1000" b="1" kern="0" dirty="0">
                <a:latin typeface="Verdana" panose="020B0604030504040204" pitchFamily="34" charset="0"/>
                <a:ea typeface="Verdana" panose="020B0604030504040204" pitchFamily="34" charset="0"/>
                <a:cs typeface="Verdana" panose="020B0604030504040204" pitchFamily="34" charset="0"/>
              </a:rPr>
              <a:t>Malaysia Herbicide Consumption, (Kilo </a:t>
            </a:r>
            <a:r>
              <a:rPr lang="en-US" sz="1000" b="1" kern="0" dirty="0" err="1">
                <a:latin typeface="Verdana" panose="020B0604030504040204" pitchFamily="34" charset="0"/>
                <a:ea typeface="Verdana" panose="020B0604030504040204" pitchFamily="34" charset="0"/>
                <a:cs typeface="Verdana" panose="020B0604030504040204" pitchFamily="34" charset="0"/>
              </a:rPr>
              <a:t>Tonnes</a:t>
            </a:r>
            <a:r>
              <a:rPr lang="en-US" sz="1000" b="1" kern="0" dirty="0">
                <a:latin typeface="Verdana" panose="020B0604030504040204" pitchFamily="34" charset="0"/>
                <a:ea typeface="Verdana" panose="020B0604030504040204" pitchFamily="34" charset="0"/>
                <a:cs typeface="Verdana" panose="020B0604030504040204" pitchFamily="34" charset="0"/>
              </a:rPr>
              <a:t>), 2015- 2019 </a:t>
            </a: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sp>
        <p:nvSpPr>
          <p:cNvPr id="10" name="TextBox 9">
            <a:extLst>
              <a:ext uri="{FF2B5EF4-FFF2-40B4-BE49-F238E27FC236}">
                <a16:creationId xmlns:a16="http://schemas.microsoft.com/office/drawing/2014/main" id="{F3AD8558-F689-403A-BFD0-73A448FFD485}"/>
              </a:ext>
            </a:extLst>
          </p:cNvPr>
          <p:cNvSpPr txBox="1"/>
          <p:nvPr/>
        </p:nvSpPr>
        <p:spPr>
          <a:xfrm>
            <a:off x="3004501" y="6278162"/>
            <a:ext cx="1139869"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FAO Stats </a:t>
            </a:r>
          </a:p>
        </p:txBody>
      </p:sp>
      <p:sp>
        <p:nvSpPr>
          <p:cNvPr id="13" name="TextBox 13">
            <a:extLst>
              <a:ext uri="{FF2B5EF4-FFF2-40B4-BE49-F238E27FC236}">
                <a16:creationId xmlns:a16="http://schemas.microsoft.com/office/drawing/2014/main" id="{22B93B88-584E-4396-8A76-615732453C3B}"/>
              </a:ext>
            </a:extLst>
          </p:cNvPr>
          <p:cNvSpPr txBox="1"/>
          <p:nvPr/>
        </p:nvSpPr>
        <p:spPr>
          <a:xfrm>
            <a:off x="4484998" y="3571562"/>
            <a:ext cx="4270912" cy="7537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IN" sz="1000" b="1" kern="0" dirty="0">
                <a:latin typeface="Verdana" panose="020B0604030504040204" pitchFamily="34" charset="0"/>
                <a:ea typeface="Verdana" panose="020B0604030504040204" pitchFamily="34" charset="0"/>
                <a:cs typeface="Verdana" panose="020B0604030504040204" pitchFamily="34" charset="0"/>
              </a:rPr>
              <a:t> </a:t>
            </a:r>
            <a:r>
              <a:rPr lang="en-US" sz="1000" b="1" kern="0" dirty="0">
                <a:latin typeface="Verdana" panose="020B0604030504040204" pitchFamily="34" charset="0"/>
                <a:ea typeface="Verdana" panose="020B0604030504040204" pitchFamily="34" charset="0"/>
                <a:cs typeface="Verdana" panose="020B0604030504040204" pitchFamily="34" charset="0"/>
              </a:rPr>
              <a:t>Top 5 Exporting Countries to Malaysia, By Volume Copper Sulphate, 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kern="0" dirty="0">
              <a:latin typeface="Verdana" panose="020B0604030504040204" pitchFamily="34" charset="0"/>
              <a:ea typeface="Verdana" panose="020B0604030504040204" pitchFamily="34" charset="0"/>
              <a:cs typeface="Verdana" panose="020B0604030504040204" pitchFamily="34" charset="0"/>
            </a:endParaRPr>
          </a:p>
          <a:p>
            <a:pPr>
              <a:lnSpc>
                <a:spcPct val="150000"/>
              </a:lnSpc>
              <a:defRPr/>
            </a:pP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Table 14">
            <a:extLst>
              <a:ext uri="{FF2B5EF4-FFF2-40B4-BE49-F238E27FC236}">
                <a16:creationId xmlns:a16="http://schemas.microsoft.com/office/drawing/2014/main" id="{7C46207C-8FD8-461D-B07D-E8A4DC575455}"/>
              </a:ext>
            </a:extLst>
          </p:cNvPr>
          <p:cNvGraphicFramePr>
            <a:graphicFrameLocks noGrp="1"/>
          </p:cNvGraphicFramePr>
          <p:nvPr>
            <p:extLst>
              <p:ext uri="{D42A27DB-BD31-4B8C-83A1-F6EECF244321}">
                <p14:modId xmlns:p14="http://schemas.microsoft.com/office/powerpoint/2010/main" val="2464858226"/>
              </p:ext>
            </p:extLst>
          </p:nvPr>
        </p:nvGraphicFramePr>
        <p:xfrm>
          <a:off x="4605499" y="4309742"/>
          <a:ext cx="3858500" cy="1772142"/>
        </p:xfrm>
        <a:graphic>
          <a:graphicData uri="http://schemas.openxmlformats.org/drawingml/2006/table">
            <a:tbl>
              <a:tblPr>
                <a:tableStyleId>{3B4B98B0-60AC-42C2-AFA5-B58CD77FA1E5}</a:tableStyleId>
              </a:tblPr>
              <a:tblGrid>
                <a:gridCol w="1929250">
                  <a:extLst>
                    <a:ext uri="{9D8B030D-6E8A-4147-A177-3AD203B41FA5}">
                      <a16:colId xmlns:a16="http://schemas.microsoft.com/office/drawing/2014/main" val="435593215"/>
                    </a:ext>
                  </a:extLst>
                </a:gridCol>
                <a:gridCol w="1929250">
                  <a:extLst>
                    <a:ext uri="{9D8B030D-6E8A-4147-A177-3AD203B41FA5}">
                      <a16:colId xmlns:a16="http://schemas.microsoft.com/office/drawing/2014/main" val="2622006846"/>
                    </a:ext>
                  </a:extLst>
                </a:gridCol>
              </a:tblGrid>
              <a:tr h="251797">
                <a:tc>
                  <a:txBody>
                    <a:bodyPr/>
                    <a:lstStyle/>
                    <a:p>
                      <a:pPr algn="l" fontAlgn="ctr"/>
                      <a:r>
                        <a:rPr lang="en-IN" sz="1000" b="1" u="none" strike="noStrike" dirty="0">
                          <a:effectLst/>
                          <a:latin typeface="Verdana" panose="020B0604030504040204" pitchFamily="34" charset="0"/>
                          <a:ea typeface="Verdana" panose="020B0604030504040204" pitchFamily="34" charset="0"/>
                          <a:cs typeface="Verdana" panose="020B0604030504040204" pitchFamily="34" charset="0"/>
                        </a:rPr>
                        <a:t>Sector</a:t>
                      </a:r>
                      <a:endPar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tc>
                <a:tc>
                  <a:txBody>
                    <a:bodyPr/>
                    <a:lstStyle/>
                    <a:p>
                      <a:pPr algn="ctr"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Volume (Kilo Tonnes)</a:t>
                      </a:r>
                    </a:p>
                  </a:txBody>
                  <a:tcPr marL="72000" marR="72000" marT="36000" marB="36000" anchor="ctr"/>
                </a:tc>
                <a:extLst>
                  <a:ext uri="{0D108BD9-81ED-4DB2-BD59-A6C34878D82A}">
                    <a16:rowId xmlns:a16="http://schemas.microsoft.com/office/drawing/2014/main" val="1798928573"/>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aiwan</a:t>
                      </a:r>
                    </a:p>
                  </a:txBody>
                  <a:tcPr marL="72000" marR="72000" marT="36000" marB="36000" anchor="ctr"/>
                </a:tc>
                <a:tc>
                  <a:txBody>
                    <a:bodyPr/>
                    <a:lstStyle/>
                    <a:p>
                      <a:pPr algn="ctr" fontAlgn="b"/>
                      <a:r>
                        <a:rPr lang="en-IN" sz="1100" b="0" i="0" u="none" strike="noStrike" dirty="0">
                          <a:solidFill>
                            <a:srgbClr val="000000"/>
                          </a:solidFill>
                          <a:effectLst/>
                          <a:latin typeface="Calibri" panose="020F0502020204030204" pitchFamily="34" charset="0"/>
                        </a:rPr>
                        <a:t>3.91</a:t>
                      </a:r>
                    </a:p>
                  </a:txBody>
                  <a:tcPr marL="0" marR="0" marT="0" marB="0" anchor="b"/>
                </a:tc>
                <a:extLst>
                  <a:ext uri="{0D108BD9-81ED-4DB2-BD59-A6C34878D82A}">
                    <a16:rowId xmlns:a16="http://schemas.microsoft.com/office/drawing/2014/main" val="338077485"/>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China</a:t>
                      </a:r>
                    </a:p>
                  </a:txBody>
                  <a:tcPr marL="72000" marR="72000" marT="36000" marB="36000" anchor="ctr"/>
                </a:tc>
                <a:tc>
                  <a:txBody>
                    <a:bodyPr/>
                    <a:lstStyle/>
                    <a:p>
                      <a:pPr algn="ctr" fontAlgn="b"/>
                      <a:r>
                        <a:rPr lang="en-IN" sz="1100" b="0" i="0" u="none" strike="noStrike" dirty="0">
                          <a:solidFill>
                            <a:srgbClr val="000000"/>
                          </a:solidFill>
                          <a:effectLst/>
                          <a:latin typeface="Calibri" panose="020F0502020204030204" pitchFamily="34" charset="0"/>
                        </a:rPr>
                        <a:t>1.02</a:t>
                      </a:r>
                    </a:p>
                  </a:txBody>
                  <a:tcPr marL="0" marR="0" marT="0" marB="0" anchor="b"/>
                </a:tc>
                <a:extLst>
                  <a:ext uri="{0D108BD9-81ED-4DB2-BD59-A6C34878D82A}">
                    <a16:rowId xmlns:a16="http://schemas.microsoft.com/office/drawing/2014/main" val="2375286502"/>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USA</a:t>
                      </a:r>
                    </a:p>
                  </a:txBody>
                  <a:tcPr marL="72000" marR="72000" marT="36000" marB="36000" anchor="ctr"/>
                </a:tc>
                <a:tc>
                  <a:txBody>
                    <a:bodyPr/>
                    <a:lstStyle/>
                    <a:p>
                      <a:pPr algn="ctr" fontAlgn="b"/>
                      <a:r>
                        <a:rPr lang="en-IN" sz="1100" b="0" i="0" u="none" strike="noStrike" dirty="0">
                          <a:solidFill>
                            <a:srgbClr val="000000"/>
                          </a:solidFill>
                          <a:effectLst/>
                          <a:latin typeface="Calibri" panose="020F0502020204030204" pitchFamily="34" charset="0"/>
                        </a:rPr>
                        <a:t>0.58</a:t>
                      </a:r>
                    </a:p>
                  </a:txBody>
                  <a:tcPr marL="0" marR="0" marT="0" marB="0" anchor="b"/>
                </a:tc>
                <a:extLst>
                  <a:ext uri="{0D108BD9-81ED-4DB2-BD59-A6C34878D82A}">
                    <a16:rowId xmlns:a16="http://schemas.microsoft.com/office/drawing/2014/main" val="3377895310"/>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Russia</a:t>
                      </a:r>
                    </a:p>
                  </a:txBody>
                  <a:tcPr marL="72000" marR="72000" marT="36000" marB="36000" anchor="ctr"/>
                </a:tc>
                <a:tc>
                  <a:txBody>
                    <a:bodyPr/>
                    <a:lstStyle/>
                    <a:p>
                      <a:pPr algn="ctr" fontAlgn="b"/>
                      <a:r>
                        <a:rPr lang="en-IN" sz="1100" b="0" i="0" u="none" strike="noStrike" dirty="0">
                          <a:solidFill>
                            <a:srgbClr val="000000"/>
                          </a:solidFill>
                          <a:effectLst/>
                          <a:latin typeface="Calibri" panose="020F0502020204030204" pitchFamily="34" charset="0"/>
                        </a:rPr>
                        <a:t>0.18</a:t>
                      </a:r>
                    </a:p>
                  </a:txBody>
                  <a:tcPr marL="0" marR="0" marT="0" marB="0" anchor="b"/>
                </a:tc>
                <a:extLst>
                  <a:ext uri="{0D108BD9-81ED-4DB2-BD59-A6C34878D82A}">
                    <a16:rowId xmlns:a16="http://schemas.microsoft.com/office/drawing/2014/main" val="2952825168"/>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South Korea</a:t>
                      </a:r>
                    </a:p>
                  </a:txBody>
                  <a:tcPr marL="72000" marR="72000" marT="36000" marB="36000" anchor="ctr"/>
                </a:tc>
                <a:tc>
                  <a:txBody>
                    <a:bodyPr/>
                    <a:lstStyle/>
                    <a:p>
                      <a:pPr algn="ctr" fontAlgn="b"/>
                      <a:r>
                        <a:rPr lang="en-IN" sz="1100" b="0" i="0" u="none" strike="noStrike" dirty="0">
                          <a:solidFill>
                            <a:srgbClr val="000000"/>
                          </a:solidFill>
                          <a:effectLst/>
                          <a:latin typeface="Calibri" panose="020F0502020204030204" pitchFamily="34" charset="0"/>
                        </a:rPr>
                        <a:t>0.17</a:t>
                      </a:r>
                    </a:p>
                  </a:txBody>
                  <a:tcPr marL="0" marR="0" marT="0" marB="0" anchor="b"/>
                </a:tc>
                <a:extLst>
                  <a:ext uri="{0D108BD9-81ED-4DB2-BD59-A6C34878D82A}">
                    <a16:rowId xmlns:a16="http://schemas.microsoft.com/office/drawing/2014/main" val="3292385393"/>
                  </a:ext>
                </a:extLst>
              </a:tr>
            </a:tbl>
          </a:graphicData>
        </a:graphic>
      </p:graphicFrame>
      <p:sp>
        <p:nvSpPr>
          <p:cNvPr id="16" name="TextBox 15">
            <a:extLst>
              <a:ext uri="{FF2B5EF4-FFF2-40B4-BE49-F238E27FC236}">
                <a16:creationId xmlns:a16="http://schemas.microsoft.com/office/drawing/2014/main" id="{5494065C-E459-4D86-A71A-C6EF631296F8}"/>
              </a:ext>
            </a:extLst>
          </p:cNvPr>
          <p:cNvSpPr txBox="1"/>
          <p:nvPr/>
        </p:nvSpPr>
        <p:spPr>
          <a:xfrm>
            <a:off x="6006954" y="6249980"/>
            <a:ext cx="2544697"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lang="en-IN" dirty="0">
                <a:solidFill>
                  <a:prstClr val="white">
                    <a:lumMod val="50000"/>
                  </a:prstClr>
                </a:solidFill>
              </a:rPr>
              <a:t> ITC Data</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7" name="Chart 16">
            <a:extLst>
              <a:ext uri="{FF2B5EF4-FFF2-40B4-BE49-F238E27FC236}">
                <a16:creationId xmlns:a16="http://schemas.microsoft.com/office/drawing/2014/main" id="{1CACFCC9-EC08-493A-9711-EF43B82DB8C8}"/>
              </a:ext>
            </a:extLst>
          </p:cNvPr>
          <p:cNvGraphicFramePr/>
          <p:nvPr>
            <p:extLst>
              <p:ext uri="{D42A27DB-BD31-4B8C-83A1-F6EECF244321}">
                <p14:modId xmlns:p14="http://schemas.microsoft.com/office/powerpoint/2010/main" val="2779812509"/>
              </p:ext>
            </p:extLst>
          </p:nvPr>
        </p:nvGraphicFramePr>
        <p:xfrm>
          <a:off x="138428" y="4124075"/>
          <a:ext cx="4346570" cy="207621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2431240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75D31631-046C-49F0-AF4D-23981686B626}"/>
              </a:ext>
            </a:extLst>
          </p:cNvPr>
          <p:cNvGrpSpPr/>
          <p:nvPr/>
        </p:nvGrpSpPr>
        <p:grpSpPr>
          <a:xfrm>
            <a:off x="385816" y="1134502"/>
            <a:ext cx="4158053" cy="378905"/>
            <a:chOff x="222392" y="286"/>
            <a:chExt cx="1828512" cy="1097107"/>
          </a:xfrm>
          <a:scene3d>
            <a:camera prst="orthographicFront">
              <a:rot lat="0" lon="0" rev="0"/>
            </a:camera>
            <a:lightRig rig="balanced" dir="t">
              <a:rot lat="0" lon="0" rev="8700000"/>
            </a:lightRig>
          </a:scene3d>
        </p:grpSpPr>
        <p:sp>
          <p:nvSpPr>
            <p:cNvPr id="30" name="Rectangle 29">
              <a:extLst>
                <a:ext uri="{FF2B5EF4-FFF2-40B4-BE49-F238E27FC236}">
                  <a16:creationId xmlns:a16="http://schemas.microsoft.com/office/drawing/2014/main" id="{BC7B5B2D-2C3E-4817-AC05-8A1077CBC2C2}"/>
                </a:ext>
              </a:extLst>
            </p:cNvPr>
            <p:cNvSpPr/>
            <p:nvPr/>
          </p:nvSpPr>
          <p:spPr>
            <a:xfrm>
              <a:off x="222392" y="286"/>
              <a:ext cx="1828512" cy="1097107"/>
            </a:xfrm>
            <a:prstGeom prst="rect">
              <a:avLst/>
            </a:prstGeom>
            <a:solidFill>
              <a:schemeClr val="tx1">
                <a:lumMod val="50000"/>
                <a:lumOff val="50000"/>
              </a:schemeClr>
            </a:solidFill>
            <a:ln>
              <a:noFill/>
            </a:ln>
            <a:effectLst>
              <a:outerShdw blurRad="44450" dist="27940" dir="5400000" algn="ctr">
                <a:srgbClr val="000000">
                  <a:alpha val="32000"/>
                </a:srgbClr>
              </a:outerShdw>
            </a:effectLst>
            <a:sp3d>
              <a:bevelT w="190500" h="38100"/>
            </a:sp3d>
          </p:spPr>
          <p:style>
            <a:lnRef idx="0">
              <a:schemeClr val="dk2">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2">
                <a:hueOff val="0"/>
                <a:satOff val="0"/>
                <a:lumOff val="0"/>
                <a:alphaOff val="0"/>
              </a:schemeClr>
            </a:fontRef>
          </p:style>
        </p:sp>
        <p:sp>
          <p:nvSpPr>
            <p:cNvPr id="31" name="TextBox 30">
              <a:extLst>
                <a:ext uri="{FF2B5EF4-FFF2-40B4-BE49-F238E27FC236}">
                  <a16:creationId xmlns:a16="http://schemas.microsoft.com/office/drawing/2014/main" id="{1A8A6335-1252-425B-B278-8634D4B2E4D9}"/>
                </a:ext>
              </a:extLst>
            </p:cNvPr>
            <p:cNvSpPr txBox="1"/>
            <p:nvPr/>
          </p:nvSpPr>
          <p:spPr>
            <a:xfrm>
              <a:off x="222392" y="286"/>
              <a:ext cx="1828512" cy="1097107"/>
            </a:xfrm>
            <a:prstGeom prst="rect">
              <a:avLst/>
            </a:prstGeom>
            <a:ln>
              <a:noFill/>
            </a:ln>
            <a:effectLst>
              <a:outerShdw blurRad="44450" dist="27940" dir="5400000" algn="ctr">
                <a:srgbClr val="000000">
                  <a:alpha val="32000"/>
                </a:srgbClr>
              </a:outerShdw>
            </a:effectLst>
            <a:sp3d>
              <a:bevelT w="190500" h="38100"/>
            </a:sp3d>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60960" tIns="60960" rIns="60960" bIns="60960" numCol="1" spcCol="1270" anchor="ctr" anchorCtr="0">
              <a:noAutofit/>
            </a:bodyPr>
            <a:lstStyle/>
            <a:p>
              <a:pPr algn="ctr" defTabSz="711200">
                <a:lnSpc>
                  <a:spcPct val="90000"/>
                </a:lnSpc>
                <a:spcBef>
                  <a:spcPct val="0"/>
                </a:spcBef>
                <a:spcAft>
                  <a:spcPct val="35000"/>
                </a:spcAft>
              </a:pPr>
              <a:r>
                <a:rPr lang="en-IN" sz="1600" b="1" dirty="0">
                  <a:solidFill>
                    <a:schemeClr val="bg1"/>
                  </a:solidFill>
                  <a:latin typeface="Calibri" panose="020F0502020204030204"/>
                </a:rPr>
                <a:t>Leading Companies / Brands in Malaysia</a:t>
              </a:r>
            </a:p>
          </p:txBody>
        </p:sp>
      </p:grpSp>
      <p:sp>
        <p:nvSpPr>
          <p:cNvPr id="6" name="Rectangle 5">
            <a:extLst>
              <a:ext uri="{FF2B5EF4-FFF2-40B4-BE49-F238E27FC236}">
                <a16:creationId xmlns:a16="http://schemas.microsoft.com/office/drawing/2014/main" id="{983A0455-0A23-42C1-A471-17813F6F36E5}"/>
              </a:ext>
            </a:extLst>
          </p:cNvPr>
          <p:cNvSpPr/>
          <p:nvPr/>
        </p:nvSpPr>
        <p:spPr>
          <a:xfrm>
            <a:off x="296596" y="914401"/>
            <a:ext cx="4373880" cy="5524501"/>
          </a:xfrm>
          <a:prstGeom prst="rect">
            <a:avLst/>
          </a:prstGeom>
          <a:noFill/>
          <a:ln w="19050">
            <a:solidFill>
              <a:schemeClr val="tx1">
                <a:lumMod val="50000"/>
                <a:lumOff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1" name="Group 10">
            <a:extLst>
              <a:ext uri="{FF2B5EF4-FFF2-40B4-BE49-F238E27FC236}">
                <a16:creationId xmlns:a16="http://schemas.microsoft.com/office/drawing/2014/main" id="{CD160E9B-4116-4FB8-9A71-86555CFBCE8D}"/>
              </a:ext>
            </a:extLst>
          </p:cNvPr>
          <p:cNvGrpSpPr/>
          <p:nvPr/>
        </p:nvGrpSpPr>
        <p:grpSpPr>
          <a:xfrm>
            <a:off x="4937759" y="923484"/>
            <a:ext cx="3384000" cy="1080000"/>
            <a:chOff x="4937759" y="951620"/>
            <a:chExt cx="3505692" cy="1228872"/>
          </a:xfrm>
        </p:grpSpPr>
        <p:sp>
          <p:nvSpPr>
            <p:cNvPr id="8" name="Arrow: Striped Right 7">
              <a:extLst>
                <a:ext uri="{FF2B5EF4-FFF2-40B4-BE49-F238E27FC236}">
                  <a16:creationId xmlns:a16="http://schemas.microsoft.com/office/drawing/2014/main" id="{03F6DBD7-5DC8-421A-855F-8CFD7F059AFB}"/>
                </a:ext>
              </a:extLst>
            </p:cNvPr>
            <p:cNvSpPr/>
            <p:nvPr/>
          </p:nvSpPr>
          <p:spPr>
            <a:xfrm>
              <a:off x="4937759" y="951620"/>
              <a:ext cx="1589650" cy="1228872"/>
            </a:xfrm>
            <a:prstGeom prst="striped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Competition Scenario</a:t>
              </a:r>
            </a:p>
          </p:txBody>
        </p:sp>
        <p:sp>
          <p:nvSpPr>
            <p:cNvPr id="9" name="Flowchart: Display 8">
              <a:extLst>
                <a:ext uri="{FF2B5EF4-FFF2-40B4-BE49-F238E27FC236}">
                  <a16:creationId xmlns:a16="http://schemas.microsoft.com/office/drawing/2014/main" id="{12D1CBAB-D90E-4665-B371-FEE05B7E2145}"/>
                </a:ext>
              </a:extLst>
            </p:cNvPr>
            <p:cNvSpPr/>
            <p:nvPr/>
          </p:nvSpPr>
          <p:spPr>
            <a:xfrm>
              <a:off x="6741260" y="1259732"/>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Low- Medium</a:t>
              </a:r>
            </a:p>
          </p:txBody>
        </p:sp>
      </p:grpSp>
      <p:grpSp>
        <p:nvGrpSpPr>
          <p:cNvPr id="12" name="Group 11">
            <a:extLst>
              <a:ext uri="{FF2B5EF4-FFF2-40B4-BE49-F238E27FC236}">
                <a16:creationId xmlns:a16="http://schemas.microsoft.com/office/drawing/2014/main" id="{4377EFB3-F0E4-49F5-AF73-CB70BF7D9913}"/>
              </a:ext>
            </a:extLst>
          </p:cNvPr>
          <p:cNvGrpSpPr/>
          <p:nvPr/>
        </p:nvGrpSpPr>
        <p:grpSpPr>
          <a:xfrm>
            <a:off x="4937759" y="2711813"/>
            <a:ext cx="3384000" cy="1080000"/>
            <a:chOff x="4937759" y="2856214"/>
            <a:chExt cx="3505692" cy="1228872"/>
          </a:xfrm>
        </p:grpSpPr>
        <p:sp>
          <p:nvSpPr>
            <p:cNvPr id="40" name="Arrow: Striped Right 39">
              <a:extLst>
                <a:ext uri="{FF2B5EF4-FFF2-40B4-BE49-F238E27FC236}">
                  <a16:creationId xmlns:a16="http://schemas.microsoft.com/office/drawing/2014/main" id="{F189F971-2700-4730-B3A4-9E51930D5C5F}"/>
                </a:ext>
              </a:extLst>
            </p:cNvPr>
            <p:cNvSpPr/>
            <p:nvPr/>
          </p:nvSpPr>
          <p:spPr>
            <a:xfrm>
              <a:off x="4937759" y="2856214"/>
              <a:ext cx="1589650" cy="1228872"/>
            </a:xfrm>
            <a:prstGeom prst="striped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Growth Prospects</a:t>
              </a:r>
            </a:p>
          </p:txBody>
        </p:sp>
        <p:sp>
          <p:nvSpPr>
            <p:cNvPr id="43" name="Flowchart: Display 42">
              <a:extLst>
                <a:ext uri="{FF2B5EF4-FFF2-40B4-BE49-F238E27FC236}">
                  <a16:creationId xmlns:a16="http://schemas.microsoft.com/office/drawing/2014/main" id="{31216467-3064-4594-A767-982E4397E2A3}"/>
                </a:ext>
              </a:extLst>
            </p:cNvPr>
            <p:cNvSpPr/>
            <p:nvPr/>
          </p:nvSpPr>
          <p:spPr>
            <a:xfrm>
              <a:off x="6741260" y="3145241"/>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grpSp>
        <p:nvGrpSpPr>
          <p:cNvPr id="21" name="Group 20">
            <a:extLst>
              <a:ext uri="{FF2B5EF4-FFF2-40B4-BE49-F238E27FC236}">
                <a16:creationId xmlns:a16="http://schemas.microsoft.com/office/drawing/2014/main" id="{5EB35027-976B-49DF-AD91-E37705947DC0}"/>
              </a:ext>
            </a:extLst>
          </p:cNvPr>
          <p:cNvGrpSpPr/>
          <p:nvPr/>
        </p:nvGrpSpPr>
        <p:grpSpPr>
          <a:xfrm>
            <a:off x="4937759" y="4718601"/>
            <a:ext cx="3384000" cy="1080000"/>
            <a:chOff x="4937759" y="4831145"/>
            <a:chExt cx="3505692" cy="1228872"/>
          </a:xfrm>
        </p:grpSpPr>
        <p:sp>
          <p:nvSpPr>
            <p:cNvPr id="41" name="Arrow: Striped Right 40">
              <a:extLst>
                <a:ext uri="{FF2B5EF4-FFF2-40B4-BE49-F238E27FC236}">
                  <a16:creationId xmlns:a16="http://schemas.microsoft.com/office/drawing/2014/main" id="{60E22D3C-00A0-4FF3-B3D8-642E45B8FCA4}"/>
                </a:ext>
              </a:extLst>
            </p:cNvPr>
            <p:cNvSpPr/>
            <p:nvPr/>
          </p:nvSpPr>
          <p:spPr>
            <a:xfrm>
              <a:off x="4937759" y="4831145"/>
              <a:ext cx="1589650" cy="1228872"/>
            </a:xfrm>
            <a:prstGeom prst="striped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Outlook</a:t>
              </a:r>
            </a:p>
          </p:txBody>
        </p:sp>
        <p:sp>
          <p:nvSpPr>
            <p:cNvPr id="44" name="Flowchart: Display 43">
              <a:extLst>
                <a:ext uri="{FF2B5EF4-FFF2-40B4-BE49-F238E27FC236}">
                  <a16:creationId xmlns:a16="http://schemas.microsoft.com/office/drawing/2014/main" id="{DF621444-198A-4395-A3D5-87383E1A01F4}"/>
                </a:ext>
              </a:extLst>
            </p:cNvPr>
            <p:cNvSpPr/>
            <p:nvPr/>
          </p:nvSpPr>
          <p:spPr>
            <a:xfrm>
              <a:off x="6741260" y="5139257"/>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sp>
        <p:nvSpPr>
          <p:cNvPr id="10" name="Rectangle 9">
            <a:extLst>
              <a:ext uri="{FF2B5EF4-FFF2-40B4-BE49-F238E27FC236}">
                <a16:creationId xmlns:a16="http://schemas.microsoft.com/office/drawing/2014/main" id="{8BD34E69-CF39-424D-9DE9-2F73E555B95A}"/>
              </a:ext>
            </a:extLst>
          </p:cNvPr>
          <p:cNvSpPr/>
          <p:nvPr/>
        </p:nvSpPr>
        <p:spPr>
          <a:xfrm>
            <a:off x="4937759" y="1989510"/>
            <a:ext cx="3874937" cy="626775"/>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There are only a few players present in the Malaysia Copper Sulphate Market. Majority of the country’s Copper Sulphate demand is met from Chinese players.</a:t>
            </a:r>
          </a:p>
        </p:txBody>
      </p:sp>
      <p:sp>
        <p:nvSpPr>
          <p:cNvPr id="46" name="Rectangle 45">
            <a:extLst>
              <a:ext uri="{FF2B5EF4-FFF2-40B4-BE49-F238E27FC236}">
                <a16:creationId xmlns:a16="http://schemas.microsoft.com/office/drawing/2014/main" id="{9C10E17B-1F3D-427B-8DCC-335C7785DD5F}"/>
              </a:ext>
            </a:extLst>
          </p:cNvPr>
          <p:cNvSpPr/>
          <p:nvPr/>
        </p:nvSpPr>
        <p:spPr>
          <a:xfrm>
            <a:off x="4937758" y="3798353"/>
            <a:ext cx="3927946" cy="996107"/>
          </a:xfrm>
          <a:prstGeom prst="rect">
            <a:avLst/>
          </a:prstGeom>
        </p:spPr>
        <p:txBody>
          <a:bodyPr wrap="square">
            <a:spAutoFit/>
          </a:bodyPr>
          <a:lstStyle/>
          <a:p>
            <a:pPr algn="just">
              <a:lnSpc>
                <a:spcPct val="120000"/>
              </a:lnSpc>
              <a:spcBef>
                <a:spcPts val="400"/>
              </a:spcBef>
              <a:spcAft>
                <a:spcPts val="400"/>
              </a:spcAft>
            </a:pPr>
            <a:r>
              <a:rPr lang="en-IN"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Around 60% of the country’s demand is met through imports. The government’s initiatives to increase  agricultural and animal husbandry products are expected to create a surge in the demand for Copper Sulphate during the forecast period.</a:t>
            </a:r>
            <a:endPar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0" name="Rectangle 49">
            <a:extLst>
              <a:ext uri="{FF2B5EF4-FFF2-40B4-BE49-F238E27FC236}">
                <a16:creationId xmlns:a16="http://schemas.microsoft.com/office/drawing/2014/main" id="{C2530AFD-4B7D-4A00-9782-D6D451550390}"/>
              </a:ext>
            </a:extLst>
          </p:cNvPr>
          <p:cNvSpPr/>
          <p:nvPr/>
        </p:nvSpPr>
        <p:spPr>
          <a:xfrm>
            <a:off x="4911896" y="5679333"/>
            <a:ext cx="3887547" cy="996107"/>
          </a:xfrm>
          <a:prstGeom prst="rect">
            <a:avLst/>
          </a:prstGeom>
        </p:spPr>
        <p:txBody>
          <a:bodyPr wrap="square">
            <a:spAutoFit/>
          </a:bodyPr>
          <a:lstStyle/>
          <a:p>
            <a:pPr algn="just">
              <a:lnSpc>
                <a:spcPct val="120000"/>
              </a:lnSpc>
              <a:spcBef>
                <a:spcPts val="400"/>
              </a:spcBef>
              <a:spcAft>
                <a:spcPts val="400"/>
              </a:spcAft>
            </a:pPr>
            <a:r>
              <a:rPr lang="en-IN"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Malaysia’s National </a:t>
            </a:r>
            <a:r>
              <a:rPr lang="en-IN" sz="10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Agro</a:t>
            </a:r>
            <a:r>
              <a:rPr lang="en-IN"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Food Policy focuses on areas such as Agriculture, Fisheries and Livestock. The growth in these end use products are anticipated to increase the Malaysia copper sulphate market’s volume with a CAGR of 4.59%.   </a:t>
            </a:r>
            <a:endPar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5" name="Title 1">
            <a:extLst>
              <a:ext uri="{FF2B5EF4-FFF2-40B4-BE49-F238E27FC236}">
                <a16:creationId xmlns:a16="http://schemas.microsoft.com/office/drawing/2014/main" id="{F6F4C119-0EA0-4DC7-BC95-465085749DF1}"/>
              </a:ext>
            </a:extLst>
          </p:cNvPr>
          <p:cNvSpPr txBox="1">
            <a:spLocks/>
          </p:cNvSpPr>
          <p:nvPr/>
        </p:nvSpPr>
        <p:spPr>
          <a:xfrm>
            <a:off x="42204" y="164731"/>
            <a:ext cx="3751028" cy="301814"/>
          </a:xfrm>
          <a:prstGeom prst="rect">
            <a:avLst/>
          </a:prstGeom>
          <a:noFill/>
        </p:spPr>
        <p:txBody>
          <a:bodyPr vert="horz" wrap="square" lIns="91440" tIns="45720" rIns="91440" bIns="45720" rtlCol="0" anchor="ctr">
            <a:spAutoFit/>
          </a:bodyPr>
          <a:lstStyle>
            <a:defPPr>
              <a:defRPr lang="en-US"/>
            </a:defPPr>
            <a:lvl1pPr marR="0" lvl="0" indent="0" defTabSz="45720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 Competition Outlook in Malaysia</a:t>
            </a:r>
          </a:p>
        </p:txBody>
      </p:sp>
      <p:pic>
        <p:nvPicPr>
          <p:cNvPr id="3" name="Picture 2">
            <a:extLst>
              <a:ext uri="{FF2B5EF4-FFF2-40B4-BE49-F238E27FC236}">
                <a16:creationId xmlns:a16="http://schemas.microsoft.com/office/drawing/2014/main" id="{0A9416C3-3650-457A-9080-9822D1615F02}"/>
              </a:ext>
            </a:extLst>
          </p:cNvPr>
          <p:cNvPicPr>
            <a:picLocks noChangeAspect="1"/>
          </p:cNvPicPr>
          <p:nvPr/>
        </p:nvPicPr>
        <p:blipFill>
          <a:blip r:embed="rId2"/>
          <a:stretch>
            <a:fillRect/>
          </a:stretch>
        </p:blipFill>
        <p:spPr>
          <a:xfrm>
            <a:off x="378964" y="1654592"/>
            <a:ext cx="2079400" cy="860150"/>
          </a:xfrm>
          <a:prstGeom prst="rect">
            <a:avLst/>
          </a:prstGeom>
        </p:spPr>
      </p:pic>
      <p:pic>
        <p:nvPicPr>
          <p:cNvPr id="13" name="Picture 12">
            <a:extLst>
              <a:ext uri="{FF2B5EF4-FFF2-40B4-BE49-F238E27FC236}">
                <a16:creationId xmlns:a16="http://schemas.microsoft.com/office/drawing/2014/main" id="{8BD58F4D-3D16-4F24-9C2A-FBBFA57E2F22}"/>
              </a:ext>
            </a:extLst>
          </p:cNvPr>
          <p:cNvPicPr>
            <a:picLocks noChangeAspect="1"/>
          </p:cNvPicPr>
          <p:nvPr/>
        </p:nvPicPr>
        <p:blipFill>
          <a:blip r:embed="rId3"/>
          <a:stretch>
            <a:fillRect/>
          </a:stretch>
        </p:blipFill>
        <p:spPr>
          <a:xfrm>
            <a:off x="675629" y="3182069"/>
            <a:ext cx="970877" cy="983664"/>
          </a:xfrm>
          <a:prstGeom prst="rect">
            <a:avLst/>
          </a:prstGeom>
        </p:spPr>
      </p:pic>
      <p:pic>
        <p:nvPicPr>
          <p:cNvPr id="17" name="Picture 16">
            <a:extLst>
              <a:ext uri="{FF2B5EF4-FFF2-40B4-BE49-F238E27FC236}">
                <a16:creationId xmlns:a16="http://schemas.microsoft.com/office/drawing/2014/main" id="{B7ACDD8F-74FC-4480-95D8-53943F4E1657}"/>
              </a:ext>
            </a:extLst>
          </p:cNvPr>
          <p:cNvPicPr>
            <a:picLocks noChangeAspect="1"/>
          </p:cNvPicPr>
          <p:nvPr/>
        </p:nvPicPr>
        <p:blipFill>
          <a:blip r:embed="rId4"/>
          <a:stretch>
            <a:fillRect/>
          </a:stretch>
        </p:blipFill>
        <p:spPr>
          <a:xfrm>
            <a:off x="2613164" y="3537704"/>
            <a:ext cx="1419225" cy="752475"/>
          </a:xfrm>
          <a:prstGeom prst="rect">
            <a:avLst/>
          </a:prstGeom>
        </p:spPr>
      </p:pic>
      <p:pic>
        <p:nvPicPr>
          <p:cNvPr id="20" name="Picture 19">
            <a:extLst>
              <a:ext uri="{FF2B5EF4-FFF2-40B4-BE49-F238E27FC236}">
                <a16:creationId xmlns:a16="http://schemas.microsoft.com/office/drawing/2014/main" id="{79CDFE78-F319-41F1-B508-6C547668AA06}"/>
              </a:ext>
            </a:extLst>
          </p:cNvPr>
          <p:cNvPicPr>
            <a:picLocks noChangeAspect="1"/>
          </p:cNvPicPr>
          <p:nvPr/>
        </p:nvPicPr>
        <p:blipFill>
          <a:blip r:embed="rId5"/>
          <a:stretch>
            <a:fillRect/>
          </a:stretch>
        </p:blipFill>
        <p:spPr>
          <a:xfrm>
            <a:off x="2673252" y="1859427"/>
            <a:ext cx="1832486" cy="986618"/>
          </a:xfrm>
          <a:prstGeom prst="rect">
            <a:avLst/>
          </a:prstGeom>
        </p:spPr>
      </p:pic>
      <p:pic>
        <p:nvPicPr>
          <p:cNvPr id="38" name="Picture 37">
            <a:extLst>
              <a:ext uri="{FF2B5EF4-FFF2-40B4-BE49-F238E27FC236}">
                <a16:creationId xmlns:a16="http://schemas.microsoft.com/office/drawing/2014/main" id="{B97FA636-F102-4D3F-ACD8-893DE41A2F22}"/>
              </a:ext>
            </a:extLst>
          </p:cNvPr>
          <p:cNvPicPr>
            <a:picLocks noChangeAspect="1"/>
          </p:cNvPicPr>
          <p:nvPr/>
        </p:nvPicPr>
        <p:blipFill>
          <a:blip r:embed="rId6"/>
          <a:stretch>
            <a:fillRect/>
          </a:stretch>
        </p:blipFill>
        <p:spPr>
          <a:xfrm>
            <a:off x="1275445" y="4935632"/>
            <a:ext cx="1733549" cy="581417"/>
          </a:xfrm>
          <a:prstGeom prst="rect">
            <a:avLst/>
          </a:prstGeom>
        </p:spPr>
      </p:pic>
    </p:spTree>
    <p:extLst>
      <p:ext uri="{BB962C8B-B14F-4D97-AF65-F5344CB8AC3E}">
        <p14:creationId xmlns:p14="http://schemas.microsoft.com/office/powerpoint/2010/main" val="408728018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6B1D01B8-32F7-47CA-AEE2-F21C067B30D7}"/>
              </a:ext>
            </a:extLst>
          </p:cNvPr>
          <p:cNvSpPr/>
          <p:nvPr/>
        </p:nvSpPr>
        <p:spPr>
          <a:xfrm>
            <a:off x="0" y="754379"/>
            <a:ext cx="6032500" cy="1083212"/>
          </a:xfrm>
          <a:custGeom>
            <a:avLst/>
            <a:gdLst>
              <a:gd name="connsiteX0" fmla="*/ 0 w 6032500"/>
              <a:gd name="connsiteY0" fmla="*/ 0 h 1083212"/>
              <a:gd name="connsiteX1" fmla="*/ 6032500 w 6032500"/>
              <a:gd name="connsiteY1" fmla="*/ 0 h 1083212"/>
              <a:gd name="connsiteX2" fmla="*/ 6032500 w 6032500"/>
              <a:gd name="connsiteY2" fmla="*/ 1083212 h 1083212"/>
              <a:gd name="connsiteX3" fmla="*/ 0 w 6032500"/>
              <a:gd name="connsiteY3" fmla="*/ 1083212 h 1083212"/>
              <a:gd name="connsiteX4" fmla="*/ 0 w 6032500"/>
              <a:gd name="connsiteY4" fmla="*/ 0 h 1083212"/>
              <a:gd name="connsiteX0" fmla="*/ 0 w 6032500"/>
              <a:gd name="connsiteY0" fmla="*/ 0 h 1083212"/>
              <a:gd name="connsiteX1" fmla="*/ 6032500 w 6032500"/>
              <a:gd name="connsiteY1" fmla="*/ 0 h 1083212"/>
              <a:gd name="connsiteX2" fmla="*/ 5526063 w 6032500"/>
              <a:gd name="connsiteY2" fmla="*/ 1083212 h 1083212"/>
              <a:gd name="connsiteX3" fmla="*/ 0 w 6032500"/>
              <a:gd name="connsiteY3" fmla="*/ 1083212 h 1083212"/>
              <a:gd name="connsiteX4" fmla="*/ 0 w 6032500"/>
              <a:gd name="connsiteY4" fmla="*/ 0 h 108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0" h="1083212">
                <a:moveTo>
                  <a:pt x="0" y="0"/>
                </a:moveTo>
                <a:lnTo>
                  <a:pt x="6032500" y="0"/>
                </a:lnTo>
                <a:lnTo>
                  <a:pt x="5526063" y="1083212"/>
                </a:lnTo>
                <a:lnTo>
                  <a:pt x="0" y="1083212"/>
                </a:lnTo>
                <a:lnTo>
                  <a:pt x="0" y="0"/>
                </a:lnTo>
                <a:close/>
              </a:path>
            </a:pathLst>
          </a:custGeom>
          <a:solidFill>
            <a:sysClr val="window" lastClr="FFFFFF"/>
          </a:solidFill>
          <a:ln w="12700" cap="flat" cmpd="sng" algn="ctr">
            <a:noFill/>
            <a:prstDash val="solid"/>
            <a:miter lim="800000"/>
          </a:ln>
          <a:effectLst>
            <a:innerShdw blurRad="76200" dist="76200" dir="18900000">
              <a:prstClr val="black">
                <a:alpha val="46000"/>
              </a:prstClr>
            </a:innerShdw>
          </a:effectLst>
        </p:spPr>
        <p:txBody>
          <a:bodyPr rtlCol="0" anchor="ctr"/>
          <a:lstStyle/>
          <a:p>
            <a:pPr marL="0" lvl="1">
              <a:defRPr/>
            </a:pPr>
            <a:r>
              <a:rPr lang="en-IN" sz="2400" b="1" dirty="0">
                <a:solidFill>
                  <a:prstClr val="black"/>
                </a:solidFill>
                <a:latin typeface="Arial" panose="020B0604020202020204" pitchFamily="34" charset="0"/>
                <a:cs typeface="Arial" panose="020B0604020202020204" pitchFamily="34" charset="0"/>
              </a:rPr>
              <a:t>Vietnam Copper Sulphate Market Outlook</a:t>
            </a:r>
            <a:endParaRPr kumimoji="0" lang="en-US"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p:txBody>
      </p:sp>
      <p:pic>
        <p:nvPicPr>
          <p:cNvPr id="5122" name="Picture 2" descr="Image result for Indonesia flag">
            <a:extLst>
              <a:ext uri="{FF2B5EF4-FFF2-40B4-BE49-F238E27FC236}">
                <a16:creationId xmlns:a16="http://schemas.microsoft.com/office/drawing/2014/main" id="{9A378D46-EA87-47AF-987A-9067AF43F352}"/>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956859"/>
            <a:ext cx="8892000" cy="4345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566236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6D56440-7BB6-4355-9CC6-D51E1E67FF63}"/>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6: Vietnam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alue, (USD Million), 2016-2026F</a:t>
            </a:r>
          </a:p>
        </p:txBody>
      </p:sp>
      <p:graphicFrame>
        <p:nvGraphicFramePr>
          <p:cNvPr id="8" name="Chart 7">
            <a:extLst>
              <a:ext uri="{FF2B5EF4-FFF2-40B4-BE49-F238E27FC236}">
                <a16:creationId xmlns:a16="http://schemas.microsoft.com/office/drawing/2014/main" id="{A26F37D2-0FE5-434C-BED8-194559B16CDB}"/>
              </a:ext>
            </a:extLst>
          </p:cNvPr>
          <p:cNvGraphicFramePr/>
          <p:nvPr/>
        </p:nvGraphicFramePr>
        <p:xfrm>
          <a:off x="222309" y="1645643"/>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Vietnam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alue</a:t>
            </a:r>
            <a:endParaRPr kumimoji="0" lang="en-IN" sz="1400" b="1" i="0" u="none" strike="noStrike" kern="1200" cap="none" spc="0" normalizeH="0" baseline="0" noProof="0" dirty="0">
              <a:ln>
                <a:noFill/>
              </a:ln>
              <a:solidFill>
                <a:srgbClr val="FF0000"/>
              </a:solidFill>
              <a:effectLst/>
              <a:uLnTx/>
              <a:uFillTx/>
              <a:latin typeface="Arial" panose="020B0604020202020204" pitchFamily="34" charset="0"/>
              <a:ea typeface="+mj-ea"/>
              <a:cs typeface="Arial" panose="020B0604020202020204" pitchFamily="34" charset="0"/>
            </a:endParaRPr>
          </a:p>
        </p:txBody>
      </p:sp>
      <p:grpSp>
        <p:nvGrpSpPr>
          <p:cNvPr id="37" name="Group 36">
            <a:extLst>
              <a:ext uri="{FF2B5EF4-FFF2-40B4-BE49-F238E27FC236}">
                <a16:creationId xmlns:a16="http://schemas.microsoft.com/office/drawing/2014/main" id="{6386A73A-847E-4130-81BE-863495E3ED04}"/>
              </a:ext>
            </a:extLst>
          </p:cNvPr>
          <p:cNvGrpSpPr/>
          <p:nvPr/>
        </p:nvGrpSpPr>
        <p:grpSpPr>
          <a:xfrm>
            <a:off x="4356406" y="1285936"/>
            <a:ext cx="3753924" cy="516701"/>
            <a:chOff x="4524751" y="1404135"/>
            <a:chExt cx="3555640" cy="516701"/>
          </a:xfrm>
        </p:grpSpPr>
        <p:cxnSp>
          <p:nvCxnSpPr>
            <p:cNvPr id="38" name="Connector: Elbow 37">
              <a:extLst>
                <a:ext uri="{FF2B5EF4-FFF2-40B4-BE49-F238E27FC236}">
                  <a16:creationId xmlns:a16="http://schemas.microsoft.com/office/drawing/2014/main" id="{B81336F6-D7FE-4B7B-AED9-0CBC6E848C33}"/>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5549B13E-9C53-4126-B55B-A344435365DF}"/>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7.42%</a:t>
              </a:r>
              <a:endPar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17" name="Group 16">
            <a:extLst>
              <a:ext uri="{FF2B5EF4-FFF2-40B4-BE49-F238E27FC236}">
                <a16:creationId xmlns:a16="http://schemas.microsoft.com/office/drawing/2014/main" id="{2F515B5B-3EE0-42B7-8BCE-353FD362EF1C}"/>
              </a:ext>
            </a:extLst>
          </p:cNvPr>
          <p:cNvGrpSpPr/>
          <p:nvPr/>
        </p:nvGrpSpPr>
        <p:grpSpPr>
          <a:xfrm>
            <a:off x="543338" y="1285936"/>
            <a:ext cx="3184509" cy="516701"/>
            <a:chOff x="4524751" y="1404135"/>
            <a:chExt cx="3302533" cy="516701"/>
          </a:xfrm>
        </p:grpSpPr>
        <p:cxnSp>
          <p:nvCxnSpPr>
            <p:cNvPr id="18" name="Connector: Elbow 17">
              <a:extLst>
                <a:ext uri="{FF2B5EF4-FFF2-40B4-BE49-F238E27FC236}">
                  <a16:creationId xmlns:a16="http://schemas.microsoft.com/office/drawing/2014/main" id="{C428651D-8F06-4BA0-87B1-94DBEBF0A9ED}"/>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C5E4E871-8419-4F85-9872-9FF7D1AA6DD1}"/>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4.15</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28" name="TextBox 27">
            <a:extLst>
              <a:ext uri="{FF2B5EF4-FFF2-40B4-BE49-F238E27FC236}">
                <a16:creationId xmlns:a16="http://schemas.microsoft.com/office/drawing/2014/main" id="{2EEC6018-79AE-49CD-A78F-2121D4D98D40}"/>
              </a:ext>
            </a:extLst>
          </p:cNvPr>
          <p:cNvSpPr txBox="1"/>
          <p:nvPr/>
        </p:nvSpPr>
        <p:spPr>
          <a:xfrm>
            <a:off x="6546976" y="3616854"/>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22" name="TextBox 21">
            <a:extLst>
              <a:ext uri="{FF2B5EF4-FFF2-40B4-BE49-F238E27FC236}">
                <a16:creationId xmlns:a16="http://schemas.microsoft.com/office/drawing/2014/main" id="{1B5E6F7D-D9F6-43A8-BD5B-F2F0A953338D}"/>
              </a:ext>
            </a:extLst>
          </p:cNvPr>
          <p:cNvSpPr txBox="1"/>
          <p:nvPr/>
        </p:nvSpPr>
        <p:spPr>
          <a:xfrm>
            <a:off x="4459375" y="3804114"/>
            <a:ext cx="4373880" cy="522900"/>
          </a:xfrm>
          <a:prstGeom prst="rect">
            <a:avLst/>
          </a:prstGeom>
          <a:noFill/>
        </p:spPr>
        <p:txBody>
          <a:bodyPr wrap="square" rtlCol="0">
            <a:spAutoFit/>
          </a:bodyPr>
          <a:lstStyle/>
          <a:p>
            <a:pPr>
              <a:lnSpc>
                <a:spcPct val="150000"/>
              </a:lnSpc>
              <a:defRPr/>
            </a:pPr>
            <a:r>
              <a:rPr lang="en-IN" sz="1000" b="1" kern="0" dirty="0">
                <a:latin typeface="Verdana" panose="020B0604030504040204" pitchFamily="34" charset="0"/>
                <a:ea typeface="Verdana" panose="020B0604030504040204" pitchFamily="34" charset="0"/>
                <a:cs typeface="Verdana" panose="020B0604030504040204" pitchFamily="34" charset="0"/>
              </a:rPr>
              <a:t>Vietnam Animal Feed Raw Material Consumption, By Value, 2016-2021E (USD Million)</a:t>
            </a:r>
          </a:p>
        </p:txBody>
      </p:sp>
      <p:graphicFrame>
        <p:nvGraphicFramePr>
          <p:cNvPr id="24" name="Chart 23">
            <a:extLst>
              <a:ext uri="{FF2B5EF4-FFF2-40B4-BE49-F238E27FC236}">
                <a16:creationId xmlns:a16="http://schemas.microsoft.com/office/drawing/2014/main" id="{88B02B25-A932-4F3C-B932-81BE6B015D70}"/>
              </a:ext>
            </a:extLst>
          </p:cNvPr>
          <p:cNvGraphicFramePr/>
          <p:nvPr>
            <p:extLst>
              <p:ext uri="{D42A27DB-BD31-4B8C-83A1-F6EECF244321}">
                <p14:modId xmlns:p14="http://schemas.microsoft.com/office/powerpoint/2010/main" val="1941434048"/>
              </p:ext>
            </p:extLst>
          </p:nvPr>
        </p:nvGraphicFramePr>
        <p:xfrm>
          <a:off x="4315570" y="4433103"/>
          <a:ext cx="4572000" cy="1855008"/>
        </p:xfrm>
        <a:graphic>
          <a:graphicData uri="http://schemas.openxmlformats.org/drawingml/2006/chart">
            <c:chart xmlns:c="http://schemas.openxmlformats.org/drawingml/2006/chart" xmlns:r="http://schemas.openxmlformats.org/officeDocument/2006/relationships" r:id="rId3"/>
          </a:graphicData>
        </a:graphic>
      </p:graphicFrame>
      <p:sp>
        <p:nvSpPr>
          <p:cNvPr id="25" name="TextBox 24">
            <a:extLst>
              <a:ext uri="{FF2B5EF4-FFF2-40B4-BE49-F238E27FC236}">
                <a16:creationId xmlns:a16="http://schemas.microsoft.com/office/drawing/2014/main" id="{80C22737-5C86-4FA4-A773-2B881F0B74B6}"/>
              </a:ext>
            </a:extLst>
          </p:cNvPr>
          <p:cNvSpPr txBox="1"/>
          <p:nvPr/>
        </p:nvSpPr>
        <p:spPr>
          <a:xfrm>
            <a:off x="6546976" y="6349451"/>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27" name="Subtitle 2">
            <a:extLst>
              <a:ext uri="{FF2B5EF4-FFF2-40B4-BE49-F238E27FC236}">
                <a16:creationId xmlns:a16="http://schemas.microsoft.com/office/drawing/2014/main" id="{B856B39C-3D3A-4774-AED9-68B7264B00C3}"/>
              </a:ext>
            </a:extLst>
          </p:cNvPr>
          <p:cNvSpPr txBox="1">
            <a:spLocks/>
          </p:cNvSpPr>
          <p:nvPr/>
        </p:nvSpPr>
        <p:spPr>
          <a:xfrm>
            <a:off x="357810" y="3829878"/>
            <a:ext cx="3857146" cy="2519573"/>
          </a:xfrm>
          <a:prstGeom prst="rect">
            <a:avLst/>
          </a:prstGeom>
          <a:solidFill>
            <a:schemeClr val="tx2">
              <a:lumMod val="40000"/>
              <a:lumOff val="60000"/>
            </a:schemeClr>
          </a:solidFill>
          <a:ln>
            <a:solidFill>
              <a:schemeClr val="tx2">
                <a:lumMod val="40000"/>
                <a:lumOff val="60000"/>
              </a:schemeClr>
            </a:solidFill>
          </a:ln>
        </p:spPr>
        <p:style>
          <a:lnRef idx="1">
            <a:schemeClr val="accent6"/>
          </a:lnRef>
          <a:fillRef idx="2">
            <a:schemeClr val="accent6"/>
          </a:fillRef>
          <a:effectRef idx="1">
            <a:schemeClr val="accent6"/>
          </a:effectRef>
          <a:fontRef idx="minor">
            <a:schemeClr val="dk1"/>
          </a:fontRef>
        </p:style>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The market of copper sulphate in Vietnam stood at USD21.97 Million and is expected to reach USD32.78 Million, growing at a healthy CAGR of 7.42% during the forecast period.</a:t>
            </a:r>
          </a:p>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The increasing industrial sector in the country stimulates the market for copper sulphate as it is used in printing, paint, dyestuffs, and decorative trades. The increasing demand from healthcare sector also contributes to the rising demand of the chemical in the country.</a:t>
            </a:r>
            <a:endParaRPr lang="en-US" sz="1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07515377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14320C3F-EF7D-410F-BFF2-8168F2D77AA0}"/>
              </a:ext>
            </a:extLst>
          </p:cNvPr>
          <p:cNvGraphicFramePr/>
          <p:nvPr/>
        </p:nvGraphicFramePr>
        <p:xfrm>
          <a:off x="219965" y="1645745"/>
          <a:ext cx="8268194" cy="1899415"/>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a:extLst>
              <a:ext uri="{FF2B5EF4-FFF2-40B4-BE49-F238E27FC236}">
                <a16:creationId xmlns:a16="http://schemas.microsoft.com/office/drawing/2014/main" id="{B83D75AB-0E3C-4B82-996F-87A7453E4A1F}"/>
              </a:ext>
            </a:extLst>
          </p:cNvPr>
          <p:cNvGrpSpPr/>
          <p:nvPr/>
        </p:nvGrpSpPr>
        <p:grpSpPr>
          <a:xfrm>
            <a:off x="4354062" y="1302008"/>
            <a:ext cx="3756268" cy="516701"/>
            <a:chOff x="4524751" y="1404135"/>
            <a:chExt cx="3555640" cy="516701"/>
          </a:xfrm>
        </p:grpSpPr>
        <p:cxnSp>
          <p:nvCxnSpPr>
            <p:cNvPr id="4" name="Connector: Elbow 3">
              <a:extLst>
                <a:ext uri="{FF2B5EF4-FFF2-40B4-BE49-F238E27FC236}">
                  <a16:creationId xmlns:a16="http://schemas.microsoft.com/office/drawing/2014/main" id="{95A6DFC4-4495-4F6A-A9EF-3E83D56C7111}"/>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F95BE91-1C09-4CB4-83F8-DAB4DE213186}"/>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4.70</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grpSp>
        <p:nvGrpSpPr>
          <p:cNvPr id="6" name="Group 5">
            <a:extLst>
              <a:ext uri="{FF2B5EF4-FFF2-40B4-BE49-F238E27FC236}">
                <a16:creationId xmlns:a16="http://schemas.microsoft.com/office/drawing/2014/main" id="{1F1797BD-8E39-4379-B7B5-4BD9B632F27D}"/>
              </a:ext>
            </a:extLst>
          </p:cNvPr>
          <p:cNvGrpSpPr/>
          <p:nvPr/>
        </p:nvGrpSpPr>
        <p:grpSpPr>
          <a:xfrm>
            <a:off x="543338" y="1296572"/>
            <a:ext cx="3182166" cy="516701"/>
            <a:chOff x="4524751" y="1404135"/>
            <a:chExt cx="3302533" cy="516701"/>
          </a:xfrm>
        </p:grpSpPr>
        <p:cxnSp>
          <p:nvCxnSpPr>
            <p:cNvPr id="7" name="Connector: Elbow 6">
              <a:extLst>
                <a:ext uri="{FF2B5EF4-FFF2-40B4-BE49-F238E27FC236}">
                  <a16:creationId xmlns:a16="http://schemas.microsoft.com/office/drawing/2014/main" id="{2F52B0F6-27F3-4CEB-A84F-9018459DA4B8}"/>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CE477C8-FC35-4CC6-BFD4-63C00C156893}"/>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3.05</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9" name="TextBox 8">
            <a:extLst>
              <a:ext uri="{FF2B5EF4-FFF2-40B4-BE49-F238E27FC236}">
                <a16:creationId xmlns:a16="http://schemas.microsoft.com/office/drawing/2014/main" id="{786AB1F4-AC9C-4AFF-8AAA-46411A146ED7}"/>
              </a:ext>
            </a:extLst>
          </p:cNvPr>
          <p:cNvSpPr txBox="1"/>
          <p:nvPr/>
        </p:nvSpPr>
        <p:spPr>
          <a:xfrm>
            <a:off x="211741" y="91519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7: Vietnam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olume, (Kilo Tonnes), 2016-2026F</a:t>
            </a:r>
          </a:p>
        </p:txBody>
      </p:sp>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258449"/>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Vietnam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olume</a:t>
            </a:r>
          </a:p>
        </p:txBody>
      </p:sp>
      <p:sp>
        <p:nvSpPr>
          <p:cNvPr id="12" name="TextBox 11">
            <a:extLst>
              <a:ext uri="{FF2B5EF4-FFF2-40B4-BE49-F238E27FC236}">
                <a16:creationId xmlns:a16="http://schemas.microsoft.com/office/drawing/2014/main" id="{4CE7C288-A617-4EE3-BBAC-55F16799E79F}"/>
              </a:ext>
            </a:extLst>
          </p:cNvPr>
          <p:cNvSpPr txBox="1"/>
          <p:nvPr/>
        </p:nvSpPr>
        <p:spPr>
          <a:xfrm>
            <a:off x="6717967" y="3474472"/>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4" name="TextBox 13">
            <a:extLst>
              <a:ext uri="{FF2B5EF4-FFF2-40B4-BE49-F238E27FC236}">
                <a16:creationId xmlns:a16="http://schemas.microsoft.com/office/drawing/2014/main" id="{F3860987-E953-4949-A37B-177893512005}"/>
              </a:ext>
            </a:extLst>
          </p:cNvPr>
          <p:cNvSpPr txBox="1"/>
          <p:nvPr/>
        </p:nvSpPr>
        <p:spPr>
          <a:xfrm>
            <a:off x="283728" y="3679232"/>
            <a:ext cx="7912930" cy="292068"/>
          </a:xfrm>
          <a:prstGeom prst="rect">
            <a:avLst/>
          </a:prstGeom>
          <a:noFill/>
        </p:spPr>
        <p:txBody>
          <a:bodyPr wrap="square" rtlCol="0">
            <a:spAutoFit/>
          </a:bodyPr>
          <a:lstStyle/>
          <a:p>
            <a:pPr>
              <a:lnSpc>
                <a:spcPct val="150000"/>
              </a:lnSpc>
            </a:pPr>
            <a:r>
              <a:rPr lang="en-US" sz="1000" b="1" dirty="0">
                <a:latin typeface="Verdana" panose="020B0604030504040204" pitchFamily="34" charset="0"/>
                <a:ea typeface="Verdana" panose="020B0604030504040204" pitchFamily="34" charset="0"/>
                <a:cs typeface="Verdana" panose="020B0604030504040204" pitchFamily="34" charset="0"/>
              </a:rPr>
              <a:t>Vietnam Number of Animal Farms, </a:t>
            </a:r>
            <a:r>
              <a:rPr lang="en-US" sz="1000" b="1"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rPr>
              <a:t>2015-2020 (Units)</a:t>
            </a:r>
          </a:p>
        </p:txBody>
      </p:sp>
      <p:graphicFrame>
        <p:nvGraphicFramePr>
          <p:cNvPr id="15" name="Chart 14">
            <a:extLst>
              <a:ext uri="{FF2B5EF4-FFF2-40B4-BE49-F238E27FC236}">
                <a16:creationId xmlns:a16="http://schemas.microsoft.com/office/drawing/2014/main" id="{86E8E35B-1934-41F1-8381-CF71B3E5C1C1}"/>
              </a:ext>
            </a:extLst>
          </p:cNvPr>
          <p:cNvGraphicFramePr/>
          <p:nvPr>
            <p:extLst>
              <p:ext uri="{D42A27DB-BD31-4B8C-83A1-F6EECF244321}">
                <p14:modId xmlns:p14="http://schemas.microsoft.com/office/powerpoint/2010/main" val="263726308"/>
              </p:ext>
            </p:extLst>
          </p:nvPr>
        </p:nvGraphicFramePr>
        <p:xfrm>
          <a:off x="366914" y="4028946"/>
          <a:ext cx="7657468" cy="1493165"/>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77D414CD-6FEF-4F78-AB34-406CD709C108}"/>
              </a:ext>
            </a:extLst>
          </p:cNvPr>
          <p:cNvSpPr txBox="1"/>
          <p:nvPr/>
        </p:nvSpPr>
        <p:spPr>
          <a:xfrm>
            <a:off x="6717967" y="5585052"/>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7" name="TextBox 16">
            <a:extLst>
              <a:ext uri="{FF2B5EF4-FFF2-40B4-BE49-F238E27FC236}">
                <a16:creationId xmlns:a16="http://schemas.microsoft.com/office/drawing/2014/main" id="{F22EAF39-E091-4237-8C74-E5ECF69518D7}"/>
              </a:ext>
            </a:extLst>
          </p:cNvPr>
          <p:cNvSpPr txBox="1"/>
          <p:nvPr/>
        </p:nvSpPr>
        <p:spPr>
          <a:xfrm>
            <a:off x="198120" y="5792811"/>
            <a:ext cx="8494934" cy="753732"/>
          </a:xfrm>
          <a:prstGeom prst="rect">
            <a:avLst/>
          </a:prstGeom>
          <a:solidFill>
            <a:schemeClr val="accent5">
              <a:lumMod val="60000"/>
              <a:lumOff val="40000"/>
            </a:schemeClr>
          </a:solidFill>
        </p:spPr>
        <p:txBody>
          <a:bodyPr wrap="square" rtlCol="0">
            <a:spAutoFit/>
          </a:bodyPr>
          <a:lstStyle/>
          <a:p>
            <a:pPr marL="171450" indent="-171450" algn="just" fontAlgn="base">
              <a:lnSpc>
                <a:spcPct val="150000"/>
              </a:lnSpc>
              <a:spcBef>
                <a:spcPts val="600"/>
              </a:spcBef>
              <a:spcAft>
                <a:spcPct val="0"/>
              </a:spcAft>
              <a:buFont typeface="Arial" panose="020B0604020202020204" pitchFamily="34" charset="0"/>
              <a:buChar char="•"/>
            </a:pPr>
            <a:r>
              <a:rPr lang="en-IN" sz="1000"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rPr>
              <a:t>Vietnam has very limited land capacity and is therefore is not self sufficient in producing agricultural raw materials that are required to process raw materials. As a result, the country is highly dependent on the imports of agriculture feed raw materials such as copper sulphate, soybean meal, corn and wheat.</a:t>
            </a:r>
            <a:endParaRPr lang="en-US" sz="1000" kern="0"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37346946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Vietnam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a:t>
            </a:r>
          </a:p>
        </p:txBody>
      </p:sp>
      <p:sp>
        <p:nvSpPr>
          <p:cNvPr id="13" name="TextBox 12">
            <a:extLst>
              <a:ext uri="{FF2B5EF4-FFF2-40B4-BE49-F238E27FC236}">
                <a16:creationId xmlns:a16="http://schemas.microsoft.com/office/drawing/2014/main" id="{D6F011D1-F8F8-4C07-BF38-BB19CCF9F0E2}"/>
              </a:ext>
            </a:extLst>
          </p:cNvPr>
          <p:cNvSpPr txBox="1"/>
          <p:nvPr/>
        </p:nvSpPr>
        <p:spPr>
          <a:xfrm>
            <a:off x="198120" y="781879"/>
            <a:ext cx="8335617" cy="6197530"/>
          </a:xfrm>
          <a:prstGeom prst="rect">
            <a:avLst/>
          </a:prstGeom>
          <a:noFill/>
        </p:spPr>
        <p:txBody>
          <a:bodyPr wrap="square" rtlCol="0">
            <a:spAutoFit/>
          </a:bodyPr>
          <a:lstStyle/>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Vietnam is the fifth largest pork producing country in the world. Increasing demand for animal husbandry products owing to consumption patterns in the country. As a result, driving the demand for raw material feed required for the production of pork. </a:t>
            </a:r>
          </a:p>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The rapid growth of meat and  dairy products in Vietnam is attributable to imparting growth to the investments in the animal husbandry  sector of the country, generating substantial demand for Copper Sulphate as  feed raw material.</a:t>
            </a:r>
          </a:p>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Vietnam is among the leading demand generating countries for animal feed and there is high influx of foreign companies in the market. For instance, CJ Group from South Korea is planning to open its sixth animal feed production facility in Vietnam, by the end of 2018.  In 2017, HAID, Singapore inaugurated an animal feed production facility in Hai Duong province, having a production capacity of 500,000 tons per annum In 2017, CP Group, Thailand set up a production unit in Vietnam, increasing their total animal feed production capacity to over 400,000 tons per year.</a:t>
            </a:r>
          </a:p>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Rapid economic growth is resulting in rising disposable income of Vietnam. As a result, more and more middle class &amp; lower middle-class population are able to afford meat, which was once considered a luxury. </a:t>
            </a:r>
          </a:p>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Moreover, increasing population is further fueling the consumption of meat, which is consequently increasing the demand for animal feed for livestock. The livestock sector accounts for one-third of overall agricultural output of the country, showcasing growth faster than that of  crop production.</a:t>
            </a:r>
          </a:p>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Due to US China trade war and China being an epicenter of Covid-19 pandemic created a shift in Global sentiments of business towards Vietnam and India  from China.  Prospective growth in Industries output will also  create a growth in Copper Sulphate industry grade from the rising manufacturing sectors of the Country.</a:t>
            </a:r>
          </a:p>
          <a:p>
            <a:pPr marL="171450" indent="-171450">
              <a:lnSpc>
                <a:spcPct val="200000"/>
              </a:lnSpc>
              <a:buFont typeface="Arial" panose="020B0604020202020204" pitchFamily="34" charset="0"/>
              <a:buChar char="•"/>
            </a:pPr>
            <a:endParaRPr lang="en-US" sz="1000" dirty="0">
              <a:latin typeface="Verdana" panose="020B0604030504040204" pitchFamily="34" charset="0"/>
              <a:ea typeface="Verdana" panose="020B0604030504040204" pitchFamily="34" charset="0"/>
              <a:cs typeface="Verdana" panose="020B0604030504040204" pitchFamily="34" charset="0"/>
            </a:endParaRPr>
          </a:p>
          <a:p>
            <a:pPr marL="171450" indent="-171450">
              <a:lnSpc>
                <a:spcPct val="200000"/>
              </a:lnSpc>
              <a:buFont typeface="Arial" panose="020B0604020202020204" pitchFamily="34" charset="0"/>
              <a:buChar char="•"/>
            </a:pPr>
            <a:endParaRPr lang="en-US" sz="1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4956736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9F0F18-9454-4455-A154-642FD3CB58BD}"/>
              </a:ext>
            </a:extLst>
          </p:cNvPr>
          <p:cNvSpPr>
            <a:spLocks noGrp="1"/>
          </p:cNvSpPr>
          <p:nvPr>
            <p:ph type="body" sz="quarter" idx="4294967295"/>
          </p:nvPr>
        </p:nvSpPr>
        <p:spPr>
          <a:xfrm>
            <a:off x="276640" y="230794"/>
            <a:ext cx="7863840" cy="457200"/>
          </a:xfrm>
        </p:spPr>
        <p:txBody>
          <a:bodyPr>
            <a:normAutofit/>
          </a:bodyPr>
          <a:lstStyle/>
          <a:p>
            <a:pPr marL="0" indent="0">
              <a:buNone/>
            </a:pPr>
            <a:r>
              <a:rPr lang="en-US" sz="1400" b="1" dirty="0">
                <a:latin typeface="Arial" panose="020B0604020202020204" pitchFamily="34" charset="0"/>
                <a:cs typeface="Arial" panose="020B0604020202020204" pitchFamily="34" charset="0"/>
              </a:rPr>
              <a:t>List of Figures</a:t>
            </a:r>
          </a:p>
        </p:txBody>
      </p:sp>
      <p:sp>
        <p:nvSpPr>
          <p:cNvPr id="12" name="Freeform: Shape 11">
            <a:extLst>
              <a:ext uri="{FF2B5EF4-FFF2-40B4-BE49-F238E27FC236}">
                <a16:creationId xmlns:a16="http://schemas.microsoft.com/office/drawing/2014/main" id="{72F8C9AC-0A59-4BE1-BFE4-A7D7C2C3DB5D}"/>
              </a:ext>
            </a:extLst>
          </p:cNvPr>
          <p:cNvSpPr/>
          <p:nvPr/>
        </p:nvSpPr>
        <p:spPr>
          <a:xfrm>
            <a:off x="1741097" y="861338"/>
            <a:ext cx="5426671" cy="427394"/>
          </a:xfrm>
          <a:custGeom>
            <a:avLst/>
            <a:gdLst>
              <a:gd name="connsiteX0" fmla="*/ 0 w 5896040"/>
              <a:gd name="connsiteY0" fmla="*/ 0 h 508224"/>
              <a:gd name="connsiteX1" fmla="*/ 5896040 w 5896040"/>
              <a:gd name="connsiteY1" fmla="*/ 0 h 508224"/>
              <a:gd name="connsiteX2" fmla="*/ 5896040 w 5896040"/>
              <a:gd name="connsiteY2" fmla="*/ 508224 h 508224"/>
              <a:gd name="connsiteX3" fmla="*/ 0 w 5896040"/>
              <a:gd name="connsiteY3" fmla="*/ 508224 h 508224"/>
              <a:gd name="connsiteX4" fmla="*/ 0 w 5896040"/>
              <a:gd name="connsiteY4" fmla="*/ 0 h 508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6040" h="508224">
                <a:moveTo>
                  <a:pt x="0" y="0"/>
                </a:moveTo>
                <a:lnTo>
                  <a:pt x="5896040" y="0"/>
                </a:lnTo>
                <a:lnTo>
                  <a:pt x="5896040" y="508224"/>
                </a:lnTo>
                <a:lnTo>
                  <a:pt x="0" y="508224"/>
                </a:lnTo>
                <a:lnTo>
                  <a:pt x="0" y="0"/>
                </a:lnTo>
                <a:close/>
              </a:path>
            </a:pathLst>
          </a:cu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ir Coolers</a:t>
            </a:r>
            <a:endParaRPr kumimoji="0" lang="en-US" sz="1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6" name="Table 5">
            <a:extLst>
              <a:ext uri="{FF2B5EF4-FFF2-40B4-BE49-F238E27FC236}">
                <a16:creationId xmlns:a16="http://schemas.microsoft.com/office/drawing/2014/main" id="{8C86B285-72D7-4F39-9E3C-0B1305887B6A}"/>
              </a:ext>
            </a:extLst>
          </p:cNvPr>
          <p:cNvGraphicFramePr>
            <a:graphicFrameLocks noGrp="1"/>
          </p:cNvGraphicFramePr>
          <p:nvPr>
            <p:extLst>
              <p:ext uri="{D42A27DB-BD31-4B8C-83A1-F6EECF244321}">
                <p14:modId xmlns:p14="http://schemas.microsoft.com/office/powerpoint/2010/main" val="1636614344"/>
              </p:ext>
            </p:extLst>
          </p:nvPr>
        </p:nvGraphicFramePr>
        <p:xfrm>
          <a:off x="361949" y="753186"/>
          <a:ext cx="8329767" cy="5797178"/>
        </p:xfrm>
        <a:graphic>
          <a:graphicData uri="http://schemas.openxmlformats.org/drawingml/2006/table">
            <a:tbl>
              <a:tblPr firstRow="1">
                <a:tableStyleId>{0E3FDE45-AF77-4B5C-9715-49D594BDF05E}</a:tableStyleId>
              </a:tblPr>
              <a:tblGrid>
                <a:gridCol w="928709">
                  <a:extLst>
                    <a:ext uri="{9D8B030D-6E8A-4147-A177-3AD203B41FA5}">
                      <a16:colId xmlns:a16="http://schemas.microsoft.com/office/drawing/2014/main" val="20000"/>
                    </a:ext>
                  </a:extLst>
                </a:gridCol>
                <a:gridCol w="6624165">
                  <a:extLst>
                    <a:ext uri="{9D8B030D-6E8A-4147-A177-3AD203B41FA5}">
                      <a16:colId xmlns:a16="http://schemas.microsoft.com/office/drawing/2014/main" val="20001"/>
                    </a:ext>
                  </a:extLst>
                </a:gridCol>
                <a:gridCol w="776893">
                  <a:extLst>
                    <a:ext uri="{9D8B030D-6E8A-4147-A177-3AD203B41FA5}">
                      <a16:colId xmlns:a16="http://schemas.microsoft.com/office/drawing/2014/main" val="20002"/>
                    </a:ext>
                  </a:extLst>
                </a:gridCol>
              </a:tblGrid>
              <a:tr h="257709">
                <a:tc>
                  <a:txBody>
                    <a:bodyPr/>
                    <a:lstStyle/>
                    <a:p>
                      <a:pPr marL="0" algn="ctr" defTabSz="914400" rtl="0" eaLnBrk="1" latinLnBrk="0" hangingPunct="1">
                        <a:lnSpc>
                          <a:spcPct val="100000"/>
                        </a:lnSpc>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S. No.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algn="ctr" defTabSz="914400" rtl="0" eaLnBrk="1" latinLnBrk="0" hangingPunct="1">
                        <a:lnSpc>
                          <a:spcPct val="100000"/>
                        </a:lnSpc>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Titl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Page N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extLst>
                  <a:ext uri="{0D108BD9-81ED-4DB2-BD59-A6C34878D82A}">
                    <a16:rowId xmlns:a16="http://schemas.microsoft.com/office/drawing/2014/main" val="10000"/>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a:t>
                      </a:r>
                      <a:r>
                        <a:rPr lang="en-US" sz="900" b="1" kern="1200" baseline="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1:</a:t>
                      </a:r>
                      <a:endPar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4515531"/>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By Volume, (Kilo </a:t>
                      </a:r>
                      <a:r>
                        <a:rPr lang="en-US" sz="900" b="0" i="0" u="none" strike="noStrike" kern="1200" baseline="0" dirty="0" err="1">
                          <a:solidFill>
                            <a:schemeClr val="tx1"/>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93715560"/>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hare, By Typ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45666480"/>
                  </a:ext>
                </a:extLst>
              </a:tr>
              <a:tr h="232614">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hare, By Grade, By Value, (USD Million), 2016-2026F</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62538610"/>
                  </a:ext>
                </a:extLst>
              </a:tr>
              <a:tr h="275990">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hare, By End Us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0803781"/>
                  </a:ext>
                </a:extLst>
              </a:tr>
              <a:tr h="318052">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hare, By Country,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22510226"/>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hare, By Company, By Value, 2020 (USD Million)</a:t>
                      </a:r>
                      <a:endParaRPr lang="en-IN" sz="900" b="0" i="0" u="none" strike="noStrike" kern="1200" baseline="0" dirty="0">
                        <a:solidFill>
                          <a:srgbClr val="FF0000"/>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USD Million) &amp; Growth Rate (%), By Country, 2021E-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USD Million) &amp; Growth Rate (%), By End Use, 2021E-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87047">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50000"/>
                        </a:lnSpc>
                        <a:defRPr/>
                      </a:pPr>
                      <a:r>
                        <a:rPr lang="en-US" sz="900" b="0" kern="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USD Million) &amp; Growth Rate (%), By Grade, 2021E-2026F</a:t>
                      </a:r>
                      <a:endParaRPr lang="en-IN" sz="900" b="0" kern="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Indonesia Copper Sulphate Market Share, By Grad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02422">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Indonesia Copper Sulphate Market Size, By Volume, (Kilo </a:t>
                      </a:r>
                      <a:r>
                        <a:rPr lang="en-US" sz="900" b="0" i="0" u="none" strike="noStrike" kern="1200" baseline="0" dirty="0" err="1">
                          <a:solidFill>
                            <a:schemeClr val="tx1"/>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a:t>
                      </a:r>
                      <a:r>
                        <a:rPr lang="en-US" sz="900" b="1" kern="1200" baseline="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13:</a:t>
                      </a:r>
                      <a:endPar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Indonesia Copper Sulphate Market Share, By End Us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it-IT"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Indonesia Copper Sulphate Import, 2016-2020 (Kilo Tonnes)</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it-IT"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Indonesia Copper Sulphate Import, 2016-2020 (Kilo Tonnes)</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Thailand Copper Sulphate Market Siz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Thailand Copper Sulphate Market Size, By Volume, (Kilo </a:t>
                      </a:r>
                      <a:r>
                        <a:rPr lang="en-US" sz="900" b="0" i="0" u="none" strike="noStrike" kern="1200" baseline="0" dirty="0" err="1">
                          <a:solidFill>
                            <a:schemeClr val="tx1"/>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Thailand Copper Sulphate Market Share, By Grad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Thailand Copper Sulphate Market Share, By End Use, By Volume,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78785233"/>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Thailand Copper Sulphate Import, 2016-2020 (Kilo </a:t>
                      </a:r>
                      <a:r>
                        <a:rPr lang="en-US" sz="900" b="0" i="0" u="none" strike="noStrike" kern="1200" baseline="0" dirty="0" err="1">
                          <a:solidFill>
                            <a:schemeClr val="tx1"/>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3780615"/>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Malaysia Copper Sulphate Market Siz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83765228"/>
                  </a:ext>
                </a:extLst>
              </a:tr>
            </a:tbl>
          </a:graphicData>
        </a:graphic>
      </p:graphicFrame>
    </p:spTree>
    <p:extLst>
      <p:ext uri="{BB962C8B-B14F-4D97-AF65-F5344CB8AC3E}">
        <p14:creationId xmlns:p14="http://schemas.microsoft.com/office/powerpoint/2010/main" val="44255317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Vietnam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hare &amp; Size, By </a:t>
            </a:r>
            <a:r>
              <a:rPr lang="en-IN" sz="1400" b="1" dirty="0">
                <a:solidFill>
                  <a:prstClr val="black"/>
                </a:solidFill>
                <a:latin typeface="Arial" panose="020B0604020202020204" pitchFamily="34" charset="0"/>
                <a:cs typeface="Arial" panose="020B0604020202020204" pitchFamily="34" charset="0"/>
              </a:rPr>
              <a:t>Grade </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28" name="TextBox 27">
            <a:extLst>
              <a:ext uri="{FF2B5EF4-FFF2-40B4-BE49-F238E27FC236}">
                <a16:creationId xmlns:a16="http://schemas.microsoft.com/office/drawing/2014/main" id="{DDF0E565-D0AB-44F0-A5D8-D1B068022189}"/>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8: Vietnam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Grade</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USD Million), 2016-2026F</a:t>
            </a:r>
          </a:p>
        </p:txBody>
      </p:sp>
      <p:sp>
        <p:nvSpPr>
          <p:cNvPr id="8" name="TextBox 7">
            <a:extLst>
              <a:ext uri="{FF2B5EF4-FFF2-40B4-BE49-F238E27FC236}">
                <a16:creationId xmlns:a16="http://schemas.microsoft.com/office/drawing/2014/main" id="{377E04C2-64EC-4071-91D2-2DF2EB9F00BB}"/>
              </a:ext>
            </a:extLst>
          </p:cNvPr>
          <p:cNvSpPr txBox="1"/>
          <p:nvPr/>
        </p:nvSpPr>
        <p:spPr>
          <a:xfrm>
            <a:off x="291548" y="4373217"/>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11: Vietnam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Grade, By Value, (USD Million), 2016-2026F</a:t>
            </a:r>
          </a:p>
        </p:txBody>
      </p:sp>
      <p:graphicFrame>
        <p:nvGraphicFramePr>
          <p:cNvPr id="10" name="Table 9">
            <a:extLst>
              <a:ext uri="{FF2B5EF4-FFF2-40B4-BE49-F238E27FC236}">
                <a16:creationId xmlns:a16="http://schemas.microsoft.com/office/drawing/2014/main" id="{B817CD9E-C62D-4948-BD3B-6404CF626DE6}"/>
              </a:ext>
            </a:extLst>
          </p:cNvPr>
          <p:cNvGraphicFramePr>
            <a:graphicFrameLocks noGrp="1"/>
          </p:cNvGraphicFramePr>
          <p:nvPr>
            <p:extLst>
              <p:ext uri="{D42A27DB-BD31-4B8C-83A1-F6EECF244321}">
                <p14:modId xmlns:p14="http://schemas.microsoft.com/office/powerpoint/2010/main" val="1187097101"/>
              </p:ext>
            </p:extLst>
          </p:nvPr>
        </p:nvGraphicFramePr>
        <p:xfrm>
          <a:off x="214086" y="4832381"/>
          <a:ext cx="8362084" cy="888306"/>
        </p:xfrm>
        <a:graphic>
          <a:graphicData uri="http://schemas.openxmlformats.org/drawingml/2006/table">
            <a:tbl>
              <a:tblPr>
                <a:tableStyleId>{8EC20E35-A176-4012-BC5E-935CFFF8708E}</a:tableStyleId>
              </a:tblPr>
              <a:tblGrid>
                <a:gridCol w="1764152">
                  <a:extLst>
                    <a:ext uri="{9D8B030D-6E8A-4147-A177-3AD203B41FA5}">
                      <a16:colId xmlns:a16="http://schemas.microsoft.com/office/drawing/2014/main" val="2017731148"/>
                    </a:ext>
                  </a:extLst>
                </a:gridCol>
                <a:gridCol w="599812">
                  <a:extLst>
                    <a:ext uri="{9D8B030D-6E8A-4147-A177-3AD203B41FA5}">
                      <a16:colId xmlns:a16="http://schemas.microsoft.com/office/drawing/2014/main" val="2667391389"/>
                    </a:ext>
                  </a:extLst>
                </a:gridCol>
                <a:gridCol w="599812">
                  <a:extLst>
                    <a:ext uri="{9D8B030D-6E8A-4147-A177-3AD203B41FA5}">
                      <a16:colId xmlns:a16="http://schemas.microsoft.com/office/drawing/2014/main" val="3750729452"/>
                    </a:ext>
                  </a:extLst>
                </a:gridCol>
                <a:gridCol w="599812">
                  <a:extLst>
                    <a:ext uri="{9D8B030D-6E8A-4147-A177-3AD203B41FA5}">
                      <a16:colId xmlns:a16="http://schemas.microsoft.com/office/drawing/2014/main" val="425130346"/>
                    </a:ext>
                  </a:extLst>
                </a:gridCol>
                <a:gridCol w="599812">
                  <a:extLst>
                    <a:ext uri="{9D8B030D-6E8A-4147-A177-3AD203B41FA5}">
                      <a16:colId xmlns:a16="http://schemas.microsoft.com/office/drawing/2014/main" val="1091415442"/>
                    </a:ext>
                  </a:extLst>
                </a:gridCol>
                <a:gridCol w="599812">
                  <a:extLst>
                    <a:ext uri="{9D8B030D-6E8A-4147-A177-3AD203B41FA5}">
                      <a16:colId xmlns:a16="http://schemas.microsoft.com/office/drawing/2014/main" val="2869642291"/>
                    </a:ext>
                  </a:extLst>
                </a:gridCol>
                <a:gridCol w="599812">
                  <a:extLst>
                    <a:ext uri="{9D8B030D-6E8A-4147-A177-3AD203B41FA5}">
                      <a16:colId xmlns:a16="http://schemas.microsoft.com/office/drawing/2014/main" val="1492483844"/>
                    </a:ext>
                  </a:extLst>
                </a:gridCol>
                <a:gridCol w="599812">
                  <a:extLst>
                    <a:ext uri="{9D8B030D-6E8A-4147-A177-3AD203B41FA5}">
                      <a16:colId xmlns:a16="http://schemas.microsoft.com/office/drawing/2014/main" val="536896032"/>
                    </a:ext>
                  </a:extLst>
                </a:gridCol>
                <a:gridCol w="599812">
                  <a:extLst>
                    <a:ext uri="{9D8B030D-6E8A-4147-A177-3AD203B41FA5}">
                      <a16:colId xmlns:a16="http://schemas.microsoft.com/office/drawing/2014/main" val="2293403703"/>
                    </a:ext>
                  </a:extLst>
                </a:gridCol>
                <a:gridCol w="599812">
                  <a:extLst>
                    <a:ext uri="{9D8B030D-6E8A-4147-A177-3AD203B41FA5}">
                      <a16:colId xmlns:a16="http://schemas.microsoft.com/office/drawing/2014/main" val="2748373219"/>
                    </a:ext>
                  </a:extLst>
                </a:gridCol>
                <a:gridCol w="599812">
                  <a:extLst>
                    <a:ext uri="{9D8B030D-6E8A-4147-A177-3AD203B41FA5}">
                      <a16:colId xmlns:a16="http://schemas.microsoft.com/office/drawing/2014/main" val="316596246"/>
                    </a:ext>
                  </a:extLst>
                </a:gridCol>
                <a:gridCol w="599812">
                  <a:extLst>
                    <a:ext uri="{9D8B030D-6E8A-4147-A177-3AD203B41FA5}">
                      <a16:colId xmlns:a16="http://schemas.microsoft.com/office/drawing/2014/main" val="2656604351"/>
                    </a:ext>
                  </a:extLst>
                </a:gridCol>
              </a:tblGrid>
              <a:tr h="296102">
                <a:tc>
                  <a:txBody>
                    <a:bodyPr/>
                    <a:lstStyle/>
                    <a:p>
                      <a:pPr algn="l" fontAlgn="b"/>
                      <a:r>
                        <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Grade </a:t>
                      </a: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4277395723"/>
                  </a:ext>
                </a:extLst>
              </a:tr>
              <a:tr h="296102">
                <a:tc>
                  <a:txBody>
                    <a:bodyPr/>
                    <a:lstStyle/>
                    <a:p>
                      <a:pPr algn="l" fontAlgn="b"/>
                      <a:r>
                        <a:rPr lang="en-IN" sz="1000" b="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dirty="0">
                          <a:solidFill>
                            <a:srgbClr val="000000"/>
                          </a:solidFill>
                          <a:effectLst/>
                          <a:latin typeface="Cambria" panose="02040503050406030204" pitchFamily="18" charset="0"/>
                        </a:rPr>
                        <a:t>17.19</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8.99</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0.7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1.50</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0.56</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1.31</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2.8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4.41</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6.20</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8.27</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30.79</a:t>
                      </a:r>
                    </a:p>
                  </a:txBody>
                  <a:tcPr marL="9525" marR="9525" marT="9525" marB="0" anchor="b"/>
                </a:tc>
                <a:extLst>
                  <a:ext uri="{0D108BD9-81ED-4DB2-BD59-A6C34878D82A}">
                    <a16:rowId xmlns:a16="http://schemas.microsoft.com/office/drawing/2014/main" val="3614340383"/>
                  </a:ext>
                </a:extLst>
              </a:tr>
              <a:tr h="296102">
                <a:tc>
                  <a:txBody>
                    <a:bodyPr/>
                    <a:lstStyle/>
                    <a:p>
                      <a:pPr algn="l" fontAlgn="b"/>
                      <a:r>
                        <a:rPr lang="en-US"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Reagent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dirty="0">
                          <a:solidFill>
                            <a:srgbClr val="000000"/>
                          </a:solidFill>
                          <a:effectLst/>
                          <a:latin typeface="Cambria" panose="02040503050406030204" pitchFamily="18" charset="0"/>
                        </a:rPr>
                        <a:t>1.48</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0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1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56</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41</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61</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6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7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80</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96</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99</a:t>
                      </a:r>
                    </a:p>
                  </a:txBody>
                  <a:tcPr marL="9525" marR="9525" marT="9525" marB="0" anchor="b"/>
                </a:tc>
                <a:extLst>
                  <a:ext uri="{0D108BD9-81ED-4DB2-BD59-A6C34878D82A}">
                    <a16:rowId xmlns:a16="http://schemas.microsoft.com/office/drawing/2014/main" val="3954528466"/>
                  </a:ext>
                </a:extLst>
              </a:tr>
            </a:tbl>
          </a:graphicData>
        </a:graphic>
      </p:graphicFrame>
      <p:graphicFrame>
        <p:nvGraphicFramePr>
          <p:cNvPr id="11" name="Chart 10">
            <a:extLst>
              <a:ext uri="{FF2B5EF4-FFF2-40B4-BE49-F238E27FC236}">
                <a16:creationId xmlns:a16="http://schemas.microsoft.com/office/drawing/2014/main" id="{4BD1A32F-9549-4B29-AC30-AA339884F884}"/>
              </a:ext>
            </a:extLst>
          </p:cNvPr>
          <p:cNvGraphicFramePr/>
          <p:nvPr/>
        </p:nvGraphicFramePr>
        <p:xfrm>
          <a:off x="291548" y="1264480"/>
          <a:ext cx="8560904" cy="2727250"/>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A6ACC116-3ADE-4D04-B51A-852AF0F6F901}"/>
              </a:ext>
            </a:extLst>
          </p:cNvPr>
          <p:cNvSpPr txBox="1"/>
          <p:nvPr/>
        </p:nvSpPr>
        <p:spPr>
          <a:xfrm>
            <a:off x="6527118" y="3990677"/>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3" name="TextBox 12">
            <a:extLst>
              <a:ext uri="{FF2B5EF4-FFF2-40B4-BE49-F238E27FC236}">
                <a16:creationId xmlns:a16="http://schemas.microsoft.com/office/drawing/2014/main" id="{5777FB34-F803-4CB1-9217-591A0A10E15F}"/>
              </a:ext>
            </a:extLst>
          </p:cNvPr>
          <p:cNvSpPr txBox="1"/>
          <p:nvPr/>
        </p:nvSpPr>
        <p:spPr>
          <a:xfrm>
            <a:off x="6527118" y="5787601"/>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18217844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457200">
              <a:lnSpc>
                <a:spcPts val="1700"/>
              </a:lnSpc>
              <a:defRPr/>
            </a:pPr>
            <a:r>
              <a:rPr lang="en-IN" sz="1400" b="1" dirty="0">
                <a:solidFill>
                  <a:prstClr val="black"/>
                </a:solidFill>
                <a:latin typeface="Arial" panose="020B0604020202020204" pitchFamily="34" charset="0"/>
                <a:cs typeface="Arial" panose="020B0604020202020204" pitchFamily="34" charset="0"/>
              </a:rPr>
              <a:t>Vietnam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a:t>
            </a:r>
            <a:r>
              <a:rPr lang="en-IN" sz="1400" b="1" dirty="0">
                <a:solidFill>
                  <a:prstClr val="black"/>
                </a:solidFill>
                <a:latin typeface="Arial" panose="020B0604020202020204" pitchFamily="34" charset="0"/>
                <a:cs typeface="Arial" panose="020B0604020202020204" pitchFamily="34" charset="0"/>
              </a:rPr>
              <a:t>Share &amp; Size, </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y End Use</a:t>
            </a:r>
          </a:p>
        </p:txBody>
      </p:sp>
      <p:sp>
        <p:nvSpPr>
          <p:cNvPr id="28" name="TextBox 27">
            <a:extLst>
              <a:ext uri="{FF2B5EF4-FFF2-40B4-BE49-F238E27FC236}">
                <a16:creationId xmlns:a16="http://schemas.microsoft.com/office/drawing/2014/main" id="{DDF0E565-D0AB-44F0-A5D8-D1B068022189}"/>
              </a:ext>
            </a:extLst>
          </p:cNvPr>
          <p:cNvSpPr txBox="1"/>
          <p:nvPr/>
        </p:nvSpPr>
        <p:spPr>
          <a:xfrm>
            <a:off x="198120" y="802677"/>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9: Vietnam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End Use, By Value, (USD Million), 2016-2026F</a:t>
            </a:r>
          </a:p>
        </p:txBody>
      </p:sp>
      <p:sp>
        <p:nvSpPr>
          <p:cNvPr id="8" name="TextBox 7">
            <a:extLst>
              <a:ext uri="{FF2B5EF4-FFF2-40B4-BE49-F238E27FC236}">
                <a16:creationId xmlns:a16="http://schemas.microsoft.com/office/drawing/2014/main" id="{377E04C2-64EC-4071-91D2-2DF2EB9F00BB}"/>
              </a:ext>
            </a:extLst>
          </p:cNvPr>
          <p:cNvSpPr txBox="1"/>
          <p:nvPr/>
        </p:nvSpPr>
        <p:spPr>
          <a:xfrm>
            <a:off x="198120" y="4081719"/>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12: Vietnam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End Use, By Value, (USD Million), 2016-2026F</a:t>
            </a:r>
          </a:p>
        </p:txBody>
      </p:sp>
      <p:graphicFrame>
        <p:nvGraphicFramePr>
          <p:cNvPr id="15" name="Chart 14">
            <a:extLst>
              <a:ext uri="{FF2B5EF4-FFF2-40B4-BE49-F238E27FC236}">
                <a16:creationId xmlns:a16="http://schemas.microsoft.com/office/drawing/2014/main" id="{D2BB1C4B-18EC-4F64-BBD0-FA8689F467A6}"/>
              </a:ext>
            </a:extLst>
          </p:cNvPr>
          <p:cNvGraphicFramePr/>
          <p:nvPr>
            <p:extLst>
              <p:ext uri="{D42A27DB-BD31-4B8C-83A1-F6EECF244321}">
                <p14:modId xmlns:p14="http://schemas.microsoft.com/office/powerpoint/2010/main" val="1562870352"/>
              </p:ext>
            </p:extLst>
          </p:nvPr>
        </p:nvGraphicFramePr>
        <p:xfrm>
          <a:off x="210398" y="1053929"/>
          <a:ext cx="8560904" cy="27272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Table 15">
            <a:extLst>
              <a:ext uri="{FF2B5EF4-FFF2-40B4-BE49-F238E27FC236}">
                <a16:creationId xmlns:a16="http://schemas.microsoft.com/office/drawing/2014/main" id="{56F6E49A-8298-4F43-B410-8FA52197B9B2}"/>
              </a:ext>
            </a:extLst>
          </p:cNvPr>
          <p:cNvGraphicFramePr>
            <a:graphicFrameLocks noGrp="1"/>
          </p:cNvGraphicFramePr>
          <p:nvPr>
            <p:extLst>
              <p:ext uri="{D42A27DB-BD31-4B8C-83A1-F6EECF244321}">
                <p14:modId xmlns:p14="http://schemas.microsoft.com/office/powerpoint/2010/main" val="3768364435"/>
              </p:ext>
            </p:extLst>
          </p:nvPr>
        </p:nvGraphicFramePr>
        <p:xfrm>
          <a:off x="198783" y="4404273"/>
          <a:ext cx="8078436" cy="2009750"/>
        </p:xfrm>
        <a:graphic>
          <a:graphicData uri="http://schemas.openxmlformats.org/drawingml/2006/table">
            <a:tbl>
              <a:tblPr>
                <a:tableStyleId>{8EC20E35-A176-4012-BC5E-935CFFF8708E}</a:tableStyleId>
              </a:tblPr>
              <a:tblGrid>
                <a:gridCol w="1456799">
                  <a:extLst>
                    <a:ext uri="{9D8B030D-6E8A-4147-A177-3AD203B41FA5}">
                      <a16:colId xmlns:a16="http://schemas.microsoft.com/office/drawing/2014/main" val="2017731148"/>
                    </a:ext>
                  </a:extLst>
                </a:gridCol>
                <a:gridCol w="601967">
                  <a:extLst>
                    <a:ext uri="{9D8B030D-6E8A-4147-A177-3AD203B41FA5}">
                      <a16:colId xmlns:a16="http://schemas.microsoft.com/office/drawing/2014/main" val="2667391389"/>
                    </a:ext>
                  </a:extLst>
                </a:gridCol>
                <a:gridCol w="601967">
                  <a:extLst>
                    <a:ext uri="{9D8B030D-6E8A-4147-A177-3AD203B41FA5}">
                      <a16:colId xmlns:a16="http://schemas.microsoft.com/office/drawing/2014/main" val="3750729452"/>
                    </a:ext>
                  </a:extLst>
                </a:gridCol>
                <a:gridCol w="601967">
                  <a:extLst>
                    <a:ext uri="{9D8B030D-6E8A-4147-A177-3AD203B41FA5}">
                      <a16:colId xmlns:a16="http://schemas.microsoft.com/office/drawing/2014/main" val="425130346"/>
                    </a:ext>
                  </a:extLst>
                </a:gridCol>
                <a:gridCol w="601967">
                  <a:extLst>
                    <a:ext uri="{9D8B030D-6E8A-4147-A177-3AD203B41FA5}">
                      <a16:colId xmlns:a16="http://schemas.microsoft.com/office/drawing/2014/main" val="1091415442"/>
                    </a:ext>
                  </a:extLst>
                </a:gridCol>
                <a:gridCol w="601967">
                  <a:extLst>
                    <a:ext uri="{9D8B030D-6E8A-4147-A177-3AD203B41FA5}">
                      <a16:colId xmlns:a16="http://schemas.microsoft.com/office/drawing/2014/main" val="2869642291"/>
                    </a:ext>
                  </a:extLst>
                </a:gridCol>
                <a:gridCol w="601967">
                  <a:extLst>
                    <a:ext uri="{9D8B030D-6E8A-4147-A177-3AD203B41FA5}">
                      <a16:colId xmlns:a16="http://schemas.microsoft.com/office/drawing/2014/main" val="1492483844"/>
                    </a:ext>
                  </a:extLst>
                </a:gridCol>
                <a:gridCol w="601967">
                  <a:extLst>
                    <a:ext uri="{9D8B030D-6E8A-4147-A177-3AD203B41FA5}">
                      <a16:colId xmlns:a16="http://schemas.microsoft.com/office/drawing/2014/main" val="536896032"/>
                    </a:ext>
                  </a:extLst>
                </a:gridCol>
                <a:gridCol w="601967">
                  <a:extLst>
                    <a:ext uri="{9D8B030D-6E8A-4147-A177-3AD203B41FA5}">
                      <a16:colId xmlns:a16="http://schemas.microsoft.com/office/drawing/2014/main" val="2293403703"/>
                    </a:ext>
                  </a:extLst>
                </a:gridCol>
                <a:gridCol w="601967">
                  <a:extLst>
                    <a:ext uri="{9D8B030D-6E8A-4147-A177-3AD203B41FA5}">
                      <a16:colId xmlns:a16="http://schemas.microsoft.com/office/drawing/2014/main" val="2748373219"/>
                    </a:ext>
                  </a:extLst>
                </a:gridCol>
                <a:gridCol w="601967">
                  <a:extLst>
                    <a:ext uri="{9D8B030D-6E8A-4147-A177-3AD203B41FA5}">
                      <a16:colId xmlns:a16="http://schemas.microsoft.com/office/drawing/2014/main" val="316596246"/>
                    </a:ext>
                  </a:extLst>
                </a:gridCol>
                <a:gridCol w="601967">
                  <a:extLst>
                    <a:ext uri="{9D8B030D-6E8A-4147-A177-3AD203B41FA5}">
                      <a16:colId xmlns:a16="http://schemas.microsoft.com/office/drawing/2014/main" val="2656604351"/>
                    </a:ext>
                  </a:extLst>
                </a:gridCol>
              </a:tblGrid>
              <a:tr h="255601">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End Use </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p>
                  </a:txBody>
                  <a:tcPr marL="0" marR="0" marT="0" marB="0" anchor="ctr"/>
                </a:tc>
                <a:extLst>
                  <a:ext uri="{0D108BD9-81ED-4DB2-BD59-A6C34878D82A}">
                    <a16:rowId xmlns:a16="http://schemas.microsoft.com/office/drawing/2014/main" val="4277395723"/>
                  </a:ext>
                </a:extLst>
              </a:tr>
              <a:tr h="255601">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6.0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6.32</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6.9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7.3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7.01</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7.58</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8.0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8.5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9.10</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9.7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0.53</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3614340383"/>
                  </a:ext>
                </a:extLst>
              </a:tr>
              <a:tr h="25560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noProof="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Animal Husbandry</a:t>
                      </a: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4.51</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4.9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5.4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5.7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5.56</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5.7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6.30</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6.7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7.2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7.83</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8.51</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2094423544"/>
                  </a:ext>
                </a:extLst>
              </a:tr>
              <a:tr h="25560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noProof="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Healthcare</a:t>
                      </a: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1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48</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8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92</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7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4.20</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4.50</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4.81</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5.16</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5.5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6.0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741399779"/>
                  </a:ext>
                </a:extLst>
              </a:tr>
              <a:tr h="255601">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a:t>
                      </a: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0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2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5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76</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31</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3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51</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6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8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13</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40</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865856288"/>
                  </a:ext>
                </a:extLst>
              </a:tr>
              <a:tr h="231075">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Chemicals</a:t>
                      </a: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7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8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98</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0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9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01</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08</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16</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2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3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46</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3954528466"/>
                  </a:ext>
                </a:extLst>
              </a:tr>
              <a:tr h="245069">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Leather and Textiles                </a:t>
                      </a: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8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83</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92</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9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8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92</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9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03</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10</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18</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28</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587225213"/>
                  </a:ext>
                </a:extLst>
              </a:tr>
              <a:tr h="255601">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Others</a:t>
                      </a: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22</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2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21</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28</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48</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08</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0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16</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2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42</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5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1631373380"/>
                  </a:ext>
                </a:extLst>
              </a:tr>
            </a:tbl>
          </a:graphicData>
        </a:graphic>
      </p:graphicFrame>
      <p:sp>
        <p:nvSpPr>
          <p:cNvPr id="12" name="TextBox 11">
            <a:extLst>
              <a:ext uri="{FF2B5EF4-FFF2-40B4-BE49-F238E27FC236}">
                <a16:creationId xmlns:a16="http://schemas.microsoft.com/office/drawing/2014/main" id="{83837C58-ACF2-4A62-9EEB-FF71509B237E}"/>
              </a:ext>
            </a:extLst>
          </p:cNvPr>
          <p:cNvSpPr txBox="1"/>
          <p:nvPr/>
        </p:nvSpPr>
        <p:spPr>
          <a:xfrm>
            <a:off x="5473149" y="3744959"/>
            <a:ext cx="3251752"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 name="TextBox 8">
            <a:extLst>
              <a:ext uri="{FF2B5EF4-FFF2-40B4-BE49-F238E27FC236}">
                <a16:creationId xmlns:a16="http://schemas.microsoft.com/office/drawing/2014/main" id="{65E1EA7C-B7D1-4469-A2F9-FC1F87864C67}"/>
              </a:ext>
            </a:extLst>
          </p:cNvPr>
          <p:cNvSpPr txBox="1"/>
          <p:nvPr/>
        </p:nvSpPr>
        <p:spPr>
          <a:xfrm>
            <a:off x="5480409" y="6393818"/>
            <a:ext cx="3251752"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2930283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Vietnam Trade Dynamics</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3" name="TextBox 2">
            <a:extLst>
              <a:ext uri="{FF2B5EF4-FFF2-40B4-BE49-F238E27FC236}">
                <a16:creationId xmlns:a16="http://schemas.microsoft.com/office/drawing/2014/main" id="{794C340A-1814-458C-B951-A36DE5B0742F}"/>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30</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Vietnam Copper Sulphate Import</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16-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5" name="Chart 4">
            <a:extLst>
              <a:ext uri="{FF2B5EF4-FFF2-40B4-BE49-F238E27FC236}">
                <a16:creationId xmlns:a16="http://schemas.microsoft.com/office/drawing/2014/main" id="{74BC5EE8-859E-4E5F-AE1A-FEDD45EE9107}"/>
              </a:ext>
            </a:extLst>
          </p:cNvPr>
          <p:cNvGraphicFramePr/>
          <p:nvPr>
            <p:extLst>
              <p:ext uri="{D42A27DB-BD31-4B8C-83A1-F6EECF244321}">
                <p14:modId xmlns:p14="http://schemas.microsoft.com/office/powerpoint/2010/main" val="1919701849"/>
              </p:ext>
            </p:extLst>
          </p:nvPr>
        </p:nvGraphicFramePr>
        <p:xfrm>
          <a:off x="222309" y="1329121"/>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17E47EF-C5A1-4800-89D3-CAB8953BE22A}"/>
              </a:ext>
            </a:extLst>
          </p:cNvPr>
          <p:cNvSpPr txBox="1"/>
          <p:nvPr/>
        </p:nvSpPr>
        <p:spPr>
          <a:xfrm>
            <a:off x="6154275" y="310496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8" name="TextBox 13">
            <a:extLst>
              <a:ext uri="{FF2B5EF4-FFF2-40B4-BE49-F238E27FC236}">
                <a16:creationId xmlns:a16="http://schemas.microsoft.com/office/drawing/2014/main" id="{4E8B964E-7F89-4C16-A308-B38A1846CF29}"/>
              </a:ext>
            </a:extLst>
          </p:cNvPr>
          <p:cNvSpPr txBox="1"/>
          <p:nvPr/>
        </p:nvSpPr>
        <p:spPr>
          <a:xfrm>
            <a:off x="214086" y="3581566"/>
            <a:ext cx="4270912" cy="52290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US" sz="1000" b="1" kern="0" dirty="0">
                <a:latin typeface="Verdana" panose="020B0604030504040204" pitchFamily="34" charset="0"/>
                <a:ea typeface="Verdana" panose="020B0604030504040204" pitchFamily="34" charset="0"/>
                <a:cs typeface="Verdana" panose="020B0604030504040204" pitchFamily="34" charset="0"/>
              </a:rPr>
              <a:t>Vietnam </a:t>
            </a:r>
            <a:r>
              <a:rPr lang="en-IN" sz="1000" b="1" kern="0" dirty="0">
                <a:latin typeface="Verdana" panose="020B0604030504040204" pitchFamily="34" charset="0"/>
                <a:ea typeface="Verdana" panose="020B0604030504040204" pitchFamily="34" charset="0"/>
                <a:cs typeface="Verdana" panose="020B0604030504040204" pitchFamily="34" charset="0"/>
              </a:rPr>
              <a:t>Agriculture, Forestry, and Fishing, Value Added (Annual % Growth), 2015-2020</a:t>
            </a:r>
          </a:p>
        </p:txBody>
      </p:sp>
      <p:sp>
        <p:nvSpPr>
          <p:cNvPr id="13" name="TextBox 13">
            <a:extLst>
              <a:ext uri="{FF2B5EF4-FFF2-40B4-BE49-F238E27FC236}">
                <a16:creationId xmlns:a16="http://schemas.microsoft.com/office/drawing/2014/main" id="{22B93B88-584E-4396-8A76-615732453C3B}"/>
              </a:ext>
            </a:extLst>
          </p:cNvPr>
          <p:cNvSpPr txBox="1"/>
          <p:nvPr/>
        </p:nvSpPr>
        <p:spPr>
          <a:xfrm>
            <a:off x="4484998" y="3558310"/>
            <a:ext cx="4270912" cy="7537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IN" sz="1000" b="1" kern="0" dirty="0">
                <a:latin typeface="Verdana" panose="020B0604030504040204" pitchFamily="34" charset="0"/>
                <a:ea typeface="Verdana" panose="020B0604030504040204" pitchFamily="34" charset="0"/>
                <a:cs typeface="Verdana" panose="020B0604030504040204" pitchFamily="34" charset="0"/>
              </a:rPr>
              <a:t> </a:t>
            </a:r>
            <a:r>
              <a:rPr lang="en-US" sz="1000" b="1" kern="0" dirty="0">
                <a:latin typeface="Verdana" panose="020B0604030504040204" pitchFamily="34" charset="0"/>
                <a:ea typeface="Verdana" panose="020B0604030504040204" pitchFamily="34" charset="0"/>
                <a:cs typeface="Verdana" panose="020B0604030504040204" pitchFamily="34" charset="0"/>
              </a:rPr>
              <a:t>Top 5 Exporting Countries to Vietnam, By Volume Copper Sulphate, 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kern="0" dirty="0">
              <a:latin typeface="Verdana" panose="020B0604030504040204" pitchFamily="34" charset="0"/>
              <a:ea typeface="Verdana" panose="020B0604030504040204" pitchFamily="34" charset="0"/>
              <a:cs typeface="Verdana" panose="020B0604030504040204" pitchFamily="34" charset="0"/>
            </a:endParaRPr>
          </a:p>
          <a:p>
            <a:pPr>
              <a:lnSpc>
                <a:spcPct val="150000"/>
              </a:lnSpc>
              <a:defRPr/>
            </a:pP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Table 14">
            <a:extLst>
              <a:ext uri="{FF2B5EF4-FFF2-40B4-BE49-F238E27FC236}">
                <a16:creationId xmlns:a16="http://schemas.microsoft.com/office/drawing/2014/main" id="{7C46207C-8FD8-461D-B07D-E8A4DC575455}"/>
              </a:ext>
            </a:extLst>
          </p:cNvPr>
          <p:cNvGraphicFramePr>
            <a:graphicFrameLocks noGrp="1"/>
          </p:cNvGraphicFramePr>
          <p:nvPr>
            <p:extLst>
              <p:ext uri="{D42A27DB-BD31-4B8C-83A1-F6EECF244321}">
                <p14:modId xmlns:p14="http://schemas.microsoft.com/office/powerpoint/2010/main" val="3039280080"/>
              </p:ext>
            </p:extLst>
          </p:nvPr>
        </p:nvGraphicFramePr>
        <p:xfrm>
          <a:off x="4605499" y="4110962"/>
          <a:ext cx="3858500" cy="2076211"/>
        </p:xfrm>
        <a:graphic>
          <a:graphicData uri="http://schemas.openxmlformats.org/drawingml/2006/table">
            <a:tbl>
              <a:tblPr>
                <a:tableStyleId>{3B4B98B0-60AC-42C2-AFA5-B58CD77FA1E5}</a:tableStyleId>
              </a:tblPr>
              <a:tblGrid>
                <a:gridCol w="1929250">
                  <a:extLst>
                    <a:ext uri="{9D8B030D-6E8A-4147-A177-3AD203B41FA5}">
                      <a16:colId xmlns:a16="http://schemas.microsoft.com/office/drawing/2014/main" val="435593215"/>
                    </a:ext>
                  </a:extLst>
                </a:gridCol>
                <a:gridCol w="1929250">
                  <a:extLst>
                    <a:ext uri="{9D8B030D-6E8A-4147-A177-3AD203B41FA5}">
                      <a16:colId xmlns:a16="http://schemas.microsoft.com/office/drawing/2014/main" val="2622006846"/>
                    </a:ext>
                  </a:extLst>
                </a:gridCol>
              </a:tblGrid>
              <a:tr h="251797">
                <a:tc>
                  <a:txBody>
                    <a:bodyPr/>
                    <a:lstStyle/>
                    <a:p>
                      <a:pPr algn="l"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Countries</a:t>
                      </a:r>
                    </a:p>
                  </a:txBody>
                  <a:tcPr marL="72000" marR="72000" marT="36000" marB="36000" anchor="ctr">
                    <a:lnL>
                      <a:noFill/>
                    </a:lnL>
                    <a:lnR>
                      <a:noFill/>
                    </a:lnR>
                    <a:lnT w="12700" cmpd="sng">
                      <a:noFill/>
                    </a:lnT>
                    <a:lnB>
                      <a:noFill/>
                    </a:lnB>
                    <a:lnTlToBr w="12700" cmpd="sng">
                      <a:noFill/>
                      <a:prstDash val="solid"/>
                    </a:lnTlToBr>
                    <a:lnBlToTr w="12700" cmpd="sng">
                      <a:noFill/>
                      <a:prstDash val="solid"/>
                    </a:lnBlToTr>
                  </a:tcPr>
                </a:tc>
                <a:tc>
                  <a:txBody>
                    <a:bodyPr/>
                    <a:lstStyle/>
                    <a:p>
                      <a:pPr algn="ctr"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Volum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8928573"/>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aiwan</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3.65</a:t>
                      </a:r>
                    </a:p>
                  </a:txBody>
                  <a:tcPr marL="0" marR="0" marT="0" marB="0" anchor="b">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38077485"/>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hailand</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2.20</a:t>
                      </a:r>
                    </a:p>
                  </a:txBody>
                  <a:tcPr marL="0" marR="0" marT="0" marB="0" anchor="b">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75286502"/>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South Korea </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98</a:t>
                      </a:r>
                    </a:p>
                  </a:txBody>
                  <a:tcPr marL="0" marR="0" marT="0" marB="0" anchor="b">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377895310"/>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China</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34</a:t>
                      </a:r>
                    </a:p>
                  </a:txBody>
                  <a:tcPr marL="0" marR="0" marT="0" marB="0" anchor="b">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952825168"/>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urkey</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15</a:t>
                      </a:r>
                    </a:p>
                  </a:txBody>
                  <a:tcPr marL="0" marR="0" marT="0" marB="0" anchor="b">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292385393"/>
                  </a:ext>
                </a:extLst>
              </a:tr>
              <a:tr h="304069">
                <a:tc>
                  <a:txBody>
                    <a:bodyPr/>
                    <a:lstStyle/>
                    <a:p>
                      <a:pPr algn="l" fontAlgn="ctr"/>
                      <a:endPar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a:noFill/>
                    </a:lnL>
                    <a:lnR>
                      <a:noFill/>
                    </a:lnR>
                    <a:lnT>
                      <a:noFill/>
                    </a:lnT>
                    <a:lnB w="12700" cmpd="sng">
                      <a:noFill/>
                    </a:lnB>
                    <a:lnTlToBr w="12700" cmpd="sng">
                      <a:noFill/>
                      <a:prstDash val="solid"/>
                    </a:lnTlToBr>
                    <a:lnBlToTr w="12700" cmpd="sng">
                      <a:noFill/>
                      <a:prstDash val="solid"/>
                    </a:lnBlToTr>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873314538"/>
                  </a:ext>
                </a:extLst>
              </a:tr>
            </a:tbl>
          </a:graphicData>
        </a:graphic>
      </p:graphicFrame>
      <p:sp>
        <p:nvSpPr>
          <p:cNvPr id="16" name="TextBox 15">
            <a:extLst>
              <a:ext uri="{FF2B5EF4-FFF2-40B4-BE49-F238E27FC236}">
                <a16:creationId xmlns:a16="http://schemas.microsoft.com/office/drawing/2014/main" id="{5494065C-E459-4D86-A71A-C6EF631296F8}"/>
              </a:ext>
            </a:extLst>
          </p:cNvPr>
          <p:cNvSpPr txBox="1"/>
          <p:nvPr/>
        </p:nvSpPr>
        <p:spPr>
          <a:xfrm>
            <a:off x="6006954" y="6249980"/>
            <a:ext cx="2544697"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ITC Data</a:t>
            </a:r>
          </a:p>
        </p:txBody>
      </p:sp>
      <p:graphicFrame>
        <p:nvGraphicFramePr>
          <p:cNvPr id="19" name="Chart 18">
            <a:extLst>
              <a:ext uri="{FF2B5EF4-FFF2-40B4-BE49-F238E27FC236}">
                <a16:creationId xmlns:a16="http://schemas.microsoft.com/office/drawing/2014/main" id="{D2947201-71AB-48FA-B4B0-239E8E2B928D}"/>
              </a:ext>
            </a:extLst>
          </p:cNvPr>
          <p:cNvGraphicFramePr/>
          <p:nvPr>
            <p:extLst>
              <p:ext uri="{D42A27DB-BD31-4B8C-83A1-F6EECF244321}">
                <p14:modId xmlns:p14="http://schemas.microsoft.com/office/powerpoint/2010/main" val="1004459673"/>
              </p:ext>
            </p:extLst>
          </p:nvPr>
        </p:nvGraphicFramePr>
        <p:xfrm>
          <a:off x="245933" y="4454399"/>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Box 19">
            <a:extLst>
              <a:ext uri="{FF2B5EF4-FFF2-40B4-BE49-F238E27FC236}">
                <a16:creationId xmlns:a16="http://schemas.microsoft.com/office/drawing/2014/main" id="{972C9BFC-18A0-4E96-BA47-A87B76ED9E58}"/>
              </a:ext>
            </a:extLst>
          </p:cNvPr>
          <p:cNvSpPr txBox="1"/>
          <p:nvPr/>
        </p:nvSpPr>
        <p:spPr>
          <a:xfrm>
            <a:off x="2317009"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Tree>
    <p:extLst>
      <p:ext uri="{BB962C8B-B14F-4D97-AF65-F5344CB8AC3E}">
        <p14:creationId xmlns:p14="http://schemas.microsoft.com/office/powerpoint/2010/main" val="275224541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75D31631-046C-49F0-AF4D-23981686B626}"/>
              </a:ext>
            </a:extLst>
          </p:cNvPr>
          <p:cNvGrpSpPr/>
          <p:nvPr/>
        </p:nvGrpSpPr>
        <p:grpSpPr>
          <a:xfrm>
            <a:off x="385816" y="1134502"/>
            <a:ext cx="4158053" cy="378905"/>
            <a:chOff x="222392" y="286"/>
            <a:chExt cx="1828512" cy="1097107"/>
          </a:xfrm>
          <a:scene3d>
            <a:camera prst="orthographicFront">
              <a:rot lat="0" lon="0" rev="0"/>
            </a:camera>
            <a:lightRig rig="balanced" dir="t">
              <a:rot lat="0" lon="0" rev="8700000"/>
            </a:lightRig>
          </a:scene3d>
        </p:grpSpPr>
        <p:sp>
          <p:nvSpPr>
            <p:cNvPr id="30" name="Rectangle 29">
              <a:extLst>
                <a:ext uri="{FF2B5EF4-FFF2-40B4-BE49-F238E27FC236}">
                  <a16:creationId xmlns:a16="http://schemas.microsoft.com/office/drawing/2014/main" id="{BC7B5B2D-2C3E-4817-AC05-8A1077CBC2C2}"/>
                </a:ext>
              </a:extLst>
            </p:cNvPr>
            <p:cNvSpPr/>
            <p:nvPr/>
          </p:nvSpPr>
          <p:spPr>
            <a:xfrm>
              <a:off x="222392" y="286"/>
              <a:ext cx="1828512" cy="1097107"/>
            </a:xfrm>
            <a:prstGeom prst="rect">
              <a:avLst/>
            </a:prstGeom>
            <a:solidFill>
              <a:schemeClr val="tx1">
                <a:lumMod val="50000"/>
                <a:lumOff val="50000"/>
              </a:schemeClr>
            </a:solidFill>
            <a:ln>
              <a:noFill/>
            </a:ln>
            <a:effectLst>
              <a:outerShdw blurRad="44450" dist="27940" dir="5400000" algn="ctr">
                <a:srgbClr val="000000">
                  <a:alpha val="32000"/>
                </a:srgbClr>
              </a:outerShdw>
            </a:effectLst>
            <a:sp3d>
              <a:bevelT w="190500" h="38100"/>
            </a:sp3d>
          </p:spPr>
          <p:style>
            <a:lnRef idx="0">
              <a:schemeClr val="dk2">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2">
                <a:hueOff val="0"/>
                <a:satOff val="0"/>
                <a:lumOff val="0"/>
                <a:alphaOff val="0"/>
              </a:schemeClr>
            </a:fontRef>
          </p:style>
        </p:sp>
        <p:sp>
          <p:nvSpPr>
            <p:cNvPr id="31" name="TextBox 30">
              <a:extLst>
                <a:ext uri="{FF2B5EF4-FFF2-40B4-BE49-F238E27FC236}">
                  <a16:creationId xmlns:a16="http://schemas.microsoft.com/office/drawing/2014/main" id="{1A8A6335-1252-425B-B278-8634D4B2E4D9}"/>
                </a:ext>
              </a:extLst>
            </p:cNvPr>
            <p:cNvSpPr txBox="1"/>
            <p:nvPr/>
          </p:nvSpPr>
          <p:spPr>
            <a:xfrm>
              <a:off x="222392" y="286"/>
              <a:ext cx="1828512" cy="1097107"/>
            </a:xfrm>
            <a:prstGeom prst="rect">
              <a:avLst/>
            </a:prstGeom>
            <a:ln>
              <a:noFill/>
            </a:ln>
            <a:effectLst>
              <a:outerShdw blurRad="44450" dist="27940" dir="5400000" algn="ctr">
                <a:srgbClr val="000000">
                  <a:alpha val="32000"/>
                </a:srgbClr>
              </a:outerShdw>
            </a:effectLst>
            <a:sp3d>
              <a:bevelT w="190500" h="38100"/>
            </a:sp3d>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60960" tIns="60960" rIns="60960" bIns="60960" numCol="1" spcCol="1270" anchor="ctr" anchorCtr="0">
              <a:noAutofit/>
            </a:bodyPr>
            <a:lstStyle/>
            <a:p>
              <a:pPr algn="ctr" defTabSz="711200">
                <a:lnSpc>
                  <a:spcPct val="90000"/>
                </a:lnSpc>
                <a:spcBef>
                  <a:spcPct val="0"/>
                </a:spcBef>
                <a:spcAft>
                  <a:spcPct val="35000"/>
                </a:spcAft>
              </a:pPr>
              <a:r>
                <a:rPr lang="en-IN" sz="1600" b="1" dirty="0">
                  <a:solidFill>
                    <a:schemeClr val="bg1"/>
                  </a:solidFill>
                  <a:latin typeface="Calibri" panose="020F0502020204030204"/>
                </a:rPr>
                <a:t>Leading Companies / Brands in Vietnam</a:t>
              </a:r>
            </a:p>
          </p:txBody>
        </p:sp>
      </p:grpSp>
      <p:sp>
        <p:nvSpPr>
          <p:cNvPr id="6" name="Rectangle 5">
            <a:extLst>
              <a:ext uri="{FF2B5EF4-FFF2-40B4-BE49-F238E27FC236}">
                <a16:creationId xmlns:a16="http://schemas.microsoft.com/office/drawing/2014/main" id="{983A0455-0A23-42C1-A471-17813F6F36E5}"/>
              </a:ext>
            </a:extLst>
          </p:cNvPr>
          <p:cNvSpPr/>
          <p:nvPr/>
        </p:nvSpPr>
        <p:spPr>
          <a:xfrm>
            <a:off x="296596" y="914401"/>
            <a:ext cx="4373880" cy="5524501"/>
          </a:xfrm>
          <a:prstGeom prst="rect">
            <a:avLst/>
          </a:prstGeom>
          <a:noFill/>
          <a:ln w="19050">
            <a:solidFill>
              <a:schemeClr val="tx1">
                <a:lumMod val="50000"/>
                <a:lumOff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1" name="Group 10">
            <a:extLst>
              <a:ext uri="{FF2B5EF4-FFF2-40B4-BE49-F238E27FC236}">
                <a16:creationId xmlns:a16="http://schemas.microsoft.com/office/drawing/2014/main" id="{CD160E9B-4116-4FB8-9A71-86555CFBCE8D}"/>
              </a:ext>
            </a:extLst>
          </p:cNvPr>
          <p:cNvGrpSpPr/>
          <p:nvPr/>
        </p:nvGrpSpPr>
        <p:grpSpPr>
          <a:xfrm>
            <a:off x="4937759" y="792855"/>
            <a:ext cx="3384000" cy="1080000"/>
            <a:chOff x="4937759" y="951620"/>
            <a:chExt cx="3505692" cy="1228872"/>
          </a:xfrm>
        </p:grpSpPr>
        <p:sp>
          <p:nvSpPr>
            <p:cNvPr id="8" name="Arrow: Striped Right 7">
              <a:extLst>
                <a:ext uri="{FF2B5EF4-FFF2-40B4-BE49-F238E27FC236}">
                  <a16:creationId xmlns:a16="http://schemas.microsoft.com/office/drawing/2014/main" id="{03F6DBD7-5DC8-421A-855F-8CFD7F059AFB}"/>
                </a:ext>
              </a:extLst>
            </p:cNvPr>
            <p:cNvSpPr/>
            <p:nvPr/>
          </p:nvSpPr>
          <p:spPr>
            <a:xfrm>
              <a:off x="4937759" y="951620"/>
              <a:ext cx="1589650" cy="1228872"/>
            </a:xfrm>
            <a:prstGeom prst="striped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Competition Scenario</a:t>
              </a:r>
            </a:p>
          </p:txBody>
        </p:sp>
        <p:sp>
          <p:nvSpPr>
            <p:cNvPr id="9" name="Flowchart: Display 8">
              <a:extLst>
                <a:ext uri="{FF2B5EF4-FFF2-40B4-BE49-F238E27FC236}">
                  <a16:creationId xmlns:a16="http://schemas.microsoft.com/office/drawing/2014/main" id="{12D1CBAB-D90E-4665-B371-FEE05B7E2145}"/>
                </a:ext>
              </a:extLst>
            </p:cNvPr>
            <p:cNvSpPr/>
            <p:nvPr/>
          </p:nvSpPr>
          <p:spPr>
            <a:xfrm>
              <a:off x="6741260" y="1259732"/>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Low</a:t>
              </a:r>
            </a:p>
          </p:txBody>
        </p:sp>
      </p:grpSp>
      <p:grpSp>
        <p:nvGrpSpPr>
          <p:cNvPr id="12" name="Group 11">
            <a:extLst>
              <a:ext uri="{FF2B5EF4-FFF2-40B4-BE49-F238E27FC236}">
                <a16:creationId xmlns:a16="http://schemas.microsoft.com/office/drawing/2014/main" id="{4377EFB3-F0E4-49F5-AF73-CB70BF7D9913}"/>
              </a:ext>
            </a:extLst>
          </p:cNvPr>
          <p:cNvGrpSpPr/>
          <p:nvPr/>
        </p:nvGrpSpPr>
        <p:grpSpPr>
          <a:xfrm>
            <a:off x="4937759" y="2711813"/>
            <a:ext cx="3384000" cy="1080000"/>
            <a:chOff x="4937759" y="2856214"/>
            <a:chExt cx="3505692" cy="1228872"/>
          </a:xfrm>
        </p:grpSpPr>
        <p:sp>
          <p:nvSpPr>
            <p:cNvPr id="40" name="Arrow: Striped Right 39">
              <a:extLst>
                <a:ext uri="{FF2B5EF4-FFF2-40B4-BE49-F238E27FC236}">
                  <a16:creationId xmlns:a16="http://schemas.microsoft.com/office/drawing/2014/main" id="{F189F971-2700-4730-B3A4-9E51930D5C5F}"/>
                </a:ext>
              </a:extLst>
            </p:cNvPr>
            <p:cNvSpPr/>
            <p:nvPr/>
          </p:nvSpPr>
          <p:spPr>
            <a:xfrm>
              <a:off x="4937759" y="2856214"/>
              <a:ext cx="1589650" cy="1228872"/>
            </a:xfrm>
            <a:prstGeom prst="striped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Growth Prospects</a:t>
              </a:r>
            </a:p>
          </p:txBody>
        </p:sp>
        <p:sp>
          <p:nvSpPr>
            <p:cNvPr id="43" name="Flowchart: Display 42">
              <a:extLst>
                <a:ext uri="{FF2B5EF4-FFF2-40B4-BE49-F238E27FC236}">
                  <a16:creationId xmlns:a16="http://schemas.microsoft.com/office/drawing/2014/main" id="{31216467-3064-4594-A767-982E4397E2A3}"/>
                </a:ext>
              </a:extLst>
            </p:cNvPr>
            <p:cNvSpPr/>
            <p:nvPr/>
          </p:nvSpPr>
          <p:spPr>
            <a:xfrm>
              <a:off x="6741260" y="3145241"/>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grpSp>
        <p:nvGrpSpPr>
          <p:cNvPr id="21" name="Group 20">
            <a:extLst>
              <a:ext uri="{FF2B5EF4-FFF2-40B4-BE49-F238E27FC236}">
                <a16:creationId xmlns:a16="http://schemas.microsoft.com/office/drawing/2014/main" id="{5EB35027-976B-49DF-AD91-E37705947DC0}"/>
              </a:ext>
            </a:extLst>
          </p:cNvPr>
          <p:cNvGrpSpPr/>
          <p:nvPr/>
        </p:nvGrpSpPr>
        <p:grpSpPr>
          <a:xfrm>
            <a:off x="4951011" y="4652340"/>
            <a:ext cx="3384000" cy="1080000"/>
            <a:chOff x="4937759" y="4831145"/>
            <a:chExt cx="3505692" cy="1228872"/>
          </a:xfrm>
        </p:grpSpPr>
        <p:sp>
          <p:nvSpPr>
            <p:cNvPr id="41" name="Arrow: Striped Right 40">
              <a:extLst>
                <a:ext uri="{FF2B5EF4-FFF2-40B4-BE49-F238E27FC236}">
                  <a16:creationId xmlns:a16="http://schemas.microsoft.com/office/drawing/2014/main" id="{60E22D3C-00A0-4FF3-B3D8-642E45B8FCA4}"/>
                </a:ext>
              </a:extLst>
            </p:cNvPr>
            <p:cNvSpPr/>
            <p:nvPr/>
          </p:nvSpPr>
          <p:spPr>
            <a:xfrm>
              <a:off x="4937759" y="4831145"/>
              <a:ext cx="1589650" cy="1228872"/>
            </a:xfrm>
            <a:prstGeom prst="striped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Outlook</a:t>
              </a:r>
            </a:p>
          </p:txBody>
        </p:sp>
        <p:sp>
          <p:nvSpPr>
            <p:cNvPr id="44" name="Flowchart: Display 43">
              <a:extLst>
                <a:ext uri="{FF2B5EF4-FFF2-40B4-BE49-F238E27FC236}">
                  <a16:creationId xmlns:a16="http://schemas.microsoft.com/office/drawing/2014/main" id="{DF621444-198A-4395-A3D5-87383E1A01F4}"/>
                </a:ext>
              </a:extLst>
            </p:cNvPr>
            <p:cNvSpPr/>
            <p:nvPr/>
          </p:nvSpPr>
          <p:spPr>
            <a:xfrm>
              <a:off x="6741260" y="5139257"/>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Medium</a:t>
              </a:r>
            </a:p>
          </p:txBody>
        </p:sp>
      </p:grpSp>
      <p:sp>
        <p:nvSpPr>
          <p:cNvPr id="10" name="Rectangle 9">
            <a:extLst>
              <a:ext uri="{FF2B5EF4-FFF2-40B4-BE49-F238E27FC236}">
                <a16:creationId xmlns:a16="http://schemas.microsoft.com/office/drawing/2014/main" id="{8BD34E69-CF39-424D-9DE9-2F73E555B95A}"/>
              </a:ext>
            </a:extLst>
          </p:cNvPr>
          <p:cNvSpPr/>
          <p:nvPr/>
        </p:nvSpPr>
        <p:spPr>
          <a:xfrm>
            <a:off x="4937759" y="1809659"/>
            <a:ext cx="3782171" cy="996107"/>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Majority of the Vietnam Copper Sulphate market is catered by the imports from China, Singapore and South Korea. Incheon Chemical Co Ltd and Young Poong Co Ltd are some of the major players exporting Copper Sulphate in Vietnam   </a:t>
            </a:r>
          </a:p>
        </p:txBody>
      </p:sp>
      <p:sp>
        <p:nvSpPr>
          <p:cNvPr id="46" name="Rectangle 45">
            <a:extLst>
              <a:ext uri="{FF2B5EF4-FFF2-40B4-BE49-F238E27FC236}">
                <a16:creationId xmlns:a16="http://schemas.microsoft.com/office/drawing/2014/main" id="{9C10E17B-1F3D-427B-8DCC-335C7785DD5F}"/>
              </a:ext>
            </a:extLst>
          </p:cNvPr>
          <p:cNvSpPr/>
          <p:nvPr/>
        </p:nvSpPr>
        <p:spPr>
          <a:xfrm>
            <a:off x="4937758" y="3745344"/>
            <a:ext cx="3914694" cy="996107"/>
          </a:xfrm>
          <a:prstGeom prst="rect">
            <a:avLst/>
          </a:prstGeom>
        </p:spPr>
        <p:txBody>
          <a:bodyPr wrap="square">
            <a:spAutoFit/>
          </a:bodyPr>
          <a:lstStyle/>
          <a:p>
            <a:pPr algn="just">
              <a:lnSpc>
                <a:spcPct val="120000"/>
              </a:lnSpc>
              <a:spcBef>
                <a:spcPts val="400"/>
              </a:spcBef>
              <a:spcAft>
                <a:spcPts val="400"/>
              </a:spcAft>
            </a:pPr>
            <a:r>
              <a:rPr lang="en-IN"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OVID-19 pandemic has shifted the sentiments of major industries in China to shift their focus on other South-east Asian Countries such as Vietnam. Demand for Industrial grade Copper Sulphate in Vietnam is expected to rise on account for growing industries in the country. </a:t>
            </a:r>
            <a:endPar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0" name="Rectangle 49">
            <a:extLst>
              <a:ext uri="{FF2B5EF4-FFF2-40B4-BE49-F238E27FC236}">
                <a16:creationId xmlns:a16="http://schemas.microsoft.com/office/drawing/2014/main" id="{C2530AFD-4B7D-4A00-9782-D6D451550390}"/>
              </a:ext>
            </a:extLst>
          </p:cNvPr>
          <p:cNvSpPr/>
          <p:nvPr/>
        </p:nvSpPr>
        <p:spPr>
          <a:xfrm>
            <a:off x="4978157" y="5679332"/>
            <a:ext cx="3688765" cy="996107"/>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Vietnamese Government is attracting many foreign manufacturing industries such as textile, shoe making, electronic products, etc. The demand of industrial Copper Sulphate is expected to rise on account of these growing industries.</a:t>
            </a:r>
          </a:p>
        </p:txBody>
      </p:sp>
      <p:sp>
        <p:nvSpPr>
          <p:cNvPr id="25" name="Title 1">
            <a:extLst>
              <a:ext uri="{FF2B5EF4-FFF2-40B4-BE49-F238E27FC236}">
                <a16:creationId xmlns:a16="http://schemas.microsoft.com/office/drawing/2014/main" id="{F6F4C119-0EA0-4DC7-BC95-465085749DF1}"/>
              </a:ext>
            </a:extLst>
          </p:cNvPr>
          <p:cNvSpPr txBox="1">
            <a:spLocks/>
          </p:cNvSpPr>
          <p:nvPr/>
        </p:nvSpPr>
        <p:spPr>
          <a:xfrm>
            <a:off x="42204" y="164731"/>
            <a:ext cx="3751028" cy="301814"/>
          </a:xfrm>
          <a:prstGeom prst="rect">
            <a:avLst/>
          </a:prstGeom>
          <a:noFill/>
        </p:spPr>
        <p:txBody>
          <a:bodyPr vert="horz" wrap="square" lIns="91440" tIns="45720" rIns="91440" bIns="45720" rtlCol="0" anchor="ctr">
            <a:spAutoFit/>
          </a:bodyPr>
          <a:lstStyle>
            <a:defPPr>
              <a:defRPr lang="en-US"/>
            </a:defPPr>
            <a:lvl1pPr marR="0" lvl="0" indent="0" defTabSz="45720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 Competition Outlook in Vietnam</a:t>
            </a:r>
          </a:p>
        </p:txBody>
      </p:sp>
      <p:pic>
        <p:nvPicPr>
          <p:cNvPr id="3" name="Picture 2">
            <a:extLst>
              <a:ext uri="{FF2B5EF4-FFF2-40B4-BE49-F238E27FC236}">
                <a16:creationId xmlns:a16="http://schemas.microsoft.com/office/drawing/2014/main" id="{ABBACEB6-DCE5-4199-8F2B-341AEFB39337}"/>
              </a:ext>
            </a:extLst>
          </p:cNvPr>
          <p:cNvPicPr>
            <a:picLocks noChangeAspect="1"/>
          </p:cNvPicPr>
          <p:nvPr/>
        </p:nvPicPr>
        <p:blipFill>
          <a:blip r:embed="rId2"/>
          <a:stretch>
            <a:fillRect/>
          </a:stretch>
        </p:blipFill>
        <p:spPr>
          <a:xfrm>
            <a:off x="358855" y="3394745"/>
            <a:ext cx="2257425" cy="600075"/>
          </a:xfrm>
          <a:prstGeom prst="rect">
            <a:avLst/>
          </a:prstGeom>
        </p:spPr>
      </p:pic>
      <p:pic>
        <p:nvPicPr>
          <p:cNvPr id="13" name="Picture 12">
            <a:extLst>
              <a:ext uri="{FF2B5EF4-FFF2-40B4-BE49-F238E27FC236}">
                <a16:creationId xmlns:a16="http://schemas.microsoft.com/office/drawing/2014/main" id="{FF8F1F66-F586-429E-9B54-E15CB9AD5F04}"/>
              </a:ext>
            </a:extLst>
          </p:cNvPr>
          <p:cNvPicPr>
            <a:picLocks noChangeAspect="1"/>
          </p:cNvPicPr>
          <p:nvPr/>
        </p:nvPicPr>
        <p:blipFill>
          <a:blip r:embed="rId3"/>
          <a:stretch>
            <a:fillRect/>
          </a:stretch>
        </p:blipFill>
        <p:spPr>
          <a:xfrm>
            <a:off x="2176799" y="2043040"/>
            <a:ext cx="2257426" cy="466725"/>
          </a:xfrm>
          <a:prstGeom prst="rect">
            <a:avLst/>
          </a:prstGeom>
        </p:spPr>
      </p:pic>
      <p:pic>
        <p:nvPicPr>
          <p:cNvPr id="35" name="Picture 34">
            <a:extLst>
              <a:ext uri="{FF2B5EF4-FFF2-40B4-BE49-F238E27FC236}">
                <a16:creationId xmlns:a16="http://schemas.microsoft.com/office/drawing/2014/main" id="{6B61783E-854A-4B3D-93F7-A0DF9A821E1D}"/>
              </a:ext>
            </a:extLst>
          </p:cNvPr>
          <p:cNvPicPr>
            <a:picLocks noChangeAspect="1"/>
          </p:cNvPicPr>
          <p:nvPr/>
        </p:nvPicPr>
        <p:blipFill>
          <a:blip r:embed="rId4"/>
          <a:stretch>
            <a:fillRect/>
          </a:stretch>
        </p:blipFill>
        <p:spPr>
          <a:xfrm>
            <a:off x="2599035" y="3365704"/>
            <a:ext cx="1939120" cy="495300"/>
          </a:xfrm>
          <a:prstGeom prst="rect">
            <a:avLst/>
          </a:prstGeom>
        </p:spPr>
      </p:pic>
      <p:pic>
        <p:nvPicPr>
          <p:cNvPr id="37" name="Picture 36">
            <a:extLst>
              <a:ext uri="{FF2B5EF4-FFF2-40B4-BE49-F238E27FC236}">
                <a16:creationId xmlns:a16="http://schemas.microsoft.com/office/drawing/2014/main" id="{A04935AF-400A-4533-BA23-28771811C8A0}"/>
              </a:ext>
            </a:extLst>
          </p:cNvPr>
          <p:cNvPicPr>
            <a:picLocks noChangeAspect="1"/>
          </p:cNvPicPr>
          <p:nvPr/>
        </p:nvPicPr>
        <p:blipFill>
          <a:blip r:embed="rId5"/>
          <a:stretch>
            <a:fillRect/>
          </a:stretch>
        </p:blipFill>
        <p:spPr>
          <a:xfrm>
            <a:off x="517568" y="1961263"/>
            <a:ext cx="1708798" cy="750550"/>
          </a:xfrm>
          <a:prstGeom prst="rect">
            <a:avLst/>
          </a:prstGeom>
        </p:spPr>
      </p:pic>
      <p:pic>
        <p:nvPicPr>
          <p:cNvPr id="32" name="Picture 31">
            <a:extLst>
              <a:ext uri="{FF2B5EF4-FFF2-40B4-BE49-F238E27FC236}">
                <a16:creationId xmlns:a16="http://schemas.microsoft.com/office/drawing/2014/main" id="{CE0AC8CD-7D65-40C8-A0E8-E51B117E92E5}"/>
              </a:ext>
            </a:extLst>
          </p:cNvPr>
          <p:cNvPicPr>
            <a:picLocks noChangeAspect="1"/>
          </p:cNvPicPr>
          <p:nvPr/>
        </p:nvPicPr>
        <p:blipFill>
          <a:blip r:embed="rId6"/>
          <a:stretch>
            <a:fillRect/>
          </a:stretch>
        </p:blipFill>
        <p:spPr>
          <a:xfrm>
            <a:off x="886528" y="4457956"/>
            <a:ext cx="970877" cy="983664"/>
          </a:xfrm>
          <a:prstGeom prst="rect">
            <a:avLst/>
          </a:prstGeom>
        </p:spPr>
      </p:pic>
      <p:pic>
        <p:nvPicPr>
          <p:cNvPr id="34" name="Picture 33">
            <a:extLst>
              <a:ext uri="{FF2B5EF4-FFF2-40B4-BE49-F238E27FC236}">
                <a16:creationId xmlns:a16="http://schemas.microsoft.com/office/drawing/2014/main" id="{25F9296F-A9B9-4428-B276-0E874BE2140A}"/>
              </a:ext>
            </a:extLst>
          </p:cNvPr>
          <p:cNvPicPr>
            <a:picLocks noChangeAspect="1"/>
          </p:cNvPicPr>
          <p:nvPr/>
        </p:nvPicPr>
        <p:blipFill>
          <a:blip r:embed="rId7"/>
          <a:stretch>
            <a:fillRect/>
          </a:stretch>
        </p:blipFill>
        <p:spPr>
          <a:xfrm>
            <a:off x="2738833" y="4607206"/>
            <a:ext cx="1659523" cy="651395"/>
          </a:xfrm>
          <a:prstGeom prst="rect">
            <a:avLst/>
          </a:prstGeom>
        </p:spPr>
      </p:pic>
    </p:spTree>
    <p:extLst>
      <p:ext uri="{BB962C8B-B14F-4D97-AF65-F5344CB8AC3E}">
        <p14:creationId xmlns:p14="http://schemas.microsoft.com/office/powerpoint/2010/main" val="199700893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6B1D01B8-32F7-47CA-AEE2-F21C067B30D7}"/>
              </a:ext>
            </a:extLst>
          </p:cNvPr>
          <p:cNvSpPr/>
          <p:nvPr/>
        </p:nvSpPr>
        <p:spPr>
          <a:xfrm>
            <a:off x="0" y="754379"/>
            <a:ext cx="6032500" cy="1083212"/>
          </a:xfrm>
          <a:custGeom>
            <a:avLst/>
            <a:gdLst>
              <a:gd name="connsiteX0" fmla="*/ 0 w 6032500"/>
              <a:gd name="connsiteY0" fmla="*/ 0 h 1083212"/>
              <a:gd name="connsiteX1" fmla="*/ 6032500 w 6032500"/>
              <a:gd name="connsiteY1" fmla="*/ 0 h 1083212"/>
              <a:gd name="connsiteX2" fmla="*/ 6032500 w 6032500"/>
              <a:gd name="connsiteY2" fmla="*/ 1083212 h 1083212"/>
              <a:gd name="connsiteX3" fmla="*/ 0 w 6032500"/>
              <a:gd name="connsiteY3" fmla="*/ 1083212 h 1083212"/>
              <a:gd name="connsiteX4" fmla="*/ 0 w 6032500"/>
              <a:gd name="connsiteY4" fmla="*/ 0 h 1083212"/>
              <a:gd name="connsiteX0" fmla="*/ 0 w 6032500"/>
              <a:gd name="connsiteY0" fmla="*/ 0 h 1083212"/>
              <a:gd name="connsiteX1" fmla="*/ 6032500 w 6032500"/>
              <a:gd name="connsiteY1" fmla="*/ 0 h 1083212"/>
              <a:gd name="connsiteX2" fmla="*/ 5526063 w 6032500"/>
              <a:gd name="connsiteY2" fmla="*/ 1083212 h 1083212"/>
              <a:gd name="connsiteX3" fmla="*/ 0 w 6032500"/>
              <a:gd name="connsiteY3" fmla="*/ 1083212 h 1083212"/>
              <a:gd name="connsiteX4" fmla="*/ 0 w 6032500"/>
              <a:gd name="connsiteY4" fmla="*/ 0 h 108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0" h="1083212">
                <a:moveTo>
                  <a:pt x="0" y="0"/>
                </a:moveTo>
                <a:lnTo>
                  <a:pt x="6032500" y="0"/>
                </a:lnTo>
                <a:lnTo>
                  <a:pt x="5526063" y="1083212"/>
                </a:lnTo>
                <a:lnTo>
                  <a:pt x="0" y="1083212"/>
                </a:lnTo>
                <a:lnTo>
                  <a:pt x="0" y="0"/>
                </a:lnTo>
                <a:close/>
              </a:path>
            </a:pathLst>
          </a:custGeom>
          <a:solidFill>
            <a:sysClr val="window" lastClr="FFFFFF"/>
          </a:solidFill>
          <a:ln w="12700" cap="flat" cmpd="sng" algn="ctr">
            <a:noFill/>
            <a:prstDash val="solid"/>
            <a:miter lim="800000"/>
          </a:ln>
          <a:effectLst>
            <a:innerShdw blurRad="76200" dist="76200" dir="18900000">
              <a:prstClr val="black">
                <a:alpha val="46000"/>
              </a:prstClr>
            </a:innerShdw>
          </a:effectLst>
        </p:spPr>
        <p:txBody>
          <a:bodyPr rtlCol="0" anchor="ctr"/>
          <a:lstStyle/>
          <a:p>
            <a:pPr marL="0" lvl="1">
              <a:defRPr/>
            </a:pPr>
            <a:r>
              <a:rPr lang="en-IN" sz="2400" b="1" dirty="0">
                <a:solidFill>
                  <a:prstClr val="black"/>
                </a:solidFill>
                <a:latin typeface="Arial" panose="020B0604020202020204" pitchFamily="34" charset="0"/>
                <a:cs typeface="Arial" panose="020B0604020202020204" pitchFamily="34" charset="0"/>
              </a:rPr>
              <a:t>Philippines Copper Sulphate Market Outlook</a:t>
            </a:r>
            <a:endParaRPr kumimoji="0" lang="en-US"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p:txBody>
      </p:sp>
      <p:pic>
        <p:nvPicPr>
          <p:cNvPr id="5122" name="Picture 2" descr="Image result for Indonesia flag">
            <a:extLst>
              <a:ext uri="{FF2B5EF4-FFF2-40B4-BE49-F238E27FC236}">
                <a16:creationId xmlns:a16="http://schemas.microsoft.com/office/drawing/2014/main" id="{9A378D46-EA87-47AF-987A-9067AF43F352}"/>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956859"/>
            <a:ext cx="8892000" cy="4345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352719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6D56440-7BB6-4355-9CC6-D51E1E67FF63}"/>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1: Philippines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alue, (USD Million), 2016-2026F</a:t>
            </a:r>
          </a:p>
        </p:txBody>
      </p:sp>
      <p:graphicFrame>
        <p:nvGraphicFramePr>
          <p:cNvPr id="8" name="Chart 7">
            <a:extLst>
              <a:ext uri="{FF2B5EF4-FFF2-40B4-BE49-F238E27FC236}">
                <a16:creationId xmlns:a16="http://schemas.microsoft.com/office/drawing/2014/main" id="{A26F37D2-0FE5-434C-BED8-194559B16CDB}"/>
              </a:ext>
            </a:extLst>
          </p:cNvPr>
          <p:cNvGraphicFramePr/>
          <p:nvPr/>
        </p:nvGraphicFramePr>
        <p:xfrm>
          <a:off x="222309" y="1645643"/>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Philippines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alue</a:t>
            </a:r>
            <a:endParaRPr kumimoji="0" lang="en-IN" sz="1400" b="1" i="0" u="none" strike="noStrike" kern="1200" cap="none" spc="0" normalizeH="0" baseline="0" noProof="0" dirty="0">
              <a:ln>
                <a:noFill/>
              </a:ln>
              <a:solidFill>
                <a:srgbClr val="FF0000"/>
              </a:solidFill>
              <a:effectLst/>
              <a:uLnTx/>
              <a:uFillTx/>
              <a:latin typeface="Arial" panose="020B0604020202020204" pitchFamily="34" charset="0"/>
              <a:ea typeface="+mj-ea"/>
              <a:cs typeface="Arial" panose="020B0604020202020204" pitchFamily="34" charset="0"/>
            </a:endParaRPr>
          </a:p>
        </p:txBody>
      </p:sp>
      <p:grpSp>
        <p:nvGrpSpPr>
          <p:cNvPr id="37" name="Group 36">
            <a:extLst>
              <a:ext uri="{FF2B5EF4-FFF2-40B4-BE49-F238E27FC236}">
                <a16:creationId xmlns:a16="http://schemas.microsoft.com/office/drawing/2014/main" id="{6386A73A-847E-4130-81BE-863495E3ED04}"/>
              </a:ext>
            </a:extLst>
          </p:cNvPr>
          <p:cNvGrpSpPr/>
          <p:nvPr/>
        </p:nvGrpSpPr>
        <p:grpSpPr>
          <a:xfrm>
            <a:off x="4356406" y="1285936"/>
            <a:ext cx="3753924" cy="516701"/>
            <a:chOff x="4524751" y="1404135"/>
            <a:chExt cx="3555640" cy="516701"/>
          </a:xfrm>
        </p:grpSpPr>
        <p:cxnSp>
          <p:nvCxnSpPr>
            <p:cNvPr id="38" name="Connector: Elbow 37">
              <a:extLst>
                <a:ext uri="{FF2B5EF4-FFF2-40B4-BE49-F238E27FC236}">
                  <a16:creationId xmlns:a16="http://schemas.microsoft.com/office/drawing/2014/main" id="{B81336F6-D7FE-4B7B-AED9-0CBC6E848C33}"/>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5549B13E-9C53-4126-B55B-A344435365DF}"/>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5.47%</a:t>
              </a:r>
              <a:endPar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17" name="Group 16">
            <a:extLst>
              <a:ext uri="{FF2B5EF4-FFF2-40B4-BE49-F238E27FC236}">
                <a16:creationId xmlns:a16="http://schemas.microsoft.com/office/drawing/2014/main" id="{2F515B5B-3EE0-42B7-8BCE-353FD362EF1C}"/>
              </a:ext>
            </a:extLst>
          </p:cNvPr>
          <p:cNvGrpSpPr/>
          <p:nvPr/>
        </p:nvGrpSpPr>
        <p:grpSpPr>
          <a:xfrm>
            <a:off x="543338" y="1285936"/>
            <a:ext cx="3184509" cy="516701"/>
            <a:chOff x="4524751" y="1404135"/>
            <a:chExt cx="3302533" cy="516701"/>
          </a:xfrm>
        </p:grpSpPr>
        <p:cxnSp>
          <p:nvCxnSpPr>
            <p:cNvPr id="18" name="Connector: Elbow 17">
              <a:extLst>
                <a:ext uri="{FF2B5EF4-FFF2-40B4-BE49-F238E27FC236}">
                  <a16:creationId xmlns:a16="http://schemas.microsoft.com/office/drawing/2014/main" id="{C428651D-8F06-4BA0-87B1-94DBEBF0A9ED}"/>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C5E4E871-8419-4F85-9872-9FF7D1AA6DD1}"/>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1.97%</a:t>
              </a:r>
              <a:endPar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sp>
        <p:nvSpPr>
          <p:cNvPr id="28" name="TextBox 27">
            <a:extLst>
              <a:ext uri="{FF2B5EF4-FFF2-40B4-BE49-F238E27FC236}">
                <a16:creationId xmlns:a16="http://schemas.microsoft.com/office/drawing/2014/main" id="{DF9408B4-9170-4CE2-8655-6BF936B20A98}"/>
              </a:ext>
            </a:extLst>
          </p:cNvPr>
          <p:cNvSpPr txBox="1"/>
          <p:nvPr/>
        </p:nvSpPr>
        <p:spPr>
          <a:xfrm>
            <a:off x="6582190" y="3498767"/>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3" name="Chart 12">
            <a:extLst>
              <a:ext uri="{FF2B5EF4-FFF2-40B4-BE49-F238E27FC236}">
                <a16:creationId xmlns:a16="http://schemas.microsoft.com/office/drawing/2014/main" id="{11AFC2A9-53D0-458B-9952-1DA7496091F2}"/>
              </a:ext>
            </a:extLst>
          </p:cNvPr>
          <p:cNvGraphicFramePr/>
          <p:nvPr>
            <p:extLst>
              <p:ext uri="{D42A27DB-BD31-4B8C-83A1-F6EECF244321}">
                <p14:modId xmlns:p14="http://schemas.microsoft.com/office/powerpoint/2010/main" val="1498537827"/>
              </p:ext>
            </p:extLst>
          </p:nvPr>
        </p:nvGraphicFramePr>
        <p:xfrm>
          <a:off x="4693321" y="4139563"/>
          <a:ext cx="3998596" cy="2188696"/>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99C8826C-2764-4E31-8D6A-ABF1EF2ED9CE}"/>
              </a:ext>
            </a:extLst>
          </p:cNvPr>
          <p:cNvSpPr txBox="1"/>
          <p:nvPr/>
        </p:nvSpPr>
        <p:spPr>
          <a:xfrm>
            <a:off x="4693321" y="3772941"/>
            <a:ext cx="4578626" cy="292068"/>
          </a:xfrm>
          <a:prstGeom prst="rect">
            <a:avLst/>
          </a:prstGeom>
          <a:noFill/>
        </p:spPr>
        <p:txBody>
          <a:bodyPr wrap="square">
            <a:spAutoFit/>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hilippines GDP Growth (Annual %), 2015-2020</a:t>
            </a:r>
            <a:endParaRPr kumimoji="0" lang="en-US" sz="1000" b="1"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 name="TextBox 14">
            <a:extLst>
              <a:ext uri="{FF2B5EF4-FFF2-40B4-BE49-F238E27FC236}">
                <a16:creationId xmlns:a16="http://schemas.microsoft.com/office/drawing/2014/main" id="{DB524F5E-0363-4929-84AC-C324933AA330}"/>
              </a:ext>
            </a:extLst>
          </p:cNvPr>
          <p:cNvSpPr txBox="1"/>
          <p:nvPr/>
        </p:nvSpPr>
        <p:spPr>
          <a:xfrm>
            <a:off x="6582190" y="6328260"/>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
        <p:nvSpPr>
          <p:cNvPr id="20" name="Subtitle 2">
            <a:extLst>
              <a:ext uri="{FF2B5EF4-FFF2-40B4-BE49-F238E27FC236}">
                <a16:creationId xmlns:a16="http://schemas.microsoft.com/office/drawing/2014/main" id="{04385621-FAE4-480E-8F81-C3C1ADDAC158}"/>
              </a:ext>
            </a:extLst>
          </p:cNvPr>
          <p:cNvSpPr txBox="1">
            <a:spLocks/>
          </p:cNvSpPr>
          <p:nvPr/>
        </p:nvSpPr>
        <p:spPr>
          <a:xfrm>
            <a:off x="357810" y="3829877"/>
            <a:ext cx="3998596" cy="2716665"/>
          </a:xfrm>
          <a:prstGeom prst="rect">
            <a:avLst/>
          </a:prstGeom>
          <a:solidFill>
            <a:schemeClr val="accent5">
              <a:lumMod val="40000"/>
              <a:lumOff val="60000"/>
            </a:schemeClr>
          </a:solidFill>
          <a:ln>
            <a:solidFill>
              <a:schemeClr val="tx2">
                <a:lumMod val="40000"/>
                <a:lumOff val="60000"/>
              </a:schemeClr>
            </a:solidFill>
          </a:ln>
        </p:spPr>
        <p:style>
          <a:lnRef idx="1">
            <a:schemeClr val="accent6"/>
          </a:lnRef>
          <a:fillRef idx="2">
            <a:schemeClr val="accent6"/>
          </a:fillRef>
          <a:effectRef idx="1">
            <a:schemeClr val="accent6"/>
          </a:effectRef>
          <a:fontRef idx="minor">
            <a:schemeClr val="dk1"/>
          </a:fontRef>
        </p:style>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Philippines copper sulphate market stood at USD8.79 Million in 2020 and is anticipated to reach USD12.17 Million, growing at a CAGR of 5.47% during the forecast period.</a:t>
            </a:r>
          </a:p>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The rising demand from agricultural sector stimulated the overall copper sulphate market in the country. The increase in spending on personal hygiene and rise in healthcare sector in the country also contributed to the increasing demand of the chemical. The rising animal husbandry market in the country also boosted the demand of copper sulphate.</a:t>
            </a:r>
            <a:endParaRPr lang="en-US" sz="1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66697521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14320C3F-EF7D-410F-BFF2-8168F2D77AA0}"/>
              </a:ext>
            </a:extLst>
          </p:cNvPr>
          <p:cNvGraphicFramePr/>
          <p:nvPr/>
        </p:nvGraphicFramePr>
        <p:xfrm>
          <a:off x="219965" y="1645745"/>
          <a:ext cx="8268194" cy="1899415"/>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a:extLst>
              <a:ext uri="{FF2B5EF4-FFF2-40B4-BE49-F238E27FC236}">
                <a16:creationId xmlns:a16="http://schemas.microsoft.com/office/drawing/2014/main" id="{B83D75AB-0E3C-4B82-996F-87A7453E4A1F}"/>
              </a:ext>
            </a:extLst>
          </p:cNvPr>
          <p:cNvGrpSpPr/>
          <p:nvPr/>
        </p:nvGrpSpPr>
        <p:grpSpPr>
          <a:xfrm>
            <a:off x="4354062" y="1302008"/>
            <a:ext cx="3756268" cy="516701"/>
            <a:chOff x="4524751" y="1404135"/>
            <a:chExt cx="3555640" cy="516701"/>
          </a:xfrm>
        </p:grpSpPr>
        <p:cxnSp>
          <p:nvCxnSpPr>
            <p:cNvPr id="4" name="Connector: Elbow 3">
              <a:extLst>
                <a:ext uri="{FF2B5EF4-FFF2-40B4-BE49-F238E27FC236}">
                  <a16:creationId xmlns:a16="http://schemas.microsoft.com/office/drawing/2014/main" id="{95A6DFC4-4495-4F6A-A9EF-3E83D56C7111}"/>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F95BE91-1C09-4CB4-83F8-DAB4DE213186}"/>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4.45</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grpSp>
        <p:nvGrpSpPr>
          <p:cNvPr id="6" name="Group 5">
            <a:extLst>
              <a:ext uri="{FF2B5EF4-FFF2-40B4-BE49-F238E27FC236}">
                <a16:creationId xmlns:a16="http://schemas.microsoft.com/office/drawing/2014/main" id="{1F1797BD-8E39-4379-B7B5-4BD9B632F27D}"/>
              </a:ext>
            </a:extLst>
          </p:cNvPr>
          <p:cNvGrpSpPr/>
          <p:nvPr/>
        </p:nvGrpSpPr>
        <p:grpSpPr>
          <a:xfrm>
            <a:off x="543338" y="1296572"/>
            <a:ext cx="3182166" cy="516701"/>
            <a:chOff x="4524751" y="1404135"/>
            <a:chExt cx="3302533" cy="516701"/>
          </a:xfrm>
        </p:grpSpPr>
        <p:cxnSp>
          <p:nvCxnSpPr>
            <p:cNvPr id="7" name="Connector: Elbow 6">
              <a:extLst>
                <a:ext uri="{FF2B5EF4-FFF2-40B4-BE49-F238E27FC236}">
                  <a16:creationId xmlns:a16="http://schemas.microsoft.com/office/drawing/2014/main" id="{2F52B0F6-27F3-4CEB-A84F-9018459DA4B8}"/>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CE477C8-FC35-4CC6-BFD4-63C00C156893}"/>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1.85</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9" name="TextBox 8">
            <a:extLst>
              <a:ext uri="{FF2B5EF4-FFF2-40B4-BE49-F238E27FC236}">
                <a16:creationId xmlns:a16="http://schemas.microsoft.com/office/drawing/2014/main" id="{786AB1F4-AC9C-4AFF-8AAA-46411A146ED7}"/>
              </a:ext>
            </a:extLst>
          </p:cNvPr>
          <p:cNvSpPr txBox="1"/>
          <p:nvPr/>
        </p:nvSpPr>
        <p:spPr>
          <a:xfrm>
            <a:off x="211741" y="91519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2: Philippines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olume, (Kilo Tonnes), 2016-2026F</a:t>
            </a:r>
          </a:p>
        </p:txBody>
      </p:sp>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Philippines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olume</a:t>
            </a:r>
          </a:p>
        </p:txBody>
      </p:sp>
      <p:sp>
        <p:nvSpPr>
          <p:cNvPr id="12" name="TextBox 11">
            <a:extLst>
              <a:ext uri="{FF2B5EF4-FFF2-40B4-BE49-F238E27FC236}">
                <a16:creationId xmlns:a16="http://schemas.microsoft.com/office/drawing/2014/main" id="{8C940EAC-CAC8-407B-89FB-C2034886CAFD}"/>
              </a:ext>
            </a:extLst>
          </p:cNvPr>
          <p:cNvSpPr txBox="1"/>
          <p:nvPr/>
        </p:nvSpPr>
        <p:spPr>
          <a:xfrm>
            <a:off x="6546976" y="372287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3" name="Chart 12">
            <a:extLst>
              <a:ext uri="{FF2B5EF4-FFF2-40B4-BE49-F238E27FC236}">
                <a16:creationId xmlns:a16="http://schemas.microsoft.com/office/drawing/2014/main" id="{F6797BC3-0210-47AF-83EC-B7BDCFBA0B76}"/>
              </a:ext>
            </a:extLst>
          </p:cNvPr>
          <p:cNvGraphicFramePr/>
          <p:nvPr>
            <p:extLst>
              <p:ext uri="{D42A27DB-BD31-4B8C-83A1-F6EECF244321}">
                <p14:modId xmlns:p14="http://schemas.microsoft.com/office/powerpoint/2010/main" val="2072386484"/>
              </p:ext>
            </p:extLst>
          </p:nvPr>
        </p:nvGraphicFramePr>
        <p:xfrm>
          <a:off x="245933" y="4454399"/>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74F0A7A4-6630-4980-B6D3-69631C564CBA}"/>
              </a:ext>
            </a:extLst>
          </p:cNvPr>
          <p:cNvSpPr txBox="1"/>
          <p:nvPr/>
        </p:nvSpPr>
        <p:spPr>
          <a:xfrm>
            <a:off x="211741" y="4107470"/>
            <a:ext cx="4578626" cy="400110"/>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Philippines Agricultural Production, By Value (USD Million), 2015-2019</a:t>
            </a:r>
          </a:p>
        </p:txBody>
      </p:sp>
      <p:graphicFrame>
        <p:nvGraphicFramePr>
          <p:cNvPr id="20" name="Chart 19">
            <a:extLst>
              <a:ext uri="{FF2B5EF4-FFF2-40B4-BE49-F238E27FC236}">
                <a16:creationId xmlns:a16="http://schemas.microsoft.com/office/drawing/2014/main" id="{94DE432B-736C-4BA8-B394-68D1ADE43584}"/>
              </a:ext>
            </a:extLst>
          </p:cNvPr>
          <p:cNvGraphicFramePr/>
          <p:nvPr>
            <p:extLst>
              <p:ext uri="{D42A27DB-BD31-4B8C-83A1-F6EECF244321}">
                <p14:modId xmlns:p14="http://schemas.microsoft.com/office/powerpoint/2010/main" val="2324638897"/>
              </p:ext>
            </p:extLst>
          </p:nvPr>
        </p:nvGraphicFramePr>
        <p:xfrm>
          <a:off x="4771553" y="4421269"/>
          <a:ext cx="3910054" cy="1983188"/>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Box 20">
            <a:extLst>
              <a:ext uri="{FF2B5EF4-FFF2-40B4-BE49-F238E27FC236}">
                <a16:creationId xmlns:a16="http://schemas.microsoft.com/office/drawing/2014/main" id="{C60BB2F8-D958-41F0-8C4C-49CC4CE69A6F}"/>
              </a:ext>
            </a:extLst>
          </p:cNvPr>
          <p:cNvSpPr txBox="1"/>
          <p:nvPr/>
        </p:nvSpPr>
        <p:spPr>
          <a:xfrm>
            <a:off x="4644597" y="4100844"/>
            <a:ext cx="4578626" cy="246221"/>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Philippines Forest Area (% of Land Area), 2015-2019</a:t>
            </a:r>
          </a:p>
        </p:txBody>
      </p:sp>
      <p:sp>
        <p:nvSpPr>
          <p:cNvPr id="26" name="TextBox 25">
            <a:extLst>
              <a:ext uri="{FF2B5EF4-FFF2-40B4-BE49-F238E27FC236}">
                <a16:creationId xmlns:a16="http://schemas.microsoft.com/office/drawing/2014/main" id="{D7EE30CD-EFD0-4BFA-ABF5-FA3FBDAAA87C}"/>
              </a:ext>
            </a:extLst>
          </p:cNvPr>
          <p:cNvSpPr txBox="1"/>
          <p:nvPr/>
        </p:nvSpPr>
        <p:spPr>
          <a:xfrm>
            <a:off x="6372177"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
        <p:nvSpPr>
          <p:cNvPr id="27" name="TextBox 26">
            <a:extLst>
              <a:ext uri="{FF2B5EF4-FFF2-40B4-BE49-F238E27FC236}">
                <a16:creationId xmlns:a16="http://schemas.microsoft.com/office/drawing/2014/main" id="{F689563A-2A99-4542-9BA7-BA0FE6E96B41}"/>
              </a:ext>
            </a:extLst>
          </p:cNvPr>
          <p:cNvSpPr txBox="1"/>
          <p:nvPr/>
        </p:nvSpPr>
        <p:spPr>
          <a:xfrm>
            <a:off x="2315387" y="6437186"/>
            <a:ext cx="1139869"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FAO Stats </a:t>
            </a:r>
          </a:p>
        </p:txBody>
      </p:sp>
    </p:spTree>
    <p:extLst>
      <p:ext uri="{BB962C8B-B14F-4D97-AF65-F5344CB8AC3E}">
        <p14:creationId xmlns:p14="http://schemas.microsoft.com/office/powerpoint/2010/main" val="117564181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Philippines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a:t>
            </a:r>
          </a:p>
        </p:txBody>
      </p:sp>
      <p:sp>
        <p:nvSpPr>
          <p:cNvPr id="13" name="TextBox 12">
            <a:extLst>
              <a:ext uri="{FF2B5EF4-FFF2-40B4-BE49-F238E27FC236}">
                <a16:creationId xmlns:a16="http://schemas.microsoft.com/office/drawing/2014/main" id="{D6F011D1-F8F8-4C07-BF38-BB19CCF9F0E2}"/>
              </a:ext>
            </a:extLst>
          </p:cNvPr>
          <p:cNvSpPr txBox="1"/>
          <p:nvPr/>
        </p:nvSpPr>
        <p:spPr>
          <a:xfrm>
            <a:off x="198120" y="715617"/>
            <a:ext cx="8335617" cy="6505307"/>
          </a:xfrm>
          <a:prstGeom prst="rect">
            <a:avLst/>
          </a:prstGeom>
          <a:noFill/>
        </p:spPr>
        <p:txBody>
          <a:bodyPr wrap="square" rtlCol="0">
            <a:spAutoFit/>
          </a:bodyPr>
          <a:lstStyle/>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Nutrition development in animal health from increasing animal husbandry market in Philippines will gradually create the growth of Copper Sulphate Market in Country. Due to low quality livestock products and increased flu in animal product has created a dip in demand of livestock products in the Country. 	</a:t>
            </a:r>
          </a:p>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However, Philippines is the country with vast number of mineral resources. Among the metallic reservoir, the largest reserve is copper. There is high demand of Copper products from industrial raw materials particularly Automotive and Electronic sector. The rapid growth of meat and  dairy products in Vietnam is attributable to imparting growth to the investments in the animal husbandry  sector of the country, generating substantial demand for Copper Sulphate as  feed raw material.</a:t>
            </a:r>
          </a:p>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Favorable economic conditions in the country will bolster the demand of Copper Sulphate from manufacturing. The Philippines impressive economic performance in recent years bodes well for the growth of manufacturing industries, including the copper industry. The recognition of this growth by international organizations and the series of investment ratings upgrades granted by international credit agencies further attest to the country’s strong fundamentals which are the foundation for industrial development.</a:t>
            </a:r>
          </a:p>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Also, Government vision towards shaping the full integration of Copper Industry from mining to manufacturing by 2030 will harness the industrial grade copper sulphate demand.</a:t>
            </a:r>
          </a:p>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Also,  consistency with the goal to attain food security, cultivation of high value crops and growing advocacy for increase usage of Fertilizers in Philippine Farming sector will create a demand from Fungicide and bactericide.</a:t>
            </a:r>
          </a:p>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Presence of copper reservoir, Strong potential for the growth and expansion of Agriculture industry coupled with growing industrialization in the Philippine are driving the Copper sulphate market in Philippine. </a:t>
            </a:r>
          </a:p>
          <a:p>
            <a:pPr marL="171450" indent="-171450">
              <a:lnSpc>
                <a:spcPct val="200000"/>
              </a:lnSpc>
              <a:buFont typeface="Arial" panose="020B0604020202020204" pitchFamily="34" charset="0"/>
              <a:buChar char="•"/>
            </a:pPr>
            <a:endParaRPr lang="en-US" sz="1000" dirty="0">
              <a:latin typeface="Verdana" panose="020B0604030504040204" pitchFamily="34" charset="0"/>
              <a:ea typeface="Verdana" panose="020B0604030504040204" pitchFamily="34" charset="0"/>
              <a:cs typeface="Verdana" panose="020B0604030504040204" pitchFamily="34" charset="0"/>
            </a:endParaRPr>
          </a:p>
          <a:p>
            <a:pPr marL="171450" indent="-171450">
              <a:lnSpc>
                <a:spcPct val="200000"/>
              </a:lnSpc>
              <a:buFont typeface="Arial" panose="020B0604020202020204" pitchFamily="34" charset="0"/>
              <a:buChar char="•"/>
            </a:pPr>
            <a:endParaRPr lang="en-US" sz="1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10437827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Philippines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hare &amp; Size, By </a:t>
            </a:r>
            <a:r>
              <a:rPr lang="en-IN" sz="1400" b="1" dirty="0">
                <a:solidFill>
                  <a:prstClr val="black"/>
                </a:solidFill>
                <a:latin typeface="Arial" panose="020B0604020202020204" pitchFamily="34" charset="0"/>
                <a:cs typeface="Arial" panose="020B0604020202020204" pitchFamily="34" charset="0"/>
              </a:rPr>
              <a:t>Grade </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28" name="TextBox 27">
            <a:extLst>
              <a:ext uri="{FF2B5EF4-FFF2-40B4-BE49-F238E27FC236}">
                <a16:creationId xmlns:a16="http://schemas.microsoft.com/office/drawing/2014/main" id="{DDF0E565-D0AB-44F0-A5D8-D1B068022189}"/>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3: Philippines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Grade</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USD Million), 2016-2026F</a:t>
            </a:r>
          </a:p>
        </p:txBody>
      </p:sp>
      <p:sp>
        <p:nvSpPr>
          <p:cNvPr id="8" name="TextBox 7">
            <a:extLst>
              <a:ext uri="{FF2B5EF4-FFF2-40B4-BE49-F238E27FC236}">
                <a16:creationId xmlns:a16="http://schemas.microsoft.com/office/drawing/2014/main" id="{377E04C2-64EC-4071-91D2-2DF2EB9F00BB}"/>
              </a:ext>
            </a:extLst>
          </p:cNvPr>
          <p:cNvSpPr txBox="1"/>
          <p:nvPr/>
        </p:nvSpPr>
        <p:spPr>
          <a:xfrm>
            <a:off x="291548" y="4373217"/>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13: Philippines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Grade, By Value, (USD Million), 2016-2026F</a:t>
            </a:r>
          </a:p>
        </p:txBody>
      </p:sp>
      <p:graphicFrame>
        <p:nvGraphicFramePr>
          <p:cNvPr id="10" name="Table 9">
            <a:extLst>
              <a:ext uri="{FF2B5EF4-FFF2-40B4-BE49-F238E27FC236}">
                <a16:creationId xmlns:a16="http://schemas.microsoft.com/office/drawing/2014/main" id="{B817CD9E-C62D-4948-BD3B-6404CF626DE6}"/>
              </a:ext>
            </a:extLst>
          </p:cNvPr>
          <p:cNvGraphicFramePr>
            <a:graphicFrameLocks noGrp="1"/>
          </p:cNvGraphicFramePr>
          <p:nvPr>
            <p:extLst>
              <p:ext uri="{D42A27DB-BD31-4B8C-83A1-F6EECF244321}">
                <p14:modId xmlns:p14="http://schemas.microsoft.com/office/powerpoint/2010/main" val="2202615338"/>
              </p:ext>
            </p:extLst>
          </p:nvPr>
        </p:nvGraphicFramePr>
        <p:xfrm>
          <a:off x="371102" y="4784034"/>
          <a:ext cx="8362084" cy="888306"/>
        </p:xfrm>
        <a:graphic>
          <a:graphicData uri="http://schemas.openxmlformats.org/drawingml/2006/table">
            <a:tbl>
              <a:tblPr>
                <a:tableStyleId>{8EC20E35-A176-4012-BC5E-935CFFF8708E}</a:tableStyleId>
              </a:tblPr>
              <a:tblGrid>
                <a:gridCol w="1764152">
                  <a:extLst>
                    <a:ext uri="{9D8B030D-6E8A-4147-A177-3AD203B41FA5}">
                      <a16:colId xmlns:a16="http://schemas.microsoft.com/office/drawing/2014/main" val="2017731148"/>
                    </a:ext>
                  </a:extLst>
                </a:gridCol>
                <a:gridCol w="599812">
                  <a:extLst>
                    <a:ext uri="{9D8B030D-6E8A-4147-A177-3AD203B41FA5}">
                      <a16:colId xmlns:a16="http://schemas.microsoft.com/office/drawing/2014/main" val="2667391389"/>
                    </a:ext>
                  </a:extLst>
                </a:gridCol>
                <a:gridCol w="599812">
                  <a:extLst>
                    <a:ext uri="{9D8B030D-6E8A-4147-A177-3AD203B41FA5}">
                      <a16:colId xmlns:a16="http://schemas.microsoft.com/office/drawing/2014/main" val="3750729452"/>
                    </a:ext>
                  </a:extLst>
                </a:gridCol>
                <a:gridCol w="599812">
                  <a:extLst>
                    <a:ext uri="{9D8B030D-6E8A-4147-A177-3AD203B41FA5}">
                      <a16:colId xmlns:a16="http://schemas.microsoft.com/office/drawing/2014/main" val="425130346"/>
                    </a:ext>
                  </a:extLst>
                </a:gridCol>
                <a:gridCol w="599812">
                  <a:extLst>
                    <a:ext uri="{9D8B030D-6E8A-4147-A177-3AD203B41FA5}">
                      <a16:colId xmlns:a16="http://schemas.microsoft.com/office/drawing/2014/main" val="1091415442"/>
                    </a:ext>
                  </a:extLst>
                </a:gridCol>
                <a:gridCol w="599812">
                  <a:extLst>
                    <a:ext uri="{9D8B030D-6E8A-4147-A177-3AD203B41FA5}">
                      <a16:colId xmlns:a16="http://schemas.microsoft.com/office/drawing/2014/main" val="2869642291"/>
                    </a:ext>
                  </a:extLst>
                </a:gridCol>
                <a:gridCol w="599812">
                  <a:extLst>
                    <a:ext uri="{9D8B030D-6E8A-4147-A177-3AD203B41FA5}">
                      <a16:colId xmlns:a16="http://schemas.microsoft.com/office/drawing/2014/main" val="1492483844"/>
                    </a:ext>
                  </a:extLst>
                </a:gridCol>
                <a:gridCol w="599812">
                  <a:extLst>
                    <a:ext uri="{9D8B030D-6E8A-4147-A177-3AD203B41FA5}">
                      <a16:colId xmlns:a16="http://schemas.microsoft.com/office/drawing/2014/main" val="536896032"/>
                    </a:ext>
                  </a:extLst>
                </a:gridCol>
                <a:gridCol w="599812">
                  <a:extLst>
                    <a:ext uri="{9D8B030D-6E8A-4147-A177-3AD203B41FA5}">
                      <a16:colId xmlns:a16="http://schemas.microsoft.com/office/drawing/2014/main" val="2293403703"/>
                    </a:ext>
                  </a:extLst>
                </a:gridCol>
                <a:gridCol w="599812">
                  <a:extLst>
                    <a:ext uri="{9D8B030D-6E8A-4147-A177-3AD203B41FA5}">
                      <a16:colId xmlns:a16="http://schemas.microsoft.com/office/drawing/2014/main" val="2748373219"/>
                    </a:ext>
                  </a:extLst>
                </a:gridCol>
                <a:gridCol w="599812">
                  <a:extLst>
                    <a:ext uri="{9D8B030D-6E8A-4147-A177-3AD203B41FA5}">
                      <a16:colId xmlns:a16="http://schemas.microsoft.com/office/drawing/2014/main" val="316596246"/>
                    </a:ext>
                  </a:extLst>
                </a:gridCol>
                <a:gridCol w="599812">
                  <a:extLst>
                    <a:ext uri="{9D8B030D-6E8A-4147-A177-3AD203B41FA5}">
                      <a16:colId xmlns:a16="http://schemas.microsoft.com/office/drawing/2014/main" val="2656604351"/>
                    </a:ext>
                  </a:extLst>
                </a:gridCol>
              </a:tblGrid>
              <a:tr h="296102">
                <a:tc>
                  <a:txBody>
                    <a:bodyPr/>
                    <a:lstStyle/>
                    <a:p>
                      <a:pPr algn="l" fontAlgn="b"/>
                      <a:r>
                        <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Grade </a:t>
                      </a: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4277395723"/>
                  </a:ext>
                </a:extLst>
              </a:tr>
              <a:tr h="296102">
                <a:tc>
                  <a:txBody>
                    <a:bodyPr/>
                    <a:lstStyle/>
                    <a:p>
                      <a:pPr algn="l" fontAlgn="b"/>
                      <a:r>
                        <a:rPr lang="en-IN" sz="1000" b="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dirty="0">
                          <a:solidFill>
                            <a:srgbClr val="000000"/>
                          </a:solidFill>
                          <a:effectLst/>
                          <a:latin typeface="Cambria" panose="02040503050406030204" pitchFamily="18" charset="0"/>
                        </a:rPr>
                        <a:t>7.3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7.96</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8.26</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8.80</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8.10</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8.60</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9.07</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9.59</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0.12</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0.67</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1.26</a:t>
                      </a:r>
                    </a:p>
                  </a:txBody>
                  <a:tcPr marL="9525" marR="9525" marT="9525" marB="0" anchor="b"/>
                </a:tc>
                <a:extLst>
                  <a:ext uri="{0D108BD9-81ED-4DB2-BD59-A6C34878D82A}">
                    <a16:rowId xmlns:a16="http://schemas.microsoft.com/office/drawing/2014/main" val="3614340383"/>
                  </a:ext>
                </a:extLst>
              </a:tr>
              <a:tr h="296102">
                <a:tc>
                  <a:txBody>
                    <a:bodyPr/>
                    <a:lstStyle/>
                    <a:p>
                      <a:pPr algn="l" fontAlgn="b"/>
                      <a:r>
                        <a:rPr lang="en-US"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Reagent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dirty="0">
                          <a:solidFill>
                            <a:srgbClr val="000000"/>
                          </a:solidFill>
                          <a:effectLst/>
                          <a:latin typeface="Cambria" panose="02040503050406030204" pitchFamily="18" charset="0"/>
                        </a:rPr>
                        <a:t>0.78</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59</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7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73</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69</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73</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79</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80</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8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88</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92</a:t>
                      </a:r>
                    </a:p>
                  </a:txBody>
                  <a:tcPr marL="9525" marR="9525" marT="9525" marB="0" anchor="b"/>
                </a:tc>
                <a:extLst>
                  <a:ext uri="{0D108BD9-81ED-4DB2-BD59-A6C34878D82A}">
                    <a16:rowId xmlns:a16="http://schemas.microsoft.com/office/drawing/2014/main" val="3954528466"/>
                  </a:ext>
                </a:extLst>
              </a:tr>
            </a:tbl>
          </a:graphicData>
        </a:graphic>
      </p:graphicFrame>
      <p:graphicFrame>
        <p:nvGraphicFramePr>
          <p:cNvPr id="11" name="Chart 10">
            <a:extLst>
              <a:ext uri="{FF2B5EF4-FFF2-40B4-BE49-F238E27FC236}">
                <a16:creationId xmlns:a16="http://schemas.microsoft.com/office/drawing/2014/main" id="{4BD1A32F-9549-4B29-AC30-AA339884F884}"/>
              </a:ext>
            </a:extLst>
          </p:cNvPr>
          <p:cNvGraphicFramePr/>
          <p:nvPr>
            <p:extLst>
              <p:ext uri="{D42A27DB-BD31-4B8C-83A1-F6EECF244321}">
                <p14:modId xmlns:p14="http://schemas.microsoft.com/office/powerpoint/2010/main" val="2966845329"/>
              </p:ext>
            </p:extLst>
          </p:nvPr>
        </p:nvGraphicFramePr>
        <p:xfrm>
          <a:off x="271692" y="1323855"/>
          <a:ext cx="8560904" cy="2727250"/>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17384027-268D-4188-BFF6-ABA79B5E4FC2}"/>
              </a:ext>
            </a:extLst>
          </p:cNvPr>
          <p:cNvSpPr txBox="1"/>
          <p:nvPr/>
        </p:nvSpPr>
        <p:spPr>
          <a:xfrm>
            <a:off x="6527118" y="3969887"/>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3" name="TextBox 12">
            <a:extLst>
              <a:ext uri="{FF2B5EF4-FFF2-40B4-BE49-F238E27FC236}">
                <a16:creationId xmlns:a16="http://schemas.microsoft.com/office/drawing/2014/main" id="{3B30FCBE-4BC7-4F85-BC5C-7D29903F2B61}"/>
              </a:ext>
            </a:extLst>
          </p:cNvPr>
          <p:cNvSpPr txBox="1"/>
          <p:nvPr/>
        </p:nvSpPr>
        <p:spPr>
          <a:xfrm>
            <a:off x="6527118" y="5791089"/>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8862766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457200">
              <a:lnSpc>
                <a:spcPts val="1700"/>
              </a:lnSpc>
              <a:defRPr/>
            </a:pPr>
            <a:r>
              <a:rPr lang="en-IN" sz="1400" b="1" dirty="0">
                <a:solidFill>
                  <a:prstClr val="black"/>
                </a:solidFill>
                <a:latin typeface="Arial" panose="020B0604020202020204" pitchFamily="34" charset="0"/>
                <a:cs typeface="Arial" panose="020B0604020202020204" pitchFamily="34" charset="0"/>
              </a:rPr>
              <a:t>Philippines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a:t>
            </a:r>
            <a:r>
              <a:rPr lang="en-IN" sz="1400" b="1" dirty="0">
                <a:solidFill>
                  <a:prstClr val="black"/>
                </a:solidFill>
                <a:latin typeface="Arial" panose="020B0604020202020204" pitchFamily="34" charset="0"/>
                <a:cs typeface="Arial" panose="020B0604020202020204" pitchFamily="34" charset="0"/>
              </a:rPr>
              <a:t>Share &amp; Size, </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y End Use</a:t>
            </a:r>
          </a:p>
        </p:txBody>
      </p:sp>
      <p:sp>
        <p:nvSpPr>
          <p:cNvPr id="28" name="TextBox 27">
            <a:extLst>
              <a:ext uri="{FF2B5EF4-FFF2-40B4-BE49-F238E27FC236}">
                <a16:creationId xmlns:a16="http://schemas.microsoft.com/office/drawing/2014/main" id="{DDF0E565-D0AB-44F0-A5D8-D1B068022189}"/>
              </a:ext>
            </a:extLst>
          </p:cNvPr>
          <p:cNvSpPr txBox="1"/>
          <p:nvPr/>
        </p:nvSpPr>
        <p:spPr>
          <a:xfrm>
            <a:off x="198120" y="802677"/>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4: Philippines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End Use, By Value, (USD Million), 2016-2026F</a:t>
            </a:r>
          </a:p>
        </p:txBody>
      </p:sp>
      <p:sp>
        <p:nvSpPr>
          <p:cNvPr id="8" name="TextBox 7">
            <a:extLst>
              <a:ext uri="{FF2B5EF4-FFF2-40B4-BE49-F238E27FC236}">
                <a16:creationId xmlns:a16="http://schemas.microsoft.com/office/drawing/2014/main" id="{377E04C2-64EC-4071-91D2-2DF2EB9F00BB}"/>
              </a:ext>
            </a:extLst>
          </p:cNvPr>
          <p:cNvSpPr txBox="1"/>
          <p:nvPr/>
        </p:nvSpPr>
        <p:spPr>
          <a:xfrm>
            <a:off x="198120" y="4023662"/>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14: Philippines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End Use, By Value, (USD Million), 2016-2026F</a:t>
            </a:r>
          </a:p>
        </p:txBody>
      </p:sp>
      <p:graphicFrame>
        <p:nvGraphicFramePr>
          <p:cNvPr id="15" name="Chart 14">
            <a:extLst>
              <a:ext uri="{FF2B5EF4-FFF2-40B4-BE49-F238E27FC236}">
                <a16:creationId xmlns:a16="http://schemas.microsoft.com/office/drawing/2014/main" id="{11E8B32E-E9A7-489B-933C-18D9D01BF9CC}"/>
              </a:ext>
            </a:extLst>
          </p:cNvPr>
          <p:cNvGraphicFramePr/>
          <p:nvPr>
            <p:extLst>
              <p:ext uri="{D42A27DB-BD31-4B8C-83A1-F6EECF244321}">
                <p14:modId xmlns:p14="http://schemas.microsoft.com/office/powerpoint/2010/main" val="2518541506"/>
              </p:ext>
            </p:extLst>
          </p:nvPr>
        </p:nvGraphicFramePr>
        <p:xfrm>
          <a:off x="184868" y="1002011"/>
          <a:ext cx="8560904" cy="27272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Table 15">
            <a:extLst>
              <a:ext uri="{FF2B5EF4-FFF2-40B4-BE49-F238E27FC236}">
                <a16:creationId xmlns:a16="http://schemas.microsoft.com/office/drawing/2014/main" id="{F1552492-98AC-401C-992B-3C7F61C2F464}"/>
              </a:ext>
            </a:extLst>
          </p:cNvPr>
          <p:cNvGraphicFramePr>
            <a:graphicFrameLocks noGrp="1"/>
          </p:cNvGraphicFramePr>
          <p:nvPr>
            <p:extLst>
              <p:ext uri="{D42A27DB-BD31-4B8C-83A1-F6EECF244321}">
                <p14:modId xmlns:p14="http://schemas.microsoft.com/office/powerpoint/2010/main" val="3426944454"/>
              </p:ext>
            </p:extLst>
          </p:nvPr>
        </p:nvGraphicFramePr>
        <p:xfrm>
          <a:off x="362820" y="4373482"/>
          <a:ext cx="8066821" cy="1933202"/>
        </p:xfrm>
        <a:graphic>
          <a:graphicData uri="http://schemas.openxmlformats.org/drawingml/2006/table">
            <a:tbl>
              <a:tblPr>
                <a:tableStyleId>{8EC20E35-A176-4012-BC5E-935CFFF8708E}</a:tableStyleId>
              </a:tblPr>
              <a:tblGrid>
                <a:gridCol w="1445184">
                  <a:extLst>
                    <a:ext uri="{9D8B030D-6E8A-4147-A177-3AD203B41FA5}">
                      <a16:colId xmlns:a16="http://schemas.microsoft.com/office/drawing/2014/main" val="2017731148"/>
                    </a:ext>
                  </a:extLst>
                </a:gridCol>
                <a:gridCol w="601967">
                  <a:extLst>
                    <a:ext uri="{9D8B030D-6E8A-4147-A177-3AD203B41FA5}">
                      <a16:colId xmlns:a16="http://schemas.microsoft.com/office/drawing/2014/main" val="2667391389"/>
                    </a:ext>
                  </a:extLst>
                </a:gridCol>
                <a:gridCol w="601967">
                  <a:extLst>
                    <a:ext uri="{9D8B030D-6E8A-4147-A177-3AD203B41FA5}">
                      <a16:colId xmlns:a16="http://schemas.microsoft.com/office/drawing/2014/main" val="3750729452"/>
                    </a:ext>
                  </a:extLst>
                </a:gridCol>
                <a:gridCol w="601967">
                  <a:extLst>
                    <a:ext uri="{9D8B030D-6E8A-4147-A177-3AD203B41FA5}">
                      <a16:colId xmlns:a16="http://schemas.microsoft.com/office/drawing/2014/main" val="425130346"/>
                    </a:ext>
                  </a:extLst>
                </a:gridCol>
                <a:gridCol w="601967">
                  <a:extLst>
                    <a:ext uri="{9D8B030D-6E8A-4147-A177-3AD203B41FA5}">
                      <a16:colId xmlns:a16="http://schemas.microsoft.com/office/drawing/2014/main" val="1091415442"/>
                    </a:ext>
                  </a:extLst>
                </a:gridCol>
                <a:gridCol w="601967">
                  <a:extLst>
                    <a:ext uri="{9D8B030D-6E8A-4147-A177-3AD203B41FA5}">
                      <a16:colId xmlns:a16="http://schemas.microsoft.com/office/drawing/2014/main" val="2869642291"/>
                    </a:ext>
                  </a:extLst>
                </a:gridCol>
                <a:gridCol w="601967">
                  <a:extLst>
                    <a:ext uri="{9D8B030D-6E8A-4147-A177-3AD203B41FA5}">
                      <a16:colId xmlns:a16="http://schemas.microsoft.com/office/drawing/2014/main" val="1492483844"/>
                    </a:ext>
                  </a:extLst>
                </a:gridCol>
                <a:gridCol w="601967">
                  <a:extLst>
                    <a:ext uri="{9D8B030D-6E8A-4147-A177-3AD203B41FA5}">
                      <a16:colId xmlns:a16="http://schemas.microsoft.com/office/drawing/2014/main" val="536896032"/>
                    </a:ext>
                  </a:extLst>
                </a:gridCol>
                <a:gridCol w="601967">
                  <a:extLst>
                    <a:ext uri="{9D8B030D-6E8A-4147-A177-3AD203B41FA5}">
                      <a16:colId xmlns:a16="http://schemas.microsoft.com/office/drawing/2014/main" val="2293403703"/>
                    </a:ext>
                  </a:extLst>
                </a:gridCol>
                <a:gridCol w="601967">
                  <a:extLst>
                    <a:ext uri="{9D8B030D-6E8A-4147-A177-3AD203B41FA5}">
                      <a16:colId xmlns:a16="http://schemas.microsoft.com/office/drawing/2014/main" val="2748373219"/>
                    </a:ext>
                  </a:extLst>
                </a:gridCol>
                <a:gridCol w="601967">
                  <a:extLst>
                    <a:ext uri="{9D8B030D-6E8A-4147-A177-3AD203B41FA5}">
                      <a16:colId xmlns:a16="http://schemas.microsoft.com/office/drawing/2014/main" val="316596246"/>
                    </a:ext>
                  </a:extLst>
                </a:gridCol>
                <a:gridCol w="601967">
                  <a:extLst>
                    <a:ext uri="{9D8B030D-6E8A-4147-A177-3AD203B41FA5}">
                      <a16:colId xmlns:a16="http://schemas.microsoft.com/office/drawing/2014/main" val="2656604351"/>
                    </a:ext>
                  </a:extLst>
                </a:gridCol>
              </a:tblGrid>
              <a:tr h="229659">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End Use </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p>
                  </a:txBody>
                  <a:tcPr marL="0" marR="0" marT="0" marB="0" anchor="ctr"/>
                </a:tc>
                <a:extLst>
                  <a:ext uri="{0D108BD9-81ED-4DB2-BD59-A6C34878D82A}">
                    <a16:rowId xmlns:a16="http://schemas.microsoft.com/office/drawing/2014/main" val="4277395723"/>
                  </a:ext>
                </a:extLst>
              </a:tr>
              <a:tr h="229659">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83</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0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1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40</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0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2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4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61</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7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98</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4.1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3614340383"/>
                  </a:ext>
                </a:extLst>
              </a:tr>
              <a:tr h="22965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noProof="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Animal Husbandry</a:t>
                      </a: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7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88</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9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10</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93</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0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1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2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42</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5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6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2094423544"/>
                  </a:ext>
                </a:extLst>
              </a:tr>
              <a:tr h="22965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noProof="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Healthcare</a:t>
                      </a: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38</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46</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52</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62</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5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6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7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8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00</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11</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22</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741399779"/>
                  </a:ext>
                </a:extLst>
              </a:tr>
              <a:tr h="229659">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a:t>
                      </a: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9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98</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0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0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96</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90</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9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00</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0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0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1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865856288"/>
                  </a:ext>
                </a:extLst>
              </a:tr>
              <a:tr h="282044">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Chemicals</a:t>
                      </a: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5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5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60</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6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58</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61</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6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6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7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78</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83</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3954528466"/>
                  </a:ext>
                </a:extLst>
              </a:tr>
              <a:tr h="273204">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Leather and Textiles                </a:t>
                      </a: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3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40</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42</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4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3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3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3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40</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42</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4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4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587225213"/>
                  </a:ext>
                </a:extLst>
              </a:tr>
              <a:tr h="229659">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Others</a:t>
                      </a: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2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1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2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2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28</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46</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4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52</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5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60</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6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1631373380"/>
                  </a:ext>
                </a:extLst>
              </a:tr>
            </a:tbl>
          </a:graphicData>
        </a:graphic>
      </p:graphicFrame>
      <p:sp>
        <p:nvSpPr>
          <p:cNvPr id="12" name="TextBox 11">
            <a:extLst>
              <a:ext uri="{FF2B5EF4-FFF2-40B4-BE49-F238E27FC236}">
                <a16:creationId xmlns:a16="http://schemas.microsoft.com/office/drawing/2014/main" id="{5CE98DE8-5470-4A64-989E-3D06FAAB347A}"/>
              </a:ext>
            </a:extLst>
          </p:cNvPr>
          <p:cNvSpPr txBox="1"/>
          <p:nvPr/>
        </p:nvSpPr>
        <p:spPr>
          <a:xfrm>
            <a:off x="5592417" y="3718455"/>
            <a:ext cx="3132483"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 name="TextBox 8">
            <a:extLst>
              <a:ext uri="{FF2B5EF4-FFF2-40B4-BE49-F238E27FC236}">
                <a16:creationId xmlns:a16="http://schemas.microsoft.com/office/drawing/2014/main" id="{AD3323E5-E2C9-40F8-96E6-82993539C93A}"/>
              </a:ext>
            </a:extLst>
          </p:cNvPr>
          <p:cNvSpPr txBox="1"/>
          <p:nvPr/>
        </p:nvSpPr>
        <p:spPr>
          <a:xfrm>
            <a:off x="5585160" y="6367313"/>
            <a:ext cx="3132483"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2852616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9F0F18-9454-4455-A154-642FD3CB58BD}"/>
              </a:ext>
            </a:extLst>
          </p:cNvPr>
          <p:cNvSpPr>
            <a:spLocks noGrp="1"/>
          </p:cNvSpPr>
          <p:nvPr>
            <p:ph type="body" sz="quarter" idx="4294967295"/>
          </p:nvPr>
        </p:nvSpPr>
        <p:spPr>
          <a:xfrm>
            <a:off x="164645" y="220698"/>
            <a:ext cx="7863840" cy="457200"/>
          </a:xfrm>
        </p:spPr>
        <p:txBody>
          <a:bodyPr>
            <a:normAutofit/>
          </a:bodyPr>
          <a:lstStyle/>
          <a:p>
            <a:pPr marL="0" indent="0">
              <a:buNone/>
            </a:pPr>
            <a:r>
              <a:rPr lang="en-US" sz="1400" b="1" dirty="0">
                <a:latin typeface="Arial" panose="020B0604020202020204" pitchFamily="34" charset="0"/>
                <a:cs typeface="Arial" panose="020B0604020202020204" pitchFamily="34" charset="0"/>
              </a:rPr>
              <a:t>List of Figures</a:t>
            </a:r>
          </a:p>
        </p:txBody>
      </p:sp>
      <p:sp>
        <p:nvSpPr>
          <p:cNvPr id="12" name="Freeform: Shape 11">
            <a:extLst>
              <a:ext uri="{FF2B5EF4-FFF2-40B4-BE49-F238E27FC236}">
                <a16:creationId xmlns:a16="http://schemas.microsoft.com/office/drawing/2014/main" id="{72F8C9AC-0A59-4BE1-BFE4-A7D7C2C3DB5D}"/>
              </a:ext>
            </a:extLst>
          </p:cNvPr>
          <p:cNvSpPr/>
          <p:nvPr/>
        </p:nvSpPr>
        <p:spPr>
          <a:xfrm>
            <a:off x="1741097" y="861338"/>
            <a:ext cx="5426671" cy="427394"/>
          </a:xfrm>
          <a:custGeom>
            <a:avLst/>
            <a:gdLst>
              <a:gd name="connsiteX0" fmla="*/ 0 w 5896040"/>
              <a:gd name="connsiteY0" fmla="*/ 0 h 508224"/>
              <a:gd name="connsiteX1" fmla="*/ 5896040 w 5896040"/>
              <a:gd name="connsiteY1" fmla="*/ 0 h 508224"/>
              <a:gd name="connsiteX2" fmla="*/ 5896040 w 5896040"/>
              <a:gd name="connsiteY2" fmla="*/ 508224 h 508224"/>
              <a:gd name="connsiteX3" fmla="*/ 0 w 5896040"/>
              <a:gd name="connsiteY3" fmla="*/ 508224 h 508224"/>
              <a:gd name="connsiteX4" fmla="*/ 0 w 5896040"/>
              <a:gd name="connsiteY4" fmla="*/ 0 h 508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6040" h="508224">
                <a:moveTo>
                  <a:pt x="0" y="0"/>
                </a:moveTo>
                <a:lnTo>
                  <a:pt x="5896040" y="0"/>
                </a:lnTo>
                <a:lnTo>
                  <a:pt x="5896040" y="508224"/>
                </a:lnTo>
                <a:lnTo>
                  <a:pt x="0" y="508224"/>
                </a:lnTo>
                <a:lnTo>
                  <a:pt x="0" y="0"/>
                </a:lnTo>
                <a:close/>
              </a:path>
            </a:pathLst>
          </a:cu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ir Coolers</a:t>
            </a:r>
            <a:endParaRPr kumimoji="0" lang="en-US" sz="1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6" name="Table 5">
            <a:extLst>
              <a:ext uri="{FF2B5EF4-FFF2-40B4-BE49-F238E27FC236}">
                <a16:creationId xmlns:a16="http://schemas.microsoft.com/office/drawing/2014/main" id="{8C86B285-72D7-4F39-9E3C-0B1305887B6A}"/>
              </a:ext>
            </a:extLst>
          </p:cNvPr>
          <p:cNvGraphicFramePr>
            <a:graphicFrameLocks noGrp="1"/>
          </p:cNvGraphicFramePr>
          <p:nvPr>
            <p:extLst>
              <p:ext uri="{D42A27DB-BD31-4B8C-83A1-F6EECF244321}">
                <p14:modId xmlns:p14="http://schemas.microsoft.com/office/powerpoint/2010/main" val="701193397"/>
              </p:ext>
            </p:extLst>
          </p:nvPr>
        </p:nvGraphicFramePr>
        <p:xfrm>
          <a:off x="419100" y="749808"/>
          <a:ext cx="8262784" cy="5246854"/>
        </p:xfrm>
        <a:graphic>
          <a:graphicData uri="http://schemas.openxmlformats.org/drawingml/2006/table">
            <a:tbl>
              <a:tblPr firstRow="1">
                <a:tableStyleId>{0E3FDE45-AF77-4B5C-9715-49D594BDF05E}</a:tableStyleId>
              </a:tblPr>
              <a:tblGrid>
                <a:gridCol w="906117">
                  <a:extLst>
                    <a:ext uri="{9D8B030D-6E8A-4147-A177-3AD203B41FA5}">
                      <a16:colId xmlns:a16="http://schemas.microsoft.com/office/drawing/2014/main" val="20000"/>
                    </a:ext>
                  </a:extLst>
                </a:gridCol>
                <a:gridCol w="6586022">
                  <a:extLst>
                    <a:ext uri="{9D8B030D-6E8A-4147-A177-3AD203B41FA5}">
                      <a16:colId xmlns:a16="http://schemas.microsoft.com/office/drawing/2014/main" val="20001"/>
                    </a:ext>
                  </a:extLst>
                </a:gridCol>
                <a:gridCol w="770645">
                  <a:extLst>
                    <a:ext uri="{9D8B030D-6E8A-4147-A177-3AD203B41FA5}">
                      <a16:colId xmlns:a16="http://schemas.microsoft.com/office/drawing/2014/main" val="20002"/>
                    </a:ext>
                  </a:extLst>
                </a:gridCol>
              </a:tblGrid>
              <a:tr h="256688">
                <a:tc>
                  <a:txBody>
                    <a:bodyPr/>
                    <a:lstStyle/>
                    <a:p>
                      <a:pPr marL="0" algn="ctr" defTabSz="914400" rtl="0" eaLnBrk="1" latinLnBrk="0" hangingPunct="1">
                        <a:lnSpc>
                          <a:spcPct val="100000"/>
                        </a:lnSpc>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S. No.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algn="ctr" defTabSz="914400" rtl="0" eaLnBrk="1" latinLnBrk="0" hangingPunct="1">
                        <a:lnSpc>
                          <a:spcPct val="100000"/>
                        </a:lnSpc>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Titl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Page N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extLst>
                  <a:ext uri="{0D108BD9-81ED-4DB2-BD59-A6C34878D82A}">
                    <a16:rowId xmlns:a16="http://schemas.microsoft.com/office/drawing/2014/main" val="10000"/>
                  </a:ext>
                </a:extLst>
              </a:tr>
              <a:tr h="254124">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a:t>
                      </a:r>
                      <a:r>
                        <a:rPr lang="en-US" sz="900" b="1" kern="1200" baseline="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22:</a:t>
                      </a:r>
                      <a:endPar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Malaysia Copper Sulphate Market Size, By Volume, (Kilo </a:t>
                      </a:r>
                      <a:r>
                        <a:rPr lang="en-US" sz="900" b="0" i="0" u="none" strike="noStrike" kern="1200" baseline="0" dirty="0" err="1">
                          <a:solidFill>
                            <a:schemeClr val="tx1"/>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4515531"/>
                  </a:ext>
                </a:extLst>
              </a:tr>
              <a:tr h="254124">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Malaysia Copper Sulphate Market Share, By Grade, By Value, (USD Million), 2016-2026F</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93715560"/>
                  </a:ext>
                </a:extLst>
              </a:tr>
              <a:tr h="254124">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Malaysia Copper Sulphate Market Share, By End Use, By Value, (USD Million), 2016-2026F</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45666480"/>
                  </a:ext>
                </a:extLst>
              </a:tr>
              <a:tr h="254124">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Malaysia Copper Sulphate Import, 2016-2020 (Kilo </a:t>
                      </a:r>
                      <a:r>
                        <a:rPr lang="en-US" sz="900" b="0" i="0" u="none" strike="noStrike" kern="1200" baseline="0" dirty="0" err="1">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62538610"/>
                  </a:ext>
                </a:extLst>
              </a:tr>
              <a:tr h="256688">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Vietnam Copper Sulphate Market Size, By Value, (USD Million), 2016-2026F</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0803781"/>
                  </a:ext>
                </a:extLst>
              </a:tr>
              <a:tr h="256688">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Vietnam Copper Sulphate Market Size, By Volume, (Kilo </a:t>
                      </a:r>
                      <a:r>
                        <a:rPr lang="en-US" sz="900" b="0" i="0" u="none" strike="noStrike" kern="1200" baseline="0" dirty="0" err="1">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 2016-2026F</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22510226"/>
                  </a:ext>
                </a:extLst>
              </a:tr>
              <a:tr h="256688">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Vietnam Copper Sulphate Market Share, By Grade, By Value, (USD Million), 2016-2026F</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99514">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50000"/>
                        </a:lnSpc>
                        <a:defRPr/>
                      </a:pPr>
                      <a:r>
                        <a:rPr lang="en-US" sz="900" b="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Vietnam Copper Sulphate Market Share, By End Use, By Value, (USD Million), 2016-2026F</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99514">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50000"/>
                        </a:lnSpc>
                        <a:defRPr/>
                      </a:pPr>
                      <a:r>
                        <a:rPr lang="en-US" sz="900" b="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Vietnam Copper Sulphate Import, 2016-2020 (Kilo </a:t>
                      </a:r>
                      <a:r>
                        <a:rPr lang="en-US" sz="900" b="0" dirty="0" err="1">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Tonnes</a:t>
                      </a:r>
                      <a:r>
                        <a:rPr lang="en-US" sz="900" b="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a:t>
                      </a:r>
                      <a:endParaRPr lang="en-IN" sz="900" b="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56688">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Philippines Copper Sulphate Market Size, By Value, (USD Million), 2016-2026F</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56688">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Philippines Copper Sulphate Market Size, By Volume, (Kilo </a:t>
                      </a:r>
                      <a:r>
                        <a:rPr lang="en-US" sz="900" b="0" i="0" u="none" strike="noStrike" kern="1200" baseline="0" dirty="0" err="1">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 2016-2026F</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56688">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Philippines Copper Sulphate Market Share, By Grade, By Value, (USD Million), 2016-2026F</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56688">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a:t>
                      </a:r>
                      <a:r>
                        <a:rPr lang="en-US" sz="900" b="1" kern="1200" baseline="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34:</a:t>
                      </a:r>
                      <a:endPar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Philippines Copper Sulphate Market Share, By End Use, By Value, (USD Million), 2016-2026F</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56688">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fr-FR"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Philippines Copper </a:t>
                      </a:r>
                      <a:r>
                        <a:rPr lang="fr-FR" sz="900" b="0" i="0" u="none" strike="noStrike" kern="1200" baseline="0" dirty="0" err="1">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Sulphate</a:t>
                      </a:r>
                      <a:r>
                        <a:rPr lang="fr-FR"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 Import, 2016-2020 (Kilo Tonnes)</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56688">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Rest of South-East Asia Copper Sulphate Market Size, By Value, (USD Million), 2016-2026F</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56688">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Rest of South-East Asia Copper Sulphate Market Size, By Volume, (Kilo </a:t>
                      </a:r>
                      <a:r>
                        <a:rPr lang="en-US" sz="900" b="0" i="0" u="none" strike="noStrike" kern="1200" baseline="0" dirty="0" err="1">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 2016-2026F</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99514">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50000"/>
                        </a:lnSpc>
                        <a:defRPr/>
                      </a:pPr>
                      <a:r>
                        <a:rPr lang="en-US" sz="900" b="0" kern="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Rest of South-East Asia Copper Sulphate Import, 2016-2020 (Kilo </a:t>
                      </a:r>
                      <a:r>
                        <a:rPr lang="en-US" sz="900" b="0" kern="0" dirty="0" err="1">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Tonnes</a:t>
                      </a:r>
                      <a:r>
                        <a:rPr lang="en-US" sz="900" b="0" kern="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a:t>
                      </a:r>
                      <a:endParaRPr lang="en-IN" sz="900" b="0" kern="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54124">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Copper Sulphate Manufacturing Process</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54124">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4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Copper Sulphate Margin Analysis, 2016-2030F</a:t>
                      </a:r>
                      <a:endParaRPr lang="en-IN" sz="900" b="0" i="0" u="none" strike="noStrike" kern="1200" baseline="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78785233"/>
                  </a:ext>
                </a:extLst>
              </a:tr>
            </a:tbl>
          </a:graphicData>
        </a:graphic>
      </p:graphicFrame>
    </p:spTree>
    <p:extLst>
      <p:ext uri="{BB962C8B-B14F-4D97-AF65-F5344CB8AC3E}">
        <p14:creationId xmlns:p14="http://schemas.microsoft.com/office/powerpoint/2010/main" val="38132548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Philippines Trade Dynamics</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3" name="TextBox 2">
            <a:extLst>
              <a:ext uri="{FF2B5EF4-FFF2-40B4-BE49-F238E27FC236}">
                <a16:creationId xmlns:a16="http://schemas.microsoft.com/office/drawing/2014/main" id="{794C340A-1814-458C-B951-A36DE5B0742F}"/>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5: Philippines Copper Sulphate Import</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16-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5" name="Chart 4">
            <a:extLst>
              <a:ext uri="{FF2B5EF4-FFF2-40B4-BE49-F238E27FC236}">
                <a16:creationId xmlns:a16="http://schemas.microsoft.com/office/drawing/2014/main" id="{74BC5EE8-859E-4E5F-AE1A-FEDD45EE9107}"/>
              </a:ext>
            </a:extLst>
          </p:cNvPr>
          <p:cNvGraphicFramePr/>
          <p:nvPr>
            <p:extLst>
              <p:ext uri="{D42A27DB-BD31-4B8C-83A1-F6EECF244321}">
                <p14:modId xmlns:p14="http://schemas.microsoft.com/office/powerpoint/2010/main" val="2026639695"/>
              </p:ext>
            </p:extLst>
          </p:nvPr>
        </p:nvGraphicFramePr>
        <p:xfrm>
          <a:off x="222309" y="1329121"/>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17E47EF-C5A1-4800-89D3-CAB8953BE22A}"/>
              </a:ext>
            </a:extLst>
          </p:cNvPr>
          <p:cNvSpPr txBox="1"/>
          <p:nvPr/>
        </p:nvSpPr>
        <p:spPr>
          <a:xfrm>
            <a:off x="6154275" y="310496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8" name="TextBox 13">
            <a:extLst>
              <a:ext uri="{FF2B5EF4-FFF2-40B4-BE49-F238E27FC236}">
                <a16:creationId xmlns:a16="http://schemas.microsoft.com/office/drawing/2014/main" id="{4E8B964E-7F89-4C16-A308-B38A1846CF29}"/>
              </a:ext>
            </a:extLst>
          </p:cNvPr>
          <p:cNvSpPr txBox="1"/>
          <p:nvPr/>
        </p:nvSpPr>
        <p:spPr>
          <a:xfrm>
            <a:off x="214086" y="3581566"/>
            <a:ext cx="4270912" cy="52290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US" sz="1000" b="1" kern="0" dirty="0">
                <a:latin typeface="Verdana" panose="020B0604030504040204" pitchFamily="34" charset="0"/>
                <a:ea typeface="Verdana" panose="020B0604030504040204" pitchFamily="34" charset="0"/>
                <a:cs typeface="Verdana" panose="020B0604030504040204" pitchFamily="34" charset="0"/>
              </a:rPr>
              <a:t>Philippines </a:t>
            </a:r>
            <a:r>
              <a:rPr lang="en-IN" sz="1000" b="1" kern="0" dirty="0">
                <a:latin typeface="Verdana" panose="020B0604030504040204" pitchFamily="34" charset="0"/>
                <a:ea typeface="Verdana" panose="020B0604030504040204" pitchFamily="34" charset="0"/>
                <a:cs typeface="Verdana" panose="020B0604030504040204" pitchFamily="34" charset="0"/>
              </a:rPr>
              <a:t>Manufacturing, Value Added (% of GDP), 2015-2020</a:t>
            </a:r>
          </a:p>
        </p:txBody>
      </p:sp>
      <p:sp>
        <p:nvSpPr>
          <p:cNvPr id="13" name="TextBox 13">
            <a:extLst>
              <a:ext uri="{FF2B5EF4-FFF2-40B4-BE49-F238E27FC236}">
                <a16:creationId xmlns:a16="http://schemas.microsoft.com/office/drawing/2014/main" id="{22B93B88-584E-4396-8A76-615732453C3B}"/>
              </a:ext>
            </a:extLst>
          </p:cNvPr>
          <p:cNvSpPr txBox="1"/>
          <p:nvPr/>
        </p:nvSpPr>
        <p:spPr>
          <a:xfrm>
            <a:off x="4484997" y="3584814"/>
            <a:ext cx="4566237" cy="7537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US" sz="1000" b="1" kern="0" dirty="0">
                <a:latin typeface="Verdana" panose="020B0604030504040204" pitchFamily="34" charset="0"/>
                <a:ea typeface="Verdana" panose="020B0604030504040204" pitchFamily="34" charset="0"/>
                <a:cs typeface="Verdana" panose="020B0604030504040204" pitchFamily="34" charset="0"/>
              </a:rPr>
              <a:t>Top 5 Exporting Countries to Philippines, By Volume Copper Sulphate, 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kern="0" dirty="0">
              <a:latin typeface="Verdana" panose="020B0604030504040204" pitchFamily="34" charset="0"/>
              <a:ea typeface="Verdana" panose="020B0604030504040204" pitchFamily="34" charset="0"/>
              <a:cs typeface="Verdana" panose="020B0604030504040204" pitchFamily="34" charset="0"/>
            </a:endParaRPr>
          </a:p>
          <a:p>
            <a:pPr>
              <a:lnSpc>
                <a:spcPct val="150000"/>
              </a:lnSpc>
              <a:defRPr/>
            </a:pP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Table 14">
            <a:extLst>
              <a:ext uri="{FF2B5EF4-FFF2-40B4-BE49-F238E27FC236}">
                <a16:creationId xmlns:a16="http://schemas.microsoft.com/office/drawing/2014/main" id="{7C46207C-8FD8-461D-B07D-E8A4DC575455}"/>
              </a:ext>
            </a:extLst>
          </p:cNvPr>
          <p:cNvGraphicFramePr>
            <a:graphicFrameLocks noGrp="1"/>
          </p:cNvGraphicFramePr>
          <p:nvPr>
            <p:extLst>
              <p:ext uri="{D42A27DB-BD31-4B8C-83A1-F6EECF244321}">
                <p14:modId xmlns:p14="http://schemas.microsoft.com/office/powerpoint/2010/main" val="958563350"/>
              </p:ext>
            </p:extLst>
          </p:nvPr>
        </p:nvGraphicFramePr>
        <p:xfrm>
          <a:off x="4605499" y="4322995"/>
          <a:ext cx="3858500" cy="1772142"/>
        </p:xfrm>
        <a:graphic>
          <a:graphicData uri="http://schemas.openxmlformats.org/drawingml/2006/table">
            <a:tbl>
              <a:tblPr>
                <a:tableStyleId>{3B4B98B0-60AC-42C2-AFA5-B58CD77FA1E5}</a:tableStyleId>
              </a:tblPr>
              <a:tblGrid>
                <a:gridCol w="1929250">
                  <a:extLst>
                    <a:ext uri="{9D8B030D-6E8A-4147-A177-3AD203B41FA5}">
                      <a16:colId xmlns:a16="http://schemas.microsoft.com/office/drawing/2014/main" val="435593215"/>
                    </a:ext>
                  </a:extLst>
                </a:gridCol>
                <a:gridCol w="1929250">
                  <a:extLst>
                    <a:ext uri="{9D8B030D-6E8A-4147-A177-3AD203B41FA5}">
                      <a16:colId xmlns:a16="http://schemas.microsoft.com/office/drawing/2014/main" val="2622006846"/>
                    </a:ext>
                  </a:extLst>
                </a:gridCol>
              </a:tblGrid>
              <a:tr h="251797">
                <a:tc>
                  <a:txBody>
                    <a:bodyPr/>
                    <a:lstStyle/>
                    <a:p>
                      <a:pPr algn="l"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Countrie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Volum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98928573"/>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aiwan</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1.62</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8077485"/>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Russi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80</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5286502"/>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Chin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14</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7895310"/>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hailand</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09</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2825168"/>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US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03</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92385393"/>
                  </a:ext>
                </a:extLst>
              </a:tr>
            </a:tbl>
          </a:graphicData>
        </a:graphic>
      </p:graphicFrame>
      <p:sp>
        <p:nvSpPr>
          <p:cNvPr id="16" name="TextBox 15">
            <a:extLst>
              <a:ext uri="{FF2B5EF4-FFF2-40B4-BE49-F238E27FC236}">
                <a16:creationId xmlns:a16="http://schemas.microsoft.com/office/drawing/2014/main" id="{5494065C-E459-4D86-A71A-C6EF631296F8}"/>
              </a:ext>
            </a:extLst>
          </p:cNvPr>
          <p:cNvSpPr txBox="1"/>
          <p:nvPr/>
        </p:nvSpPr>
        <p:spPr>
          <a:xfrm>
            <a:off x="6006954" y="6249980"/>
            <a:ext cx="2544697"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lang="en-IN" dirty="0">
                <a:solidFill>
                  <a:prstClr val="white">
                    <a:lumMod val="50000"/>
                  </a:prstClr>
                </a:solidFill>
              </a:rPr>
              <a:t>Foreign Trade Statistics of </a:t>
            </a:r>
            <a:r>
              <a:rPr lang="en-IN" dirty="0" err="1">
                <a:solidFill>
                  <a:prstClr val="white">
                    <a:lumMod val="50000"/>
                  </a:prstClr>
                </a:solidFill>
              </a:rPr>
              <a:t>Phillipines</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8" name="Chart 17">
            <a:extLst>
              <a:ext uri="{FF2B5EF4-FFF2-40B4-BE49-F238E27FC236}">
                <a16:creationId xmlns:a16="http://schemas.microsoft.com/office/drawing/2014/main" id="{915E19B2-6D10-4E93-B611-77DB39EA749F}"/>
              </a:ext>
            </a:extLst>
          </p:cNvPr>
          <p:cNvGraphicFramePr/>
          <p:nvPr>
            <p:extLst>
              <p:ext uri="{D42A27DB-BD31-4B8C-83A1-F6EECF244321}">
                <p14:modId xmlns:p14="http://schemas.microsoft.com/office/powerpoint/2010/main" val="163153222"/>
              </p:ext>
            </p:extLst>
          </p:nvPr>
        </p:nvGraphicFramePr>
        <p:xfrm>
          <a:off x="245933" y="4202611"/>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4066A057-DB30-4D48-A1BD-B6CB98B5B540}"/>
              </a:ext>
            </a:extLst>
          </p:cNvPr>
          <p:cNvSpPr txBox="1"/>
          <p:nvPr/>
        </p:nvSpPr>
        <p:spPr>
          <a:xfrm>
            <a:off x="2317009"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Tree>
    <p:extLst>
      <p:ext uri="{BB962C8B-B14F-4D97-AF65-F5344CB8AC3E}">
        <p14:creationId xmlns:p14="http://schemas.microsoft.com/office/powerpoint/2010/main" val="359720548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75D31631-046C-49F0-AF4D-23981686B626}"/>
              </a:ext>
            </a:extLst>
          </p:cNvPr>
          <p:cNvGrpSpPr/>
          <p:nvPr/>
        </p:nvGrpSpPr>
        <p:grpSpPr>
          <a:xfrm>
            <a:off x="385816" y="1134502"/>
            <a:ext cx="4158053" cy="378905"/>
            <a:chOff x="222392" y="286"/>
            <a:chExt cx="1828512" cy="1097107"/>
          </a:xfrm>
          <a:scene3d>
            <a:camera prst="orthographicFront">
              <a:rot lat="0" lon="0" rev="0"/>
            </a:camera>
            <a:lightRig rig="balanced" dir="t">
              <a:rot lat="0" lon="0" rev="8700000"/>
            </a:lightRig>
          </a:scene3d>
        </p:grpSpPr>
        <p:sp>
          <p:nvSpPr>
            <p:cNvPr id="30" name="Rectangle 29">
              <a:extLst>
                <a:ext uri="{FF2B5EF4-FFF2-40B4-BE49-F238E27FC236}">
                  <a16:creationId xmlns:a16="http://schemas.microsoft.com/office/drawing/2014/main" id="{BC7B5B2D-2C3E-4817-AC05-8A1077CBC2C2}"/>
                </a:ext>
              </a:extLst>
            </p:cNvPr>
            <p:cNvSpPr/>
            <p:nvPr/>
          </p:nvSpPr>
          <p:spPr>
            <a:xfrm>
              <a:off x="222392" y="286"/>
              <a:ext cx="1828512" cy="1097107"/>
            </a:xfrm>
            <a:prstGeom prst="rect">
              <a:avLst/>
            </a:prstGeom>
            <a:solidFill>
              <a:schemeClr val="tx1">
                <a:lumMod val="50000"/>
                <a:lumOff val="50000"/>
              </a:schemeClr>
            </a:solidFill>
            <a:ln>
              <a:noFill/>
            </a:ln>
            <a:effectLst>
              <a:outerShdw blurRad="44450" dist="27940" dir="5400000" algn="ctr">
                <a:srgbClr val="000000">
                  <a:alpha val="32000"/>
                </a:srgbClr>
              </a:outerShdw>
            </a:effectLst>
            <a:sp3d>
              <a:bevelT w="190500" h="38100"/>
            </a:sp3d>
          </p:spPr>
          <p:style>
            <a:lnRef idx="0">
              <a:schemeClr val="dk2">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2">
                <a:hueOff val="0"/>
                <a:satOff val="0"/>
                <a:lumOff val="0"/>
                <a:alphaOff val="0"/>
              </a:schemeClr>
            </a:fontRef>
          </p:style>
        </p:sp>
        <p:sp>
          <p:nvSpPr>
            <p:cNvPr id="31" name="TextBox 30">
              <a:extLst>
                <a:ext uri="{FF2B5EF4-FFF2-40B4-BE49-F238E27FC236}">
                  <a16:creationId xmlns:a16="http://schemas.microsoft.com/office/drawing/2014/main" id="{1A8A6335-1252-425B-B278-8634D4B2E4D9}"/>
                </a:ext>
              </a:extLst>
            </p:cNvPr>
            <p:cNvSpPr txBox="1"/>
            <p:nvPr/>
          </p:nvSpPr>
          <p:spPr>
            <a:xfrm>
              <a:off x="222392" y="286"/>
              <a:ext cx="1828512" cy="1097107"/>
            </a:xfrm>
            <a:prstGeom prst="rect">
              <a:avLst/>
            </a:prstGeom>
            <a:ln>
              <a:noFill/>
            </a:ln>
            <a:effectLst>
              <a:outerShdw blurRad="44450" dist="27940" dir="5400000" algn="ctr">
                <a:srgbClr val="000000">
                  <a:alpha val="32000"/>
                </a:srgbClr>
              </a:outerShdw>
            </a:effectLst>
            <a:sp3d>
              <a:bevelT w="190500" h="38100"/>
            </a:sp3d>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60960" tIns="60960" rIns="60960" bIns="60960" numCol="1" spcCol="1270" anchor="ctr" anchorCtr="0">
              <a:noAutofit/>
            </a:bodyPr>
            <a:lstStyle/>
            <a:p>
              <a:pPr algn="ctr" defTabSz="711200">
                <a:lnSpc>
                  <a:spcPct val="90000"/>
                </a:lnSpc>
                <a:spcBef>
                  <a:spcPct val="0"/>
                </a:spcBef>
                <a:spcAft>
                  <a:spcPct val="35000"/>
                </a:spcAft>
              </a:pPr>
              <a:r>
                <a:rPr lang="en-IN" sz="1600" b="1" dirty="0">
                  <a:solidFill>
                    <a:schemeClr val="bg1"/>
                  </a:solidFill>
                  <a:latin typeface="Calibri" panose="020F0502020204030204"/>
                </a:rPr>
                <a:t>Leading Companies / Brands in Philippines</a:t>
              </a:r>
            </a:p>
          </p:txBody>
        </p:sp>
      </p:grpSp>
      <p:sp>
        <p:nvSpPr>
          <p:cNvPr id="6" name="Rectangle 5">
            <a:extLst>
              <a:ext uri="{FF2B5EF4-FFF2-40B4-BE49-F238E27FC236}">
                <a16:creationId xmlns:a16="http://schemas.microsoft.com/office/drawing/2014/main" id="{983A0455-0A23-42C1-A471-17813F6F36E5}"/>
              </a:ext>
            </a:extLst>
          </p:cNvPr>
          <p:cNvSpPr/>
          <p:nvPr/>
        </p:nvSpPr>
        <p:spPr>
          <a:xfrm>
            <a:off x="296596" y="914401"/>
            <a:ext cx="4373880" cy="5524501"/>
          </a:xfrm>
          <a:prstGeom prst="rect">
            <a:avLst/>
          </a:prstGeom>
          <a:noFill/>
          <a:ln w="19050">
            <a:solidFill>
              <a:schemeClr val="tx1">
                <a:lumMod val="50000"/>
                <a:lumOff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1" name="Group 10">
            <a:extLst>
              <a:ext uri="{FF2B5EF4-FFF2-40B4-BE49-F238E27FC236}">
                <a16:creationId xmlns:a16="http://schemas.microsoft.com/office/drawing/2014/main" id="{CD160E9B-4116-4FB8-9A71-86555CFBCE8D}"/>
              </a:ext>
            </a:extLst>
          </p:cNvPr>
          <p:cNvGrpSpPr/>
          <p:nvPr/>
        </p:nvGrpSpPr>
        <p:grpSpPr>
          <a:xfrm>
            <a:off x="4937759" y="804216"/>
            <a:ext cx="3384000" cy="1080000"/>
            <a:chOff x="4937759" y="951620"/>
            <a:chExt cx="3505692" cy="1228872"/>
          </a:xfrm>
        </p:grpSpPr>
        <p:sp>
          <p:nvSpPr>
            <p:cNvPr id="8" name="Arrow: Striped Right 7">
              <a:extLst>
                <a:ext uri="{FF2B5EF4-FFF2-40B4-BE49-F238E27FC236}">
                  <a16:creationId xmlns:a16="http://schemas.microsoft.com/office/drawing/2014/main" id="{03F6DBD7-5DC8-421A-855F-8CFD7F059AFB}"/>
                </a:ext>
              </a:extLst>
            </p:cNvPr>
            <p:cNvSpPr/>
            <p:nvPr/>
          </p:nvSpPr>
          <p:spPr>
            <a:xfrm>
              <a:off x="4937759" y="951620"/>
              <a:ext cx="1589650" cy="1228872"/>
            </a:xfrm>
            <a:prstGeom prst="striped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Competition Scenario</a:t>
              </a:r>
            </a:p>
          </p:txBody>
        </p:sp>
        <p:sp>
          <p:nvSpPr>
            <p:cNvPr id="9" name="Flowchart: Display 8">
              <a:extLst>
                <a:ext uri="{FF2B5EF4-FFF2-40B4-BE49-F238E27FC236}">
                  <a16:creationId xmlns:a16="http://schemas.microsoft.com/office/drawing/2014/main" id="{12D1CBAB-D90E-4665-B371-FEE05B7E2145}"/>
                </a:ext>
              </a:extLst>
            </p:cNvPr>
            <p:cNvSpPr/>
            <p:nvPr/>
          </p:nvSpPr>
          <p:spPr>
            <a:xfrm>
              <a:off x="6741260" y="1259732"/>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grpSp>
        <p:nvGrpSpPr>
          <p:cNvPr id="12" name="Group 11">
            <a:extLst>
              <a:ext uri="{FF2B5EF4-FFF2-40B4-BE49-F238E27FC236}">
                <a16:creationId xmlns:a16="http://schemas.microsoft.com/office/drawing/2014/main" id="{4377EFB3-F0E4-49F5-AF73-CB70BF7D9913}"/>
              </a:ext>
            </a:extLst>
          </p:cNvPr>
          <p:cNvGrpSpPr/>
          <p:nvPr/>
        </p:nvGrpSpPr>
        <p:grpSpPr>
          <a:xfrm>
            <a:off x="4937759" y="2579293"/>
            <a:ext cx="3384000" cy="1080000"/>
            <a:chOff x="4937759" y="2856214"/>
            <a:chExt cx="3505692" cy="1228872"/>
          </a:xfrm>
        </p:grpSpPr>
        <p:sp>
          <p:nvSpPr>
            <p:cNvPr id="40" name="Arrow: Striped Right 39">
              <a:extLst>
                <a:ext uri="{FF2B5EF4-FFF2-40B4-BE49-F238E27FC236}">
                  <a16:creationId xmlns:a16="http://schemas.microsoft.com/office/drawing/2014/main" id="{F189F971-2700-4730-B3A4-9E51930D5C5F}"/>
                </a:ext>
              </a:extLst>
            </p:cNvPr>
            <p:cNvSpPr/>
            <p:nvPr/>
          </p:nvSpPr>
          <p:spPr>
            <a:xfrm>
              <a:off x="4937759" y="2856214"/>
              <a:ext cx="1589650" cy="1228872"/>
            </a:xfrm>
            <a:prstGeom prst="striped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Growth Prospects</a:t>
              </a:r>
            </a:p>
          </p:txBody>
        </p:sp>
        <p:sp>
          <p:nvSpPr>
            <p:cNvPr id="43" name="Flowchart: Display 42">
              <a:extLst>
                <a:ext uri="{FF2B5EF4-FFF2-40B4-BE49-F238E27FC236}">
                  <a16:creationId xmlns:a16="http://schemas.microsoft.com/office/drawing/2014/main" id="{31216467-3064-4594-A767-982E4397E2A3}"/>
                </a:ext>
              </a:extLst>
            </p:cNvPr>
            <p:cNvSpPr/>
            <p:nvPr/>
          </p:nvSpPr>
          <p:spPr>
            <a:xfrm>
              <a:off x="6741260" y="3145241"/>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grpSp>
        <p:nvGrpSpPr>
          <p:cNvPr id="21" name="Group 20">
            <a:extLst>
              <a:ext uri="{FF2B5EF4-FFF2-40B4-BE49-F238E27FC236}">
                <a16:creationId xmlns:a16="http://schemas.microsoft.com/office/drawing/2014/main" id="{5EB35027-976B-49DF-AD91-E37705947DC0}"/>
              </a:ext>
            </a:extLst>
          </p:cNvPr>
          <p:cNvGrpSpPr/>
          <p:nvPr/>
        </p:nvGrpSpPr>
        <p:grpSpPr>
          <a:xfrm>
            <a:off x="4937759" y="4665593"/>
            <a:ext cx="3384000" cy="1080000"/>
            <a:chOff x="4937759" y="4831145"/>
            <a:chExt cx="3505692" cy="1228872"/>
          </a:xfrm>
        </p:grpSpPr>
        <p:sp>
          <p:nvSpPr>
            <p:cNvPr id="41" name="Arrow: Striped Right 40">
              <a:extLst>
                <a:ext uri="{FF2B5EF4-FFF2-40B4-BE49-F238E27FC236}">
                  <a16:creationId xmlns:a16="http://schemas.microsoft.com/office/drawing/2014/main" id="{60E22D3C-00A0-4FF3-B3D8-642E45B8FCA4}"/>
                </a:ext>
              </a:extLst>
            </p:cNvPr>
            <p:cNvSpPr/>
            <p:nvPr/>
          </p:nvSpPr>
          <p:spPr>
            <a:xfrm>
              <a:off x="4937759" y="4831145"/>
              <a:ext cx="1589650" cy="1228872"/>
            </a:xfrm>
            <a:prstGeom prst="striped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Outlook</a:t>
              </a:r>
            </a:p>
          </p:txBody>
        </p:sp>
        <p:sp>
          <p:nvSpPr>
            <p:cNvPr id="44" name="Flowchart: Display 43">
              <a:extLst>
                <a:ext uri="{FF2B5EF4-FFF2-40B4-BE49-F238E27FC236}">
                  <a16:creationId xmlns:a16="http://schemas.microsoft.com/office/drawing/2014/main" id="{DF621444-198A-4395-A3D5-87383E1A01F4}"/>
                </a:ext>
              </a:extLst>
            </p:cNvPr>
            <p:cNvSpPr/>
            <p:nvPr/>
          </p:nvSpPr>
          <p:spPr>
            <a:xfrm>
              <a:off x="6741260" y="5139257"/>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Low- Medium</a:t>
              </a:r>
            </a:p>
          </p:txBody>
        </p:sp>
      </p:grpSp>
      <p:sp>
        <p:nvSpPr>
          <p:cNvPr id="10" name="Rectangle 9">
            <a:extLst>
              <a:ext uri="{FF2B5EF4-FFF2-40B4-BE49-F238E27FC236}">
                <a16:creationId xmlns:a16="http://schemas.microsoft.com/office/drawing/2014/main" id="{8BD34E69-CF39-424D-9DE9-2F73E555B95A}"/>
              </a:ext>
            </a:extLst>
          </p:cNvPr>
          <p:cNvSpPr/>
          <p:nvPr/>
        </p:nvSpPr>
        <p:spPr>
          <a:xfrm>
            <a:off x="5004020" y="1856989"/>
            <a:ext cx="3558541" cy="811441"/>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The Philippines Copper Sulphate market is fragmented and there is an emergence of Taiwanese players who have captured a significant share in the aftermarket.</a:t>
            </a:r>
          </a:p>
        </p:txBody>
      </p:sp>
      <p:sp>
        <p:nvSpPr>
          <p:cNvPr id="46" name="Rectangle 45">
            <a:extLst>
              <a:ext uri="{FF2B5EF4-FFF2-40B4-BE49-F238E27FC236}">
                <a16:creationId xmlns:a16="http://schemas.microsoft.com/office/drawing/2014/main" id="{9C10E17B-1F3D-427B-8DCC-335C7785DD5F}"/>
              </a:ext>
            </a:extLst>
          </p:cNvPr>
          <p:cNvSpPr/>
          <p:nvPr/>
        </p:nvSpPr>
        <p:spPr>
          <a:xfrm>
            <a:off x="4937758" y="3692337"/>
            <a:ext cx="3558541" cy="996107"/>
          </a:xfrm>
          <a:prstGeom prst="rect">
            <a:avLst/>
          </a:prstGeom>
        </p:spPr>
        <p:txBody>
          <a:bodyPr wrap="square">
            <a:spAutoFit/>
          </a:bodyPr>
          <a:lstStyle/>
          <a:p>
            <a:pPr algn="just">
              <a:lnSpc>
                <a:spcPct val="120000"/>
              </a:lnSpc>
              <a:spcBef>
                <a:spcPts val="400"/>
              </a:spcBef>
              <a:spcAft>
                <a:spcPts val="400"/>
              </a:spcAft>
            </a:pPr>
            <a:r>
              <a:rPr lang="en-IN"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The Copper Sulphate market is expected to rise due to increasing demand for high quality fertilizers, increasing per capita income, rising farming standards, growing population, and extensive R&amp;D for the development of high-quality fertilizers.</a:t>
            </a:r>
            <a:endPar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0" name="Rectangle 49">
            <a:extLst>
              <a:ext uri="{FF2B5EF4-FFF2-40B4-BE49-F238E27FC236}">
                <a16:creationId xmlns:a16="http://schemas.microsoft.com/office/drawing/2014/main" id="{C2530AFD-4B7D-4A00-9782-D6D451550390}"/>
              </a:ext>
            </a:extLst>
          </p:cNvPr>
          <p:cNvSpPr/>
          <p:nvPr/>
        </p:nvSpPr>
        <p:spPr>
          <a:xfrm>
            <a:off x="4911896" y="5745593"/>
            <a:ext cx="3702017" cy="811441"/>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Rapid industrialization and urbanization are leading to shrinkage of arable land.</a:t>
            </a:r>
            <a:r>
              <a:rPr kumimoji="0" lang="en-IN" sz="1000" b="0" i="0" u="none" strike="noStrike" kern="1200" cap="none" spc="0" normalizeH="0" baseline="0" noProof="0" dirty="0">
                <a:ln>
                  <a:noFill/>
                </a:ln>
                <a:solidFill>
                  <a:prstClr val="black"/>
                </a:solidFill>
                <a:effectLst/>
                <a:uLnTx/>
                <a:uFillTx/>
              </a:rPr>
              <a:t> </a:t>
            </a:r>
            <a:r>
              <a:rPr kumimoji="0" lang="en-IN" sz="1000" b="0" i="0" u="none" strike="noStrike" kern="1200" cap="none" spc="0" normalizeH="0" baseline="0" noProof="0" dirty="0">
                <a:ln>
                  <a:noFill/>
                </a:ln>
                <a:solidFill>
                  <a:schemeClr val="bg2">
                    <a:lumMod val="25000"/>
                  </a:schemeClr>
                </a:solidFill>
                <a:effectLst/>
                <a:uLnTx/>
                <a:uFillTx/>
                <a:latin typeface="Verdana" panose="020B0604030504040204" pitchFamily="34" charset="0"/>
                <a:ea typeface="Verdana" panose="020B0604030504040204" pitchFamily="34" charset="0"/>
                <a:cs typeface="Verdana" panose="020B0604030504040204" pitchFamily="34" charset="0"/>
              </a:rPr>
              <a:t>L</a:t>
            </a:r>
            <a:r>
              <a:rPr lang="en-IN"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arge quantities of copper sulphate is used as fertilizers in order to maximize the yield per unit area.</a:t>
            </a:r>
            <a:endPar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5" name="Title 1">
            <a:extLst>
              <a:ext uri="{FF2B5EF4-FFF2-40B4-BE49-F238E27FC236}">
                <a16:creationId xmlns:a16="http://schemas.microsoft.com/office/drawing/2014/main" id="{F6F4C119-0EA0-4DC7-BC95-465085749DF1}"/>
              </a:ext>
            </a:extLst>
          </p:cNvPr>
          <p:cNvSpPr txBox="1">
            <a:spLocks/>
          </p:cNvSpPr>
          <p:nvPr/>
        </p:nvSpPr>
        <p:spPr>
          <a:xfrm>
            <a:off x="42204" y="164731"/>
            <a:ext cx="3751028" cy="301814"/>
          </a:xfrm>
          <a:prstGeom prst="rect">
            <a:avLst/>
          </a:prstGeom>
          <a:noFill/>
        </p:spPr>
        <p:txBody>
          <a:bodyPr vert="horz" wrap="square" lIns="91440" tIns="45720" rIns="91440" bIns="45720" rtlCol="0" anchor="ctr">
            <a:spAutoFit/>
          </a:bodyPr>
          <a:lstStyle>
            <a:defPPr>
              <a:defRPr lang="en-US"/>
            </a:defPPr>
            <a:lvl1pPr marR="0" lvl="0" indent="0" defTabSz="45720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 Competition Outlook in Philippines</a:t>
            </a:r>
          </a:p>
        </p:txBody>
      </p:sp>
      <p:pic>
        <p:nvPicPr>
          <p:cNvPr id="35" name="Picture 34">
            <a:extLst>
              <a:ext uri="{FF2B5EF4-FFF2-40B4-BE49-F238E27FC236}">
                <a16:creationId xmlns:a16="http://schemas.microsoft.com/office/drawing/2014/main" id="{80CE8AD7-90D1-4D11-9046-A235FD79CE5F}"/>
              </a:ext>
            </a:extLst>
          </p:cNvPr>
          <p:cNvPicPr>
            <a:picLocks noChangeAspect="1"/>
          </p:cNvPicPr>
          <p:nvPr/>
        </p:nvPicPr>
        <p:blipFill>
          <a:blip r:embed="rId2"/>
          <a:stretch>
            <a:fillRect/>
          </a:stretch>
        </p:blipFill>
        <p:spPr>
          <a:xfrm>
            <a:off x="456788" y="1638591"/>
            <a:ext cx="2038350" cy="876300"/>
          </a:xfrm>
          <a:prstGeom prst="rect">
            <a:avLst/>
          </a:prstGeom>
        </p:spPr>
      </p:pic>
      <p:pic>
        <p:nvPicPr>
          <p:cNvPr id="3" name="Picture 2">
            <a:extLst>
              <a:ext uri="{FF2B5EF4-FFF2-40B4-BE49-F238E27FC236}">
                <a16:creationId xmlns:a16="http://schemas.microsoft.com/office/drawing/2014/main" id="{51DD3A3C-C191-48CF-92E5-D8427DEB45C1}"/>
              </a:ext>
            </a:extLst>
          </p:cNvPr>
          <p:cNvPicPr>
            <a:picLocks noChangeAspect="1"/>
          </p:cNvPicPr>
          <p:nvPr/>
        </p:nvPicPr>
        <p:blipFill>
          <a:blip r:embed="rId3"/>
          <a:stretch>
            <a:fillRect/>
          </a:stretch>
        </p:blipFill>
        <p:spPr>
          <a:xfrm>
            <a:off x="470040" y="4343109"/>
            <a:ext cx="1482789" cy="593269"/>
          </a:xfrm>
          <a:prstGeom prst="rect">
            <a:avLst/>
          </a:prstGeom>
        </p:spPr>
      </p:pic>
      <p:pic>
        <p:nvPicPr>
          <p:cNvPr id="13" name="Picture 12">
            <a:extLst>
              <a:ext uri="{FF2B5EF4-FFF2-40B4-BE49-F238E27FC236}">
                <a16:creationId xmlns:a16="http://schemas.microsoft.com/office/drawing/2014/main" id="{E01816F3-67C5-4012-BEAB-96267914F2F0}"/>
              </a:ext>
            </a:extLst>
          </p:cNvPr>
          <p:cNvPicPr>
            <a:picLocks noChangeAspect="1"/>
          </p:cNvPicPr>
          <p:nvPr/>
        </p:nvPicPr>
        <p:blipFill>
          <a:blip r:embed="rId4"/>
          <a:stretch>
            <a:fillRect/>
          </a:stretch>
        </p:blipFill>
        <p:spPr>
          <a:xfrm>
            <a:off x="2928729" y="2779707"/>
            <a:ext cx="1497497" cy="876300"/>
          </a:xfrm>
          <a:prstGeom prst="rect">
            <a:avLst/>
          </a:prstGeom>
        </p:spPr>
      </p:pic>
      <p:pic>
        <p:nvPicPr>
          <p:cNvPr id="17" name="Picture 16">
            <a:extLst>
              <a:ext uri="{FF2B5EF4-FFF2-40B4-BE49-F238E27FC236}">
                <a16:creationId xmlns:a16="http://schemas.microsoft.com/office/drawing/2014/main" id="{33877874-7CAD-43F5-82ED-BD56BADFC0FB}"/>
              </a:ext>
            </a:extLst>
          </p:cNvPr>
          <p:cNvPicPr>
            <a:picLocks noChangeAspect="1"/>
          </p:cNvPicPr>
          <p:nvPr/>
        </p:nvPicPr>
        <p:blipFill>
          <a:blip r:embed="rId5"/>
          <a:stretch>
            <a:fillRect/>
          </a:stretch>
        </p:blipFill>
        <p:spPr>
          <a:xfrm>
            <a:off x="2762421" y="1743107"/>
            <a:ext cx="1663805" cy="867571"/>
          </a:xfrm>
          <a:prstGeom prst="rect">
            <a:avLst/>
          </a:prstGeom>
        </p:spPr>
      </p:pic>
      <p:pic>
        <p:nvPicPr>
          <p:cNvPr id="20" name="Picture 19">
            <a:extLst>
              <a:ext uri="{FF2B5EF4-FFF2-40B4-BE49-F238E27FC236}">
                <a16:creationId xmlns:a16="http://schemas.microsoft.com/office/drawing/2014/main" id="{304F2728-8831-45B2-8C98-8F4D7268B9C6}"/>
              </a:ext>
            </a:extLst>
          </p:cNvPr>
          <p:cNvPicPr>
            <a:picLocks noChangeAspect="1"/>
          </p:cNvPicPr>
          <p:nvPr/>
        </p:nvPicPr>
        <p:blipFill>
          <a:blip r:embed="rId6"/>
          <a:stretch>
            <a:fillRect/>
          </a:stretch>
        </p:blipFill>
        <p:spPr>
          <a:xfrm>
            <a:off x="707780" y="2706846"/>
            <a:ext cx="1690863" cy="985491"/>
          </a:xfrm>
          <a:prstGeom prst="rect">
            <a:avLst/>
          </a:prstGeom>
        </p:spPr>
      </p:pic>
      <p:pic>
        <p:nvPicPr>
          <p:cNvPr id="24" name="Picture 23">
            <a:extLst>
              <a:ext uri="{FF2B5EF4-FFF2-40B4-BE49-F238E27FC236}">
                <a16:creationId xmlns:a16="http://schemas.microsoft.com/office/drawing/2014/main" id="{C23A9667-F8C6-4856-B4CE-7FB41BBDD4B8}"/>
              </a:ext>
            </a:extLst>
          </p:cNvPr>
          <p:cNvPicPr>
            <a:picLocks noChangeAspect="1"/>
          </p:cNvPicPr>
          <p:nvPr/>
        </p:nvPicPr>
        <p:blipFill>
          <a:blip r:embed="rId7"/>
          <a:stretch>
            <a:fillRect/>
          </a:stretch>
        </p:blipFill>
        <p:spPr>
          <a:xfrm>
            <a:off x="3010953" y="4223447"/>
            <a:ext cx="1659523" cy="685163"/>
          </a:xfrm>
          <a:prstGeom prst="rect">
            <a:avLst/>
          </a:prstGeom>
        </p:spPr>
      </p:pic>
    </p:spTree>
    <p:extLst>
      <p:ext uri="{BB962C8B-B14F-4D97-AF65-F5344CB8AC3E}">
        <p14:creationId xmlns:p14="http://schemas.microsoft.com/office/powerpoint/2010/main" val="349940380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6B1D01B8-32F7-47CA-AEE2-F21C067B30D7}"/>
              </a:ext>
            </a:extLst>
          </p:cNvPr>
          <p:cNvSpPr/>
          <p:nvPr/>
        </p:nvSpPr>
        <p:spPr>
          <a:xfrm>
            <a:off x="0" y="754379"/>
            <a:ext cx="6032500" cy="1083212"/>
          </a:xfrm>
          <a:custGeom>
            <a:avLst/>
            <a:gdLst>
              <a:gd name="connsiteX0" fmla="*/ 0 w 6032500"/>
              <a:gd name="connsiteY0" fmla="*/ 0 h 1083212"/>
              <a:gd name="connsiteX1" fmla="*/ 6032500 w 6032500"/>
              <a:gd name="connsiteY1" fmla="*/ 0 h 1083212"/>
              <a:gd name="connsiteX2" fmla="*/ 6032500 w 6032500"/>
              <a:gd name="connsiteY2" fmla="*/ 1083212 h 1083212"/>
              <a:gd name="connsiteX3" fmla="*/ 0 w 6032500"/>
              <a:gd name="connsiteY3" fmla="*/ 1083212 h 1083212"/>
              <a:gd name="connsiteX4" fmla="*/ 0 w 6032500"/>
              <a:gd name="connsiteY4" fmla="*/ 0 h 1083212"/>
              <a:gd name="connsiteX0" fmla="*/ 0 w 6032500"/>
              <a:gd name="connsiteY0" fmla="*/ 0 h 1083212"/>
              <a:gd name="connsiteX1" fmla="*/ 6032500 w 6032500"/>
              <a:gd name="connsiteY1" fmla="*/ 0 h 1083212"/>
              <a:gd name="connsiteX2" fmla="*/ 5526063 w 6032500"/>
              <a:gd name="connsiteY2" fmla="*/ 1083212 h 1083212"/>
              <a:gd name="connsiteX3" fmla="*/ 0 w 6032500"/>
              <a:gd name="connsiteY3" fmla="*/ 1083212 h 1083212"/>
              <a:gd name="connsiteX4" fmla="*/ 0 w 6032500"/>
              <a:gd name="connsiteY4" fmla="*/ 0 h 108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0" h="1083212">
                <a:moveTo>
                  <a:pt x="0" y="0"/>
                </a:moveTo>
                <a:lnTo>
                  <a:pt x="6032500" y="0"/>
                </a:lnTo>
                <a:lnTo>
                  <a:pt x="5526063" y="1083212"/>
                </a:lnTo>
                <a:lnTo>
                  <a:pt x="0" y="1083212"/>
                </a:lnTo>
                <a:lnTo>
                  <a:pt x="0" y="0"/>
                </a:lnTo>
                <a:close/>
              </a:path>
            </a:pathLst>
          </a:custGeom>
          <a:solidFill>
            <a:sysClr val="window" lastClr="FFFFFF"/>
          </a:solidFill>
          <a:ln w="12700" cap="flat" cmpd="sng" algn="ctr">
            <a:noFill/>
            <a:prstDash val="solid"/>
            <a:miter lim="800000"/>
          </a:ln>
          <a:effectLst>
            <a:innerShdw blurRad="76200" dist="76200" dir="18900000">
              <a:prstClr val="black">
                <a:alpha val="46000"/>
              </a:prstClr>
            </a:innerShdw>
          </a:effectLst>
        </p:spPr>
        <p:txBody>
          <a:bodyPr rtlCol="0" anchor="ctr"/>
          <a:lstStyle/>
          <a:p>
            <a:pPr marL="0" lvl="1">
              <a:defRPr/>
            </a:pPr>
            <a:r>
              <a:rPr lang="en-IN" sz="2400" b="1" dirty="0">
                <a:solidFill>
                  <a:prstClr val="black"/>
                </a:solidFill>
                <a:latin typeface="Arial" panose="020B0604020202020204" pitchFamily="34" charset="0"/>
                <a:cs typeface="Arial" panose="020B0604020202020204" pitchFamily="34" charset="0"/>
              </a:rPr>
              <a:t>Rest of South-East Asia Copper Sulphate Market Outlook</a:t>
            </a:r>
            <a:endParaRPr kumimoji="0" lang="en-US"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p:txBody>
      </p:sp>
      <p:pic>
        <p:nvPicPr>
          <p:cNvPr id="5122" name="Picture 2" descr="Image result for Indonesia flag">
            <a:extLst>
              <a:ext uri="{FF2B5EF4-FFF2-40B4-BE49-F238E27FC236}">
                <a16:creationId xmlns:a16="http://schemas.microsoft.com/office/drawing/2014/main" id="{9A378D46-EA87-47AF-987A-9067AF43F352}"/>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956859"/>
            <a:ext cx="8892000" cy="4345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200807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6D56440-7BB6-4355-9CC6-D51E1E67FF63}"/>
              </a:ext>
            </a:extLst>
          </p:cNvPr>
          <p:cNvSpPr txBox="1"/>
          <p:nvPr/>
        </p:nvSpPr>
        <p:spPr>
          <a:xfrm>
            <a:off x="198120" y="777916"/>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6: Rest of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alue, (USD Million), 2016-2026F</a:t>
            </a:r>
          </a:p>
        </p:txBody>
      </p:sp>
      <p:graphicFrame>
        <p:nvGraphicFramePr>
          <p:cNvPr id="8" name="Chart 7">
            <a:extLst>
              <a:ext uri="{FF2B5EF4-FFF2-40B4-BE49-F238E27FC236}">
                <a16:creationId xmlns:a16="http://schemas.microsoft.com/office/drawing/2014/main" id="{A26F37D2-0FE5-434C-BED8-194559B16CDB}"/>
              </a:ext>
            </a:extLst>
          </p:cNvPr>
          <p:cNvGraphicFramePr/>
          <p:nvPr/>
        </p:nvGraphicFramePr>
        <p:xfrm>
          <a:off x="222309" y="1645643"/>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Rest of 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alue &amp; Volume</a:t>
            </a:r>
          </a:p>
        </p:txBody>
      </p:sp>
      <p:grpSp>
        <p:nvGrpSpPr>
          <p:cNvPr id="37" name="Group 36">
            <a:extLst>
              <a:ext uri="{FF2B5EF4-FFF2-40B4-BE49-F238E27FC236}">
                <a16:creationId xmlns:a16="http://schemas.microsoft.com/office/drawing/2014/main" id="{6386A73A-847E-4130-81BE-863495E3ED04}"/>
              </a:ext>
            </a:extLst>
          </p:cNvPr>
          <p:cNvGrpSpPr/>
          <p:nvPr/>
        </p:nvGrpSpPr>
        <p:grpSpPr>
          <a:xfrm>
            <a:off x="4356406" y="1285936"/>
            <a:ext cx="3753924" cy="516701"/>
            <a:chOff x="4524751" y="1404135"/>
            <a:chExt cx="3555640" cy="516701"/>
          </a:xfrm>
        </p:grpSpPr>
        <p:cxnSp>
          <p:nvCxnSpPr>
            <p:cNvPr id="38" name="Connector: Elbow 37">
              <a:extLst>
                <a:ext uri="{FF2B5EF4-FFF2-40B4-BE49-F238E27FC236}">
                  <a16:creationId xmlns:a16="http://schemas.microsoft.com/office/drawing/2014/main" id="{B81336F6-D7FE-4B7B-AED9-0CBC6E848C33}"/>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5549B13E-9C53-4126-B55B-A344435365DF}"/>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5.48%</a:t>
              </a:r>
              <a:endPar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17" name="Group 16">
            <a:extLst>
              <a:ext uri="{FF2B5EF4-FFF2-40B4-BE49-F238E27FC236}">
                <a16:creationId xmlns:a16="http://schemas.microsoft.com/office/drawing/2014/main" id="{2F515B5B-3EE0-42B7-8BCE-353FD362EF1C}"/>
              </a:ext>
            </a:extLst>
          </p:cNvPr>
          <p:cNvGrpSpPr/>
          <p:nvPr/>
        </p:nvGrpSpPr>
        <p:grpSpPr>
          <a:xfrm>
            <a:off x="543338" y="1285936"/>
            <a:ext cx="3184509" cy="516701"/>
            <a:chOff x="4524751" y="1404135"/>
            <a:chExt cx="3302533" cy="516701"/>
          </a:xfrm>
        </p:grpSpPr>
        <p:cxnSp>
          <p:nvCxnSpPr>
            <p:cNvPr id="18" name="Connector: Elbow 17">
              <a:extLst>
                <a:ext uri="{FF2B5EF4-FFF2-40B4-BE49-F238E27FC236}">
                  <a16:creationId xmlns:a16="http://schemas.microsoft.com/office/drawing/2014/main" id="{C428651D-8F06-4BA0-87B1-94DBEBF0A9ED}"/>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C5E4E871-8419-4F85-9872-9FF7D1AA6DD1}"/>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3.82</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28" name="TextBox 27">
            <a:extLst>
              <a:ext uri="{FF2B5EF4-FFF2-40B4-BE49-F238E27FC236}">
                <a16:creationId xmlns:a16="http://schemas.microsoft.com/office/drawing/2014/main" id="{F7ECA24A-3041-4961-9092-6FB9712FBF71}"/>
              </a:ext>
            </a:extLst>
          </p:cNvPr>
          <p:cNvSpPr txBox="1"/>
          <p:nvPr/>
        </p:nvSpPr>
        <p:spPr>
          <a:xfrm>
            <a:off x="6546976" y="3512206"/>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3" name="Chart 12">
            <a:extLst>
              <a:ext uri="{FF2B5EF4-FFF2-40B4-BE49-F238E27FC236}">
                <a16:creationId xmlns:a16="http://schemas.microsoft.com/office/drawing/2014/main" id="{14693C85-695A-4CC5-A076-2250BA7BD6AE}"/>
              </a:ext>
            </a:extLst>
          </p:cNvPr>
          <p:cNvGraphicFramePr/>
          <p:nvPr>
            <p:extLst>
              <p:ext uri="{D42A27DB-BD31-4B8C-83A1-F6EECF244321}">
                <p14:modId xmlns:p14="http://schemas.microsoft.com/office/powerpoint/2010/main" val="2698253825"/>
              </p:ext>
            </p:extLst>
          </p:nvPr>
        </p:nvGraphicFramePr>
        <p:xfrm>
          <a:off x="253097" y="4448574"/>
          <a:ext cx="8268194" cy="1899415"/>
        </p:xfrm>
        <a:graphic>
          <a:graphicData uri="http://schemas.openxmlformats.org/drawingml/2006/chart">
            <c:chart xmlns:c="http://schemas.openxmlformats.org/drawingml/2006/chart" xmlns:r="http://schemas.openxmlformats.org/officeDocument/2006/relationships" r:id="rId3"/>
          </a:graphicData>
        </a:graphic>
      </p:graphicFrame>
      <p:grpSp>
        <p:nvGrpSpPr>
          <p:cNvPr id="14" name="Group 13">
            <a:extLst>
              <a:ext uri="{FF2B5EF4-FFF2-40B4-BE49-F238E27FC236}">
                <a16:creationId xmlns:a16="http://schemas.microsoft.com/office/drawing/2014/main" id="{63C0AC45-C2A3-46D6-83FB-FBEAC30831F4}"/>
              </a:ext>
            </a:extLst>
          </p:cNvPr>
          <p:cNvGrpSpPr/>
          <p:nvPr/>
        </p:nvGrpSpPr>
        <p:grpSpPr>
          <a:xfrm>
            <a:off x="4387194" y="4104837"/>
            <a:ext cx="3756268" cy="516701"/>
            <a:chOff x="4524751" y="1404135"/>
            <a:chExt cx="3555640" cy="516701"/>
          </a:xfrm>
        </p:grpSpPr>
        <p:cxnSp>
          <p:nvCxnSpPr>
            <p:cNvPr id="15" name="Connector: Elbow 14">
              <a:extLst>
                <a:ext uri="{FF2B5EF4-FFF2-40B4-BE49-F238E27FC236}">
                  <a16:creationId xmlns:a16="http://schemas.microsoft.com/office/drawing/2014/main" id="{4EE2E800-7B23-48F2-ABC1-92BA5CFC07DE}"/>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31C147AD-4405-47A3-9725-42B488D74BA0}"/>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4.62</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grpSp>
        <p:nvGrpSpPr>
          <p:cNvPr id="20" name="Group 19">
            <a:extLst>
              <a:ext uri="{FF2B5EF4-FFF2-40B4-BE49-F238E27FC236}">
                <a16:creationId xmlns:a16="http://schemas.microsoft.com/office/drawing/2014/main" id="{DE204106-4AFE-4B0A-A505-27CC4A5FB925}"/>
              </a:ext>
            </a:extLst>
          </p:cNvPr>
          <p:cNvGrpSpPr/>
          <p:nvPr/>
        </p:nvGrpSpPr>
        <p:grpSpPr>
          <a:xfrm>
            <a:off x="576470" y="4099401"/>
            <a:ext cx="3182166" cy="516701"/>
            <a:chOff x="4524751" y="1404135"/>
            <a:chExt cx="3302533" cy="516701"/>
          </a:xfrm>
        </p:grpSpPr>
        <p:cxnSp>
          <p:nvCxnSpPr>
            <p:cNvPr id="22" name="Connector: Elbow 21">
              <a:extLst>
                <a:ext uri="{FF2B5EF4-FFF2-40B4-BE49-F238E27FC236}">
                  <a16:creationId xmlns:a16="http://schemas.microsoft.com/office/drawing/2014/main" id="{A70027D4-502F-4440-B754-7A61FA2C9FCF}"/>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28B4FE80-AFD8-4EB1-B46E-790C67D4E551}"/>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3.11</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24" name="TextBox 23">
            <a:extLst>
              <a:ext uri="{FF2B5EF4-FFF2-40B4-BE49-F238E27FC236}">
                <a16:creationId xmlns:a16="http://schemas.microsoft.com/office/drawing/2014/main" id="{4833622A-005D-42D1-B8D0-04D8183A5032}"/>
              </a:ext>
            </a:extLst>
          </p:cNvPr>
          <p:cNvSpPr txBox="1"/>
          <p:nvPr/>
        </p:nvSpPr>
        <p:spPr>
          <a:xfrm>
            <a:off x="337637" y="3837287"/>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7: Rest of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olume, (Kilo Tonnes), 2016-2026F</a:t>
            </a:r>
          </a:p>
        </p:txBody>
      </p:sp>
      <p:sp>
        <p:nvSpPr>
          <p:cNvPr id="26" name="TextBox 25">
            <a:extLst>
              <a:ext uri="{FF2B5EF4-FFF2-40B4-BE49-F238E27FC236}">
                <a16:creationId xmlns:a16="http://schemas.microsoft.com/office/drawing/2014/main" id="{2B687845-424F-4F31-AD3A-3C18FE30E065}"/>
              </a:ext>
            </a:extLst>
          </p:cNvPr>
          <p:cNvSpPr txBox="1"/>
          <p:nvPr/>
        </p:nvSpPr>
        <p:spPr>
          <a:xfrm>
            <a:off x="6580108" y="6525699"/>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22062336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Rest of South-East Asia Trade Dynamics</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3" name="TextBox 2">
            <a:extLst>
              <a:ext uri="{FF2B5EF4-FFF2-40B4-BE49-F238E27FC236}">
                <a16:creationId xmlns:a16="http://schemas.microsoft.com/office/drawing/2014/main" id="{794C340A-1814-458C-B951-A36DE5B0742F}"/>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8: Rest of South-East Asia Copper Sulphate Import</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16-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5" name="Chart 4">
            <a:extLst>
              <a:ext uri="{FF2B5EF4-FFF2-40B4-BE49-F238E27FC236}">
                <a16:creationId xmlns:a16="http://schemas.microsoft.com/office/drawing/2014/main" id="{74BC5EE8-859E-4E5F-AE1A-FEDD45EE9107}"/>
              </a:ext>
            </a:extLst>
          </p:cNvPr>
          <p:cNvGraphicFramePr/>
          <p:nvPr>
            <p:extLst>
              <p:ext uri="{D42A27DB-BD31-4B8C-83A1-F6EECF244321}">
                <p14:modId xmlns:p14="http://schemas.microsoft.com/office/powerpoint/2010/main" val="2172398429"/>
              </p:ext>
            </p:extLst>
          </p:nvPr>
        </p:nvGraphicFramePr>
        <p:xfrm>
          <a:off x="222309" y="1329121"/>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17E47EF-C5A1-4800-89D3-CAB8953BE22A}"/>
              </a:ext>
            </a:extLst>
          </p:cNvPr>
          <p:cNvSpPr txBox="1"/>
          <p:nvPr/>
        </p:nvSpPr>
        <p:spPr>
          <a:xfrm>
            <a:off x="6154275" y="310496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8" name="TextBox 13">
            <a:extLst>
              <a:ext uri="{FF2B5EF4-FFF2-40B4-BE49-F238E27FC236}">
                <a16:creationId xmlns:a16="http://schemas.microsoft.com/office/drawing/2014/main" id="{4E8B964E-7F89-4C16-A308-B38A1846CF29}"/>
              </a:ext>
            </a:extLst>
          </p:cNvPr>
          <p:cNvSpPr txBox="1"/>
          <p:nvPr/>
        </p:nvSpPr>
        <p:spPr>
          <a:xfrm>
            <a:off x="198120" y="3386034"/>
            <a:ext cx="4566321" cy="7537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US" sz="1000" b="1" kern="0" dirty="0">
                <a:latin typeface="Verdana" panose="020B0604030504040204" pitchFamily="34" charset="0"/>
                <a:ea typeface="Verdana" panose="020B0604030504040204" pitchFamily="34" charset="0"/>
                <a:cs typeface="Verdana" panose="020B0604030504040204" pitchFamily="34" charset="0"/>
              </a:rPr>
              <a:t>Rest of South-East Asia (Singapore, Lao PDR, Brunei Darussalam, Cambodia) GDP Growth (Annual %), </a:t>
            </a:r>
          </a:p>
          <a:p>
            <a:pPr>
              <a:lnSpc>
                <a:spcPct val="150000"/>
              </a:lnSpc>
              <a:defRPr/>
            </a:pPr>
            <a:r>
              <a:rPr lang="en-US" sz="1000" b="1" kern="0" dirty="0">
                <a:latin typeface="Verdana" panose="020B0604030504040204" pitchFamily="34" charset="0"/>
                <a:ea typeface="Verdana" panose="020B0604030504040204" pitchFamily="34" charset="0"/>
                <a:cs typeface="Verdana" panose="020B0604030504040204" pitchFamily="34" charset="0"/>
              </a:rPr>
              <a:t>2015-2020</a:t>
            </a: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sp>
        <p:nvSpPr>
          <p:cNvPr id="13" name="TextBox 13">
            <a:extLst>
              <a:ext uri="{FF2B5EF4-FFF2-40B4-BE49-F238E27FC236}">
                <a16:creationId xmlns:a16="http://schemas.microsoft.com/office/drawing/2014/main" id="{22B93B88-584E-4396-8A76-615732453C3B}"/>
              </a:ext>
            </a:extLst>
          </p:cNvPr>
          <p:cNvSpPr txBox="1"/>
          <p:nvPr/>
        </p:nvSpPr>
        <p:spPr>
          <a:xfrm>
            <a:off x="4484998" y="3386034"/>
            <a:ext cx="4553648" cy="7537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US" sz="1000" b="1" kern="0" dirty="0">
                <a:latin typeface="Verdana" panose="020B0604030504040204" pitchFamily="34" charset="0"/>
                <a:ea typeface="Verdana" panose="020B0604030504040204" pitchFamily="34" charset="0"/>
                <a:cs typeface="Verdana" panose="020B0604030504040204" pitchFamily="34" charset="0"/>
              </a:rPr>
              <a:t>Top 5 Exporting Countries to Rest of South-East Asia, By Volume Copper Sulphate, 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kern="0" dirty="0">
              <a:latin typeface="Verdana" panose="020B0604030504040204" pitchFamily="34" charset="0"/>
              <a:ea typeface="Verdana" panose="020B0604030504040204" pitchFamily="34" charset="0"/>
              <a:cs typeface="Verdana" panose="020B0604030504040204" pitchFamily="34" charset="0"/>
            </a:endParaRPr>
          </a:p>
          <a:p>
            <a:pPr>
              <a:lnSpc>
                <a:spcPct val="150000"/>
              </a:lnSpc>
              <a:defRPr/>
            </a:pP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Table 14">
            <a:extLst>
              <a:ext uri="{FF2B5EF4-FFF2-40B4-BE49-F238E27FC236}">
                <a16:creationId xmlns:a16="http://schemas.microsoft.com/office/drawing/2014/main" id="{7C46207C-8FD8-461D-B07D-E8A4DC575455}"/>
              </a:ext>
            </a:extLst>
          </p:cNvPr>
          <p:cNvGraphicFramePr>
            <a:graphicFrameLocks noGrp="1"/>
          </p:cNvGraphicFramePr>
          <p:nvPr>
            <p:extLst>
              <p:ext uri="{D42A27DB-BD31-4B8C-83A1-F6EECF244321}">
                <p14:modId xmlns:p14="http://schemas.microsoft.com/office/powerpoint/2010/main" val="4036615557"/>
              </p:ext>
            </p:extLst>
          </p:nvPr>
        </p:nvGraphicFramePr>
        <p:xfrm>
          <a:off x="4632003" y="3999932"/>
          <a:ext cx="3858500" cy="2153950"/>
        </p:xfrm>
        <a:graphic>
          <a:graphicData uri="http://schemas.openxmlformats.org/drawingml/2006/table">
            <a:tbl>
              <a:tblPr>
                <a:tableStyleId>{3B4B98B0-60AC-42C2-AFA5-B58CD77FA1E5}</a:tableStyleId>
              </a:tblPr>
              <a:tblGrid>
                <a:gridCol w="1929250">
                  <a:extLst>
                    <a:ext uri="{9D8B030D-6E8A-4147-A177-3AD203B41FA5}">
                      <a16:colId xmlns:a16="http://schemas.microsoft.com/office/drawing/2014/main" val="435593215"/>
                    </a:ext>
                  </a:extLst>
                </a:gridCol>
                <a:gridCol w="1929250">
                  <a:extLst>
                    <a:ext uri="{9D8B030D-6E8A-4147-A177-3AD203B41FA5}">
                      <a16:colId xmlns:a16="http://schemas.microsoft.com/office/drawing/2014/main" val="2622006846"/>
                    </a:ext>
                  </a:extLst>
                </a:gridCol>
              </a:tblGrid>
              <a:tr h="427805">
                <a:tc>
                  <a:txBody>
                    <a:bodyPr/>
                    <a:lstStyle/>
                    <a:p>
                      <a:pPr algn="ctr"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Countrie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Volum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kern="0" dirty="0">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98928573"/>
                  </a:ext>
                </a:extLst>
              </a:tr>
              <a:tr h="345229">
                <a:tc>
                  <a:txBody>
                    <a:bodyPr/>
                    <a:lstStyle/>
                    <a:p>
                      <a:pPr algn="ctr"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aiwan</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8077485"/>
                  </a:ext>
                </a:extLst>
              </a:tr>
              <a:tr h="345229">
                <a:tc>
                  <a:txBody>
                    <a:bodyPr/>
                    <a:lstStyle/>
                    <a:p>
                      <a:pPr algn="ctr"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US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5286502"/>
                  </a:ext>
                </a:extLst>
              </a:tr>
              <a:tr h="345229">
                <a:tc>
                  <a:txBody>
                    <a:bodyPr/>
                    <a:lstStyle/>
                    <a:p>
                      <a:pPr algn="ctr"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Chin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7895310"/>
                  </a:ext>
                </a:extLst>
              </a:tr>
              <a:tr h="345229">
                <a:tc>
                  <a:txBody>
                    <a:bodyPr/>
                    <a:lstStyle/>
                    <a:p>
                      <a:pPr algn="ctr"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Malaysi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2825168"/>
                  </a:ext>
                </a:extLst>
              </a:tr>
              <a:tr h="345229">
                <a:tc>
                  <a:txBody>
                    <a:bodyPr/>
                    <a:lstStyle/>
                    <a:p>
                      <a:pPr algn="ctr"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Mexico</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0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92385393"/>
                  </a:ext>
                </a:extLst>
              </a:tr>
            </a:tbl>
          </a:graphicData>
        </a:graphic>
      </p:graphicFrame>
      <p:sp>
        <p:nvSpPr>
          <p:cNvPr id="16" name="TextBox 15">
            <a:extLst>
              <a:ext uri="{FF2B5EF4-FFF2-40B4-BE49-F238E27FC236}">
                <a16:creationId xmlns:a16="http://schemas.microsoft.com/office/drawing/2014/main" id="{5494065C-E459-4D86-A71A-C6EF631296F8}"/>
              </a:ext>
            </a:extLst>
          </p:cNvPr>
          <p:cNvSpPr txBox="1"/>
          <p:nvPr/>
        </p:nvSpPr>
        <p:spPr>
          <a:xfrm>
            <a:off x="6006954" y="6289736"/>
            <a:ext cx="2544697"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ITC Data</a:t>
            </a:r>
          </a:p>
        </p:txBody>
      </p:sp>
      <p:graphicFrame>
        <p:nvGraphicFramePr>
          <p:cNvPr id="17" name="Chart 16">
            <a:extLst>
              <a:ext uri="{FF2B5EF4-FFF2-40B4-BE49-F238E27FC236}">
                <a16:creationId xmlns:a16="http://schemas.microsoft.com/office/drawing/2014/main" id="{1C687BFD-E768-4DE3-A2AC-623AB9D0EE19}"/>
              </a:ext>
            </a:extLst>
          </p:cNvPr>
          <p:cNvGraphicFramePr/>
          <p:nvPr>
            <p:extLst>
              <p:ext uri="{D42A27DB-BD31-4B8C-83A1-F6EECF244321}">
                <p14:modId xmlns:p14="http://schemas.microsoft.com/office/powerpoint/2010/main" val="2409386432"/>
              </p:ext>
            </p:extLst>
          </p:nvPr>
        </p:nvGraphicFramePr>
        <p:xfrm>
          <a:off x="245933" y="4335130"/>
          <a:ext cx="4320388" cy="2068389"/>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00ED9C04-97C3-4F4B-940D-ABBB35D42A4F}"/>
              </a:ext>
            </a:extLst>
          </p:cNvPr>
          <p:cNvSpPr txBox="1"/>
          <p:nvPr/>
        </p:nvSpPr>
        <p:spPr>
          <a:xfrm>
            <a:off x="2224245"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Tree>
    <p:extLst>
      <p:ext uri="{BB962C8B-B14F-4D97-AF65-F5344CB8AC3E}">
        <p14:creationId xmlns:p14="http://schemas.microsoft.com/office/powerpoint/2010/main" val="347194974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C6616F3-FF0B-4ADA-8870-1CA10EF417E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 y="0"/>
            <a:ext cx="9144000" cy="6858000"/>
          </a:xfrm>
          <a:prstGeom prst="rect">
            <a:avLst/>
          </a:prstGeom>
        </p:spPr>
      </p:pic>
      <p:sp>
        <p:nvSpPr>
          <p:cNvPr id="5" name="Content Placeholder 2">
            <a:extLst>
              <a:ext uri="{FF2B5EF4-FFF2-40B4-BE49-F238E27FC236}">
                <a16:creationId xmlns:a16="http://schemas.microsoft.com/office/drawing/2014/main" id="{F888F908-0425-448A-9F48-E1135DF27EBA}"/>
              </a:ext>
            </a:extLst>
          </p:cNvPr>
          <p:cNvSpPr txBox="1">
            <a:spLocks/>
          </p:cNvSpPr>
          <p:nvPr/>
        </p:nvSpPr>
        <p:spPr>
          <a:xfrm>
            <a:off x="-1" y="5317240"/>
            <a:ext cx="9144000" cy="744836"/>
          </a:xfrm>
          <a:prstGeom prst="rect">
            <a:avLst/>
          </a:prstGeom>
        </p:spPr>
        <p:style>
          <a:lnRef idx="2">
            <a:schemeClr val="accent1"/>
          </a:lnRef>
          <a:fillRef idx="1">
            <a:schemeClr val="lt1"/>
          </a:fillRef>
          <a:effectRef idx="0">
            <a:schemeClr val="accent1"/>
          </a:effectRef>
          <a:fontRef idx="minor">
            <a:schemeClr val="dk1"/>
          </a:fontRef>
        </p:style>
        <p:txBody>
          <a:bodyPr vert="horz" lIns="91440" tIns="45720" rIns="91440" bIns="45720" rtlCol="0" anchor="ctr">
            <a:normAutofit/>
          </a:bodyPr>
          <a:lstStyle>
            <a:lvl1pPr marL="188595" indent="-188595" algn="l" defTabSz="754380" rtl="0" eaLnBrk="1" latinLnBrk="0" hangingPunct="1">
              <a:lnSpc>
                <a:spcPct val="90000"/>
              </a:lnSpc>
              <a:spcBef>
                <a:spcPts val="825"/>
              </a:spcBef>
              <a:buFont typeface="Arial" panose="020B0604020202020204" pitchFamily="34" charset="0"/>
              <a:buChar char="•"/>
              <a:defRPr sz="2310" kern="1200">
                <a:solidFill>
                  <a:schemeClr val="tx1"/>
                </a:solidFill>
                <a:latin typeface="+mn-lt"/>
                <a:ea typeface="+mn-ea"/>
                <a:cs typeface="+mn-cs"/>
              </a:defRPr>
            </a:lvl1pPr>
            <a:lvl2pPr marL="565785" indent="-188595" algn="l" defTabSz="754380" rtl="0" eaLnBrk="1" latinLnBrk="0" hangingPunct="1">
              <a:lnSpc>
                <a:spcPct val="90000"/>
              </a:lnSpc>
              <a:spcBef>
                <a:spcPts val="413"/>
              </a:spcBef>
              <a:buFont typeface="Arial" panose="020B0604020202020204" pitchFamily="34" charset="0"/>
              <a:buChar char="•"/>
              <a:defRPr sz="1980" kern="1200">
                <a:solidFill>
                  <a:schemeClr val="tx1"/>
                </a:solidFill>
                <a:latin typeface="+mn-lt"/>
                <a:ea typeface="+mn-ea"/>
                <a:cs typeface="+mn-cs"/>
              </a:defRPr>
            </a:lvl2pPr>
            <a:lvl3pPr marL="942975" indent="-188595" algn="l" defTabSz="754380" rtl="0" eaLnBrk="1" latinLnBrk="0" hangingPunct="1">
              <a:lnSpc>
                <a:spcPct val="90000"/>
              </a:lnSpc>
              <a:spcBef>
                <a:spcPts val="413"/>
              </a:spcBef>
              <a:buFont typeface="Arial" panose="020B0604020202020204" pitchFamily="34" charset="0"/>
              <a:buChar char="•"/>
              <a:defRPr sz="1650" kern="1200">
                <a:solidFill>
                  <a:schemeClr val="tx1"/>
                </a:solidFill>
                <a:latin typeface="+mn-lt"/>
                <a:ea typeface="+mn-ea"/>
                <a:cs typeface="+mn-cs"/>
              </a:defRPr>
            </a:lvl3pPr>
            <a:lvl4pPr marL="132016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4pPr>
            <a:lvl5pPr marL="169735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5pPr>
            <a:lvl6pPr marL="207454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6pPr>
            <a:lvl7pPr marL="245173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7pPr>
            <a:lvl8pPr marL="282892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8pPr>
            <a:lvl9pPr marL="320611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ts val="600"/>
              </a:spcAft>
              <a:buClrTx/>
              <a:buSzTx/>
              <a:buFont typeface="Arial" panose="020B0604020202020204" pitchFamily="34" charset="0"/>
              <a:buNone/>
              <a:tabLst/>
              <a:defRPr/>
            </a:pPr>
            <a:r>
              <a:rPr kumimoji="0" lang="en-US" sz="3100" b="1" i="0" u="none" strike="noStrike" kern="1200" cap="none" spc="-136" normalizeH="0" baseline="0" noProof="0" dirty="0">
                <a:ln>
                  <a:noFill/>
                </a:ln>
                <a:solidFill>
                  <a:prstClr val="black">
                    <a:lumMod val="85000"/>
                    <a:lumOff val="15000"/>
                  </a:prstClr>
                </a:solidFill>
                <a:effectLst>
                  <a:outerShdw blurRad="38100" dist="38100" dir="2700000" algn="tl">
                    <a:srgbClr val="000000">
                      <a:alpha val="43137"/>
                    </a:srgbClr>
                  </a:outerShdw>
                </a:effectLst>
                <a:uLnTx/>
                <a:uFillTx/>
                <a:latin typeface="Calibri Light" panose="020F0302020204030204"/>
                <a:ea typeface="+mn-ea"/>
                <a:cs typeface="+mn-cs"/>
              </a:rPr>
              <a:t>Market Dynamics</a:t>
            </a:r>
          </a:p>
        </p:txBody>
      </p:sp>
    </p:spTree>
    <p:extLst>
      <p:ext uri="{BB962C8B-B14F-4D97-AF65-F5344CB8AC3E}">
        <p14:creationId xmlns:p14="http://schemas.microsoft.com/office/powerpoint/2010/main" val="261675036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18FDFF0-F450-46E1-AED4-C070CF97B343}"/>
              </a:ext>
            </a:extLst>
          </p:cNvPr>
          <p:cNvSpPr txBox="1">
            <a:spLocks/>
          </p:cNvSpPr>
          <p:nvPr/>
        </p:nvSpPr>
        <p:spPr>
          <a:xfrm>
            <a:off x="232894" y="285883"/>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Impact Analysis </a:t>
            </a:r>
          </a:p>
        </p:txBody>
      </p:sp>
      <p:sp>
        <p:nvSpPr>
          <p:cNvPr id="11" name="Text Placeholder 7">
            <a:extLst>
              <a:ext uri="{FF2B5EF4-FFF2-40B4-BE49-F238E27FC236}">
                <a16:creationId xmlns:a16="http://schemas.microsoft.com/office/drawing/2014/main" id="{36BA1953-53E7-48F0-9F5C-7577F6AE91B1}"/>
              </a:ext>
            </a:extLst>
          </p:cNvPr>
          <p:cNvSpPr txBox="1">
            <a:spLocks/>
          </p:cNvSpPr>
          <p:nvPr/>
        </p:nvSpPr>
        <p:spPr>
          <a:xfrm>
            <a:off x="179839" y="990779"/>
            <a:ext cx="7714479" cy="450569"/>
          </a:xfrm>
          <a:prstGeom prst="rect">
            <a:avLst/>
          </a:prstGeom>
          <a:solidFill>
            <a:srgbClr val="002060"/>
          </a:solidFill>
        </p:spPr>
        <p:style>
          <a:lnRef idx="0">
            <a:schemeClr val="accent2"/>
          </a:lnRef>
          <a:fillRef idx="3">
            <a:schemeClr val="accent2"/>
          </a:fillRef>
          <a:effectRef idx="3">
            <a:schemeClr val="accent2"/>
          </a:effectRef>
          <a:fontRef idx="minor">
            <a:schemeClr val="lt1"/>
          </a:fontRef>
        </p:style>
        <p:txBody>
          <a:bodyPr anchor="ctr">
            <a:normAutofit/>
          </a:bodyPr>
          <a:lstStyle>
            <a:lvl1pPr marL="342900" indent="-342900" algn="l" defTabSz="914400" rtl="0" eaLnBrk="1" latinLnBrk="0" hangingPunct="1">
              <a:spcBef>
                <a:spcPct val="20000"/>
              </a:spcBef>
              <a:buFont typeface="Arial" pitchFamily="34" charset="0"/>
              <a:buNone/>
              <a:defRPr sz="2800" b="1" kern="1200" baseline="0">
                <a:solidFill>
                  <a:schemeClr val="tx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90000"/>
              </a:lnSpc>
              <a:defRPr/>
            </a:pPr>
            <a:r>
              <a:rPr lang="en-US" sz="1600" dirty="0">
                <a:solidFill>
                  <a:schemeClr val="bg1"/>
                </a:solidFill>
              </a:rPr>
              <a:t>Market: Impact Analysis of Drivers &amp; Challenges</a:t>
            </a:r>
          </a:p>
        </p:txBody>
      </p:sp>
      <p:grpSp>
        <p:nvGrpSpPr>
          <p:cNvPr id="12" name="Group 11">
            <a:extLst>
              <a:ext uri="{FF2B5EF4-FFF2-40B4-BE49-F238E27FC236}">
                <a16:creationId xmlns:a16="http://schemas.microsoft.com/office/drawing/2014/main" id="{CA3222DB-DD95-4D64-A16F-5582575AF871}"/>
              </a:ext>
            </a:extLst>
          </p:cNvPr>
          <p:cNvGrpSpPr/>
          <p:nvPr/>
        </p:nvGrpSpPr>
        <p:grpSpPr>
          <a:xfrm>
            <a:off x="207240" y="1441348"/>
            <a:ext cx="7876535" cy="5023645"/>
            <a:chOff x="40105" y="2072903"/>
            <a:chExt cx="8745852" cy="5023645"/>
          </a:xfrm>
        </p:grpSpPr>
        <p:grpSp>
          <p:nvGrpSpPr>
            <p:cNvPr id="13" name="Group 12">
              <a:extLst>
                <a:ext uri="{FF2B5EF4-FFF2-40B4-BE49-F238E27FC236}">
                  <a16:creationId xmlns:a16="http://schemas.microsoft.com/office/drawing/2014/main" id="{E9FA4BC4-7E68-4E7B-B8B2-0262A8C7E05F}"/>
                </a:ext>
              </a:extLst>
            </p:cNvPr>
            <p:cNvGrpSpPr/>
            <p:nvPr/>
          </p:nvGrpSpPr>
          <p:grpSpPr>
            <a:xfrm>
              <a:off x="40105" y="2072903"/>
              <a:ext cx="8745852" cy="5023645"/>
              <a:chOff x="40105" y="2072903"/>
              <a:chExt cx="8745852" cy="5023645"/>
            </a:xfrm>
          </p:grpSpPr>
          <p:sp>
            <p:nvSpPr>
              <p:cNvPr id="30" name="Rectangle 29">
                <a:extLst>
                  <a:ext uri="{FF2B5EF4-FFF2-40B4-BE49-F238E27FC236}">
                    <a16:creationId xmlns:a16="http://schemas.microsoft.com/office/drawing/2014/main" id="{8555A1E1-D7F7-4469-8655-D2DED105231F}"/>
                  </a:ext>
                </a:extLst>
              </p:cNvPr>
              <p:cNvSpPr/>
              <p:nvPr/>
            </p:nvSpPr>
            <p:spPr>
              <a:xfrm>
                <a:off x="7130881" y="6814494"/>
                <a:ext cx="248290" cy="238568"/>
              </a:xfrm>
              <a:prstGeom prst="rect">
                <a:avLst/>
              </a:prstGeom>
              <a:solidFill>
                <a:srgbClr val="C00000"/>
              </a:solidFill>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sp>
            <p:nvSpPr>
              <p:cNvPr id="31" name="Rectangle 30">
                <a:extLst>
                  <a:ext uri="{FF2B5EF4-FFF2-40B4-BE49-F238E27FC236}">
                    <a16:creationId xmlns:a16="http://schemas.microsoft.com/office/drawing/2014/main" id="{C768B7EE-F309-4EAC-8A2F-88D5CC1886C5}"/>
                  </a:ext>
                </a:extLst>
              </p:cNvPr>
              <p:cNvSpPr/>
              <p:nvPr/>
            </p:nvSpPr>
            <p:spPr>
              <a:xfrm>
                <a:off x="1086895" y="6774046"/>
                <a:ext cx="248290" cy="238568"/>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a:p>
            </p:txBody>
          </p:sp>
          <p:sp>
            <p:nvSpPr>
              <p:cNvPr id="32" name="TextBox 31">
                <a:extLst>
                  <a:ext uri="{FF2B5EF4-FFF2-40B4-BE49-F238E27FC236}">
                    <a16:creationId xmlns:a16="http://schemas.microsoft.com/office/drawing/2014/main" id="{944382D6-6D6B-456E-A024-BDE4654D069C}"/>
                  </a:ext>
                </a:extLst>
              </p:cNvPr>
              <p:cNvSpPr txBox="1"/>
              <p:nvPr/>
            </p:nvSpPr>
            <p:spPr>
              <a:xfrm>
                <a:off x="1373262" y="6715424"/>
                <a:ext cx="921880" cy="381124"/>
              </a:xfrm>
              <a:prstGeom prst="rect">
                <a:avLst/>
              </a:prstGeom>
              <a:noFill/>
            </p:spPr>
            <p:txBody>
              <a:bodyPr wrap="square" rtlCol="0">
                <a:spAutoFit/>
              </a:bodyPr>
              <a:lstStyle/>
              <a:p>
                <a:r>
                  <a:rPr lang="en-US" sz="1600" b="1" dirty="0"/>
                  <a:t>Drivers</a:t>
                </a:r>
              </a:p>
            </p:txBody>
          </p:sp>
          <p:sp>
            <p:nvSpPr>
              <p:cNvPr id="33" name="TextBox 32">
                <a:extLst>
                  <a:ext uri="{FF2B5EF4-FFF2-40B4-BE49-F238E27FC236}">
                    <a16:creationId xmlns:a16="http://schemas.microsoft.com/office/drawing/2014/main" id="{C191EF09-9237-49CE-8F4E-D1CF96D0C286}"/>
                  </a:ext>
                </a:extLst>
              </p:cNvPr>
              <p:cNvSpPr txBox="1"/>
              <p:nvPr/>
            </p:nvSpPr>
            <p:spPr>
              <a:xfrm>
                <a:off x="7417248" y="6748054"/>
                <a:ext cx="1321118" cy="338554"/>
              </a:xfrm>
              <a:prstGeom prst="rect">
                <a:avLst/>
              </a:prstGeom>
              <a:noFill/>
            </p:spPr>
            <p:txBody>
              <a:bodyPr wrap="square" rtlCol="0">
                <a:spAutoFit/>
              </a:bodyPr>
              <a:lstStyle/>
              <a:p>
                <a:r>
                  <a:rPr lang="en-US" sz="1600" b="1" dirty="0"/>
                  <a:t>Challenges</a:t>
                </a:r>
              </a:p>
            </p:txBody>
          </p:sp>
          <p:grpSp>
            <p:nvGrpSpPr>
              <p:cNvPr id="35" name="Group 34">
                <a:extLst>
                  <a:ext uri="{FF2B5EF4-FFF2-40B4-BE49-F238E27FC236}">
                    <a16:creationId xmlns:a16="http://schemas.microsoft.com/office/drawing/2014/main" id="{B4C049E4-2F05-49CA-8A78-B235FCAA31A2}"/>
                  </a:ext>
                </a:extLst>
              </p:cNvPr>
              <p:cNvGrpSpPr/>
              <p:nvPr/>
            </p:nvGrpSpPr>
            <p:grpSpPr>
              <a:xfrm>
                <a:off x="3620541" y="5070257"/>
                <a:ext cx="4879158" cy="204395"/>
                <a:chOff x="3620760" y="5061718"/>
                <a:chExt cx="4879158" cy="204395"/>
              </a:xfrm>
            </p:grpSpPr>
            <p:sp>
              <p:nvSpPr>
                <p:cNvPr id="90" name="Rectangle 89">
                  <a:extLst>
                    <a:ext uri="{FF2B5EF4-FFF2-40B4-BE49-F238E27FC236}">
                      <a16:creationId xmlns:a16="http://schemas.microsoft.com/office/drawing/2014/main" id="{FD12FAFD-D9C6-4209-BBEC-23B50E3FC9A8}"/>
                    </a:ext>
                  </a:extLst>
                </p:cNvPr>
                <p:cNvSpPr/>
                <p:nvPr/>
              </p:nvSpPr>
              <p:spPr>
                <a:xfrm>
                  <a:off x="3620760" y="5061718"/>
                  <a:ext cx="980441" cy="204395"/>
                </a:xfrm>
                <a:prstGeom prst="rect">
                  <a:avLst/>
                </a:prstGeom>
                <a:solidFill>
                  <a:srgbClr val="E02D1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91" name="Rectangle 90">
                  <a:extLst>
                    <a:ext uri="{FF2B5EF4-FFF2-40B4-BE49-F238E27FC236}">
                      <a16:creationId xmlns:a16="http://schemas.microsoft.com/office/drawing/2014/main" id="{9087195F-8CB0-45C1-933B-4822EC676F9D}"/>
                    </a:ext>
                  </a:extLst>
                </p:cNvPr>
                <p:cNvSpPr/>
                <p:nvPr/>
              </p:nvSpPr>
              <p:spPr>
                <a:xfrm>
                  <a:off x="4570945" y="5061718"/>
                  <a:ext cx="980441" cy="204395"/>
                </a:xfrm>
                <a:prstGeom prst="rect">
                  <a:avLst/>
                </a:prstGeom>
                <a:solidFill>
                  <a:srgbClr val="ED82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92" name="Rectangle 91">
                  <a:extLst>
                    <a:ext uri="{FF2B5EF4-FFF2-40B4-BE49-F238E27FC236}">
                      <a16:creationId xmlns:a16="http://schemas.microsoft.com/office/drawing/2014/main" id="{14646F8B-C5A9-45C6-A52F-5A9B5A7EEEC6}"/>
                    </a:ext>
                  </a:extLst>
                </p:cNvPr>
                <p:cNvSpPr/>
                <p:nvPr/>
              </p:nvSpPr>
              <p:spPr>
                <a:xfrm>
                  <a:off x="5553787" y="5061718"/>
                  <a:ext cx="980441" cy="204395"/>
                </a:xfrm>
                <a:prstGeom prst="rect">
                  <a:avLst/>
                </a:prstGeom>
                <a:solidFill>
                  <a:srgbClr val="E5CB0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93" name="Rectangle 92">
                  <a:extLst>
                    <a:ext uri="{FF2B5EF4-FFF2-40B4-BE49-F238E27FC236}">
                      <a16:creationId xmlns:a16="http://schemas.microsoft.com/office/drawing/2014/main" id="{FA2EBDFC-83C3-45B8-8F59-963A5B6A0FFA}"/>
                    </a:ext>
                  </a:extLst>
                </p:cNvPr>
                <p:cNvSpPr/>
                <p:nvPr/>
              </p:nvSpPr>
              <p:spPr>
                <a:xfrm>
                  <a:off x="6536633" y="5061718"/>
                  <a:ext cx="980441" cy="204395"/>
                </a:xfrm>
                <a:prstGeom prst="rect">
                  <a:avLst/>
                </a:prstGeom>
                <a:solidFill>
                  <a:srgbClr val="8FAE2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94" name="Rectangle 93">
                  <a:extLst>
                    <a:ext uri="{FF2B5EF4-FFF2-40B4-BE49-F238E27FC236}">
                      <a16:creationId xmlns:a16="http://schemas.microsoft.com/office/drawing/2014/main" id="{609DED30-3D75-4B5C-951E-33D9E6FC9338}"/>
                    </a:ext>
                  </a:extLst>
                </p:cNvPr>
                <p:cNvSpPr/>
                <p:nvPr/>
              </p:nvSpPr>
              <p:spPr>
                <a:xfrm>
                  <a:off x="7519477" y="5061718"/>
                  <a:ext cx="980441" cy="204395"/>
                </a:xfrm>
                <a:prstGeom prst="rect">
                  <a:avLst/>
                </a:prstGeom>
                <a:solidFill>
                  <a:srgbClr val="44A64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grpSp>
          <p:grpSp>
            <p:nvGrpSpPr>
              <p:cNvPr id="36" name="Group 35">
                <a:extLst>
                  <a:ext uri="{FF2B5EF4-FFF2-40B4-BE49-F238E27FC236}">
                    <a16:creationId xmlns:a16="http://schemas.microsoft.com/office/drawing/2014/main" id="{0F110D08-8443-449E-93B6-AAE4322F19FA}"/>
                  </a:ext>
                </a:extLst>
              </p:cNvPr>
              <p:cNvGrpSpPr/>
              <p:nvPr/>
            </p:nvGrpSpPr>
            <p:grpSpPr>
              <a:xfrm>
                <a:off x="3620542" y="2148900"/>
                <a:ext cx="4879157" cy="204394"/>
                <a:chOff x="3620761" y="2140361"/>
                <a:chExt cx="4879157" cy="204394"/>
              </a:xfrm>
            </p:grpSpPr>
            <p:sp>
              <p:nvSpPr>
                <p:cNvPr id="85" name="Rectangle 84">
                  <a:extLst>
                    <a:ext uri="{FF2B5EF4-FFF2-40B4-BE49-F238E27FC236}">
                      <a16:creationId xmlns:a16="http://schemas.microsoft.com/office/drawing/2014/main" id="{7D84BA27-2AFF-4807-89AA-2610B0194DF4}"/>
                    </a:ext>
                  </a:extLst>
                </p:cNvPr>
                <p:cNvSpPr/>
                <p:nvPr/>
              </p:nvSpPr>
              <p:spPr>
                <a:xfrm>
                  <a:off x="3620761" y="2140361"/>
                  <a:ext cx="980441" cy="204394"/>
                </a:xfrm>
                <a:prstGeom prst="rect">
                  <a:avLst/>
                </a:prstGeom>
                <a:solidFill>
                  <a:srgbClr val="E02D1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6" name="Rectangle 85">
                  <a:extLst>
                    <a:ext uri="{FF2B5EF4-FFF2-40B4-BE49-F238E27FC236}">
                      <a16:creationId xmlns:a16="http://schemas.microsoft.com/office/drawing/2014/main" id="{5252C0AA-E5DA-4E9F-837D-6B45AFE2C4D8}"/>
                    </a:ext>
                  </a:extLst>
                </p:cNvPr>
                <p:cNvSpPr/>
                <p:nvPr/>
              </p:nvSpPr>
              <p:spPr>
                <a:xfrm>
                  <a:off x="4570945" y="2140361"/>
                  <a:ext cx="980441" cy="204394"/>
                </a:xfrm>
                <a:prstGeom prst="rect">
                  <a:avLst/>
                </a:prstGeom>
                <a:solidFill>
                  <a:srgbClr val="ED82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7" name="Rectangle 86">
                  <a:extLst>
                    <a:ext uri="{FF2B5EF4-FFF2-40B4-BE49-F238E27FC236}">
                      <a16:creationId xmlns:a16="http://schemas.microsoft.com/office/drawing/2014/main" id="{69F21BC7-6FBE-43C3-8424-875FDFF6F3FA}"/>
                    </a:ext>
                  </a:extLst>
                </p:cNvPr>
                <p:cNvSpPr/>
                <p:nvPr/>
              </p:nvSpPr>
              <p:spPr>
                <a:xfrm>
                  <a:off x="5553788" y="2140361"/>
                  <a:ext cx="980441" cy="204394"/>
                </a:xfrm>
                <a:prstGeom prst="rect">
                  <a:avLst/>
                </a:prstGeom>
                <a:solidFill>
                  <a:srgbClr val="E5CB0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8" name="Rectangle 87">
                  <a:extLst>
                    <a:ext uri="{FF2B5EF4-FFF2-40B4-BE49-F238E27FC236}">
                      <a16:creationId xmlns:a16="http://schemas.microsoft.com/office/drawing/2014/main" id="{7C86D57E-F53A-4F67-B2FB-D098C1A0DEFF}"/>
                    </a:ext>
                  </a:extLst>
                </p:cNvPr>
                <p:cNvSpPr/>
                <p:nvPr/>
              </p:nvSpPr>
              <p:spPr>
                <a:xfrm>
                  <a:off x="6536633" y="2140361"/>
                  <a:ext cx="980441" cy="204394"/>
                </a:xfrm>
                <a:prstGeom prst="rect">
                  <a:avLst/>
                </a:prstGeom>
                <a:solidFill>
                  <a:srgbClr val="8FAE2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9" name="Rectangle 88">
                  <a:extLst>
                    <a:ext uri="{FF2B5EF4-FFF2-40B4-BE49-F238E27FC236}">
                      <a16:creationId xmlns:a16="http://schemas.microsoft.com/office/drawing/2014/main" id="{BF534F7B-3332-400E-B4C6-BA7D3DD93DEC}"/>
                    </a:ext>
                  </a:extLst>
                </p:cNvPr>
                <p:cNvSpPr/>
                <p:nvPr/>
              </p:nvSpPr>
              <p:spPr>
                <a:xfrm>
                  <a:off x="7519477" y="2140361"/>
                  <a:ext cx="980441" cy="204394"/>
                </a:xfrm>
                <a:prstGeom prst="rect">
                  <a:avLst/>
                </a:prstGeom>
                <a:solidFill>
                  <a:srgbClr val="44A64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grpSp>
          <p:sp>
            <p:nvSpPr>
              <p:cNvPr id="37" name="TextBox 36">
                <a:extLst>
                  <a:ext uri="{FF2B5EF4-FFF2-40B4-BE49-F238E27FC236}">
                    <a16:creationId xmlns:a16="http://schemas.microsoft.com/office/drawing/2014/main" id="{D3AC7675-B5EA-4540-A2CE-792FFA1C8806}"/>
                  </a:ext>
                </a:extLst>
              </p:cNvPr>
              <p:cNvSpPr txBox="1"/>
              <p:nvPr/>
            </p:nvSpPr>
            <p:spPr>
              <a:xfrm>
                <a:off x="3463497" y="2353293"/>
                <a:ext cx="753069" cy="231446"/>
              </a:xfrm>
              <a:prstGeom prst="rect">
                <a:avLst/>
              </a:prstGeom>
              <a:noFill/>
            </p:spPr>
            <p:txBody>
              <a:bodyPr wrap="square" rtlCol="0">
                <a:spAutoFit/>
              </a:bodyPr>
              <a:lstStyle/>
              <a:p>
                <a:pPr algn="ctr"/>
                <a:r>
                  <a:rPr lang="en-US" sz="1000" b="1" dirty="0"/>
                  <a:t>Low</a:t>
                </a:r>
              </a:p>
            </p:txBody>
          </p:sp>
          <p:sp>
            <p:nvSpPr>
              <p:cNvPr id="38" name="TextBox 37">
                <a:extLst>
                  <a:ext uri="{FF2B5EF4-FFF2-40B4-BE49-F238E27FC236}">
                    <a16:creationId xmlns:a16="http://schemas.microsoft.com/office/drawing/2014/main" id="{D5ED7989-3405-4B6A-962B-ED9B581FBB4C}"/>
                  </a:ext>
                </a:extLst>
              </p:cNvPr>
              <p:cNvSpPr txBox="1"/>
              <p:nvPr/>
            </p:nvSpPr>
            <p:spPr>
              <a:xfrm>
                <a:off x="5916214" y="2353295"/>
                <a:ext cx="753069" cy="231446"/>
              </a:xfrm>
              <a:prstGeom prst="rect">
                <a:avLst/>
              </a:prstGeom>
              <a:noFill/>
            </p:spPr>
            <p:txBody>
              <a:bodyPr wrap="square" rtlCol="0">
                <a:spAutoFit/>
              </a:bodyPr>
              <a:lstStyle/>
              <a:p>
                <a:pPr algn="ctr"/>
                <a:r>
                  <a:rPr lang="en-US" sz="1000" b="1" dirty="0"/>
                  <a:t>Medium</a:t>
                </a:r>
              </a:p>
            </p:txBody>
          </p:sp>
          <p:sp>
            <p:nvSpPr>
              <p:cNvPr id="39" name="TextBox 38">
                <a:extLst>
                  <a:ext uri="{FF2B5EF4-FFF2-40B4-BE49-F238E27FC236}">
                    <a16:creationId xmlns:a16="http://schemas.microsoft.com/office/drawing/2014/main" id="{0349B483-E9DC-4F68-9362-0AC70A60FDC0}"/>
                  </a:ext>
                </a:extLst>
              </p:cNvPr>
              <p:cNvSpPr txBox="1"/>
              <p:nvPr/>
            </p:nvSpPr>
            <p:spPr>
              <a:xfrm>
                <a:off x="8032888" y="2352435"/>
                <a:ext cx="753069" cy="231446"/>
              </a:xfrm>
              <a:prstGeom prst="rect">
                <a:avLst/>
              </a:prstGeom>
              <a:noFill/>
            </p:spPr>
            <p:txBody>
              <a:bodyPr wrap="square" rtlCol="0">
                <a:spAutoFit/>
              </a:bodyPr>
              <a:lstStyle/>
              <a:p>
                <a:pPr algn="ctr"/>
                <a:r>
                  <a:rPr lang="en-US" sz="1000" b="1" dirty="0"/>
                  <a:t>High</a:t>
                </a:r>
              </a:p>
            </p:txBody>
          </p:sp>
          <p:grpSp>
            <p:nvGrpSpPr>
              <p:cNvPr id="40" name="Group 39">
                <a:extLst>
                  <a:ext uri="{FF2B5EF4-FFF2-40B4-BE49-F238E27FC236}">
                    <a16:creationId xmlns:a16="http://schemas.microsoft.com/office/drawing/2014/main" id="{E76EE3DD-0093-4918-AE93-6DA7DAF76996}"/>
                  </a:ext>
                </a:extLst>
              </p:cNvPr>
              <p:cNvGrpSpPr/>
              <p:nvPr/>
            </p:nvGrpSpPr>
            <p:grpSpPr>
              <a:xfrm>
                <a:off x="3620542" y="2731634"/>
                <a:ext cx="4879157" cy="204394"/>
                <a:chOff x="3620761" y="2723095"/>
                <a:chExt cx="4879157" cy="204394"/>
              </a:xfrm>
            </p:grpSpPr>
            <p:sp>
              <p:nvSpPr>
                <p:cNvPr id="80" name="Rectangle 79">
                  <a:extLst>
                    <a:ext uri="{FF2B5EF4-FFF2-40B4-BE49-F238E27FC236}">
                      <a16:creationId xmlns:a16="http://schemas.microsoft.com/office/drawing/2014/main" id="{EC1F0873-9883-434E-A3F0-CA76C9886BDC}"/>
                    </a:ext>
                  </a:extLst>
                </p:cNvPr>
                <p:cNvSpPr/>
                <p:nvPr/>
              </p:nvSpPr>
              <p:spPr>
                <a:xfrm>
                  <a:off x="3620761" y="2723095"/>
                  <a:ext cx="980441" cy="204394"/>
                </a:xfrm>
                <a:prstGeom prst="rect">
                  <a:avLst/>
                </a:prstGeom>
                <a:solidFill>
                  <a:srgbClr val="E02D1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1" name="Rectangle 80">
                  <a:extLst>
                    <a:ext uri="{FF2B5EF4-FFF2-40B4-BE49-F238E27FC236}">
                      <a16:creationId xmlns:a16="http://schemas.microsoft.com/office/drawing/2014/main" id="{DB89A8E6-767C-41FB-92EF-0AFF6F6ABCFF}"/>
                    </a:ext>
                  </a:extLst>
                </p:cNvPr>
                <p:cNvSpPr/>
                <p:nvPr/>
              </p:nvSpPr>
              <p:spPr>
                <a:xfrm>
                  <a:off x="4570945" y="2723095"/>
                  <a:ext cx="980441" cy="204394"/>
                </a:xfrm>
                <a:prstGeom prst="rect">
                  <a:avLst/>
                </a:prstGeom>
                <a:solidFill>
                  <a:srgbClr val="ED82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2" name="Rectangle 81">
                  <a:extLst>
                    <a:ext uri="{FF2B5EF4-FFF2-40B4-BE49-F238E27FC236}">
                      <a16:creationId xmlns:a16="http://schemas.microsoft.com/office/drawing/2014/main" id="{DFDF7413-8447-45FC-A6CC-13B13DB83912}"/>
                    </a:ext>
                  </a:extLst>
                </p:cNvPr>
                <p:cNvSpPr/>
                <p:nvPr/>
              </p:nvSpPr>
              <p:spPr>
                <a:xfrm>
                  <a:off x="5553788" y="2723095"/>
                  <a:ext cx="980441" cy="204394"/>
                </a:xfrm>
                <a:prstGeom prst="rect">
                  <a:avLst/>
                </a:prstGeom>
                <a:solidFill>
                  <a:srgbClr val="E5CB0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3" name="Rectangle 82">
                  <a:extLst>
                    <a:ext uri="{FF2B5EF4-FFF2-40B4-BE49-F238E27FC236}">
                      <a16:creationId xmlns:a16="http://schemas.microsoft.com/office/drawing/2014/main" id="{A4447510-C71F-4A84-A307-1377DBD9CD0B}"/>
                    </a:ext>
                  </a:extLst>
                </p:cNvPr>
                <p:cNvSpPr/>
                <p:nvPr/>
              </p:nvSpPr>
              <p:spPr>
                <a:xfrm>
                  <a:off x="6536633" y="2723095"/>
                  <a:ext cx="980441" cy="204394"/>
                </a:xfrm>
                <a:prstGeom prst="rect">
                  <a:avLst/>
                </a:prstGeom>
                <a:solidFill>
                  <a:srgbClr val="8FAE2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4" name="Rectangle 83">
                  <a:extLst>
                    <a:ext uri="{FF2B5EF4-FFF2-40B4-BE49-F238E27FC236}">
                      <a16:creationId xmlns:a16="http://schemas.microsoft.com/office/drawing/2014/main" id="{D70EE5CD-8C89-47B9-8E66-DABA93311639}"/>
                    </a:ext>
                  </a:extLst>
                </p:cNvPr>
                <p:cNvSpPr/>
                <p:nvPr/>
              </p:nvSpPr>
              <p:spPr>
                <a:xfrm>
                  <a:off x="7519477" y="2723095"/>
                  <a:ext cx="980441" cy="204394"/>
                </a:xfrm>
                <a:prstGeom prst="rect">
                  <a:avLst/>
                </a:prstGeom>
                <a:solidFill>
                  <a:srgbClr val="44A64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grpSp>
          <p:grpSp>
            <p:nvGrpSpPr>
              <p:cNvPr id="41" name="Group 40">
                <a:extLst>
                  <a:ext uri="{FF2B5EF4-FFF2-40B4-BE49-F238E27FC236}">
                    <a16:creationId xmlns:a16="http://schemas.microsoft.com/office/drawing/2014/main" id="{92B3896F-0413-4E35-BC6C-6F7003DE5A9B}"/>
                  </a:ext>
                </a:extLst>
              </p:cNvPr>
              <p:cNvGrpSpPr/>
              <p:nvPr/>
            </p:nvGrpSpPr>
            <p:grpSpPr>
              <a:xfrm>
                <a:off x="3620542" y="3314368"/>
                <a:ext cx="4879157" cy="204394"/>
                <a:chOff x="3620761" y="3305829"/>
                <a:chExt cx="4879157" cy="204394"/>
              </a:xfrm>
            </p:grpSpPr>
            <p:sp>
              <p:nvSpPr>
                <p:cNvPr id="75" name="Rectangle 74">
                  <a:extLst>
                    <a:ext uri="{FF2B5EF4-FFF2-40B4-BE49-F238E27FC236}">
                      <a16:creationId xmlns:a16="http://schemas.microsoft.com/office/drawing/2014/main" id="{6A345F57-101B-4E6B-BCC3-25830717EB73}"/>
                    </a:ext>
                  </a:extLst>
                </p:cNvPr>
                <p:cNvSpPr/>
                <p:nvPr/>
              </p:nvSpPr>
              <p:spPr>
                <a:xfrm>
                  <a:off x="3620761" y="3305829"/>
                  <a:ext cx="980441" cy="204394"/>
                </a:xfrm>
                <a:prstGeom prst="rect">
                  <a:avLst/>
                </a:prstGeom>
                <a:solidFill>
                  <a:srgbClr val="E02D1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6" name="Rectangle 75">
                  <a:extLst>
                    <a:ext uri="{FF2B5EF4-FFF2-40B4-BE49-F238E27FC236}">
                      <a16:creationId xmlns:a16="http://schemas.microsoft.com/office/drawing/2014/main" id="{49007C9B-76EA-448A-9350-418AECA99A96}"/>
                    </a:ext>
                  </a:extLst>
                </p:cNvPr>
                <p:cNvSpPr/>
                <p:nvPr/>
              </p:nvSpPr>
              <p:spPr>
                <a:xfrm>
                  <a:off x="4570945" y="3305829"/>
                  <a:ext cx="980441" cy="204394"/>
                </a:xfrm>
                <a:prstGeom prst="rect">
                  <a:avLst/>
                </a:prstGeom>
                <a:solidFill>
                  <a:srgbClr val="ED82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7" name="Rectangle 76">
                  <a:extLst>
                    <a:ext uri="{FF2B5EF4-FFF2-40B4-BE49-F238E27FC236}">
                      <a16:creationId xmlns:a16="http://schemas.microsoft.com/office/drawing/2014/main" id="{1FD1939D-AE05-46E6-9273-C3DE81BEC3F3}"/>
                    </a:ext>
                  </a:extLst>
                </p:cNvPr>
                <p:cNvSpPr/>
                <p:nvPr/>
              </p:nvSpPr>
              <p:spPr>
                <a:xfrm>
                  <a:off x="5553788" y="3305829"/>
                  <a:ext cx="980441" cy="204394"/>
                </a:xfrm>
                <a:prstGeom prst="rect">
                  <a:avLst/>
                </a:prstGeom>
                <a:solidFill>
                  <a:srgbClr val="E5CB0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8" name="Rectangle 77">
                  <a:extLst>
                    <a:ext uri="{FF2B5EF4-FFF2-40B4-BE49-F238E27FC236}">
                      <a16:creationId xmlns:a16="http://schemas.microsoft.com/office/drawing/2014/main" id="{02F6D65B-3071-45CD-A193-348FF53CDDE1}"/>
                    </a:ext>
                  </a:extLst>
                </p:cNvPr>
                <p:cNvSpPr/>
                <p:nvPr/>
              </p:nvSpPr>
              <p:spPr>
                <a:xfrm>
                  <a:off x="6536633" y="3305829"/>
                  <a:ext cx="980441" cy="204394"/>
                </a:xfrm>
                <a:prstGeom prst="rect">
                  <a:avLst/>
                </a:prstGeom>
                <a:solidFill>
                  <a:srgbClr val="8FAE2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9" name="Rectangle 78">
                  <a:extLst>
                    <a:ext uri="{FF2B5EF4-FFF2-40B4-BE49-F238E27FC236}">
                      <a16:creationId xmlns:a16="http://schemas.microsoft.com/office/drawing/2014/main" id="{F7D77A05-A318-436D-A528-08D37074E93D}"/>
                    </a:ext>
                  </a:extLst>
                </p:cNvPr>
                <p:cNvSpPr/>
                <p:nvPr/>
              </p:nvSpPr>
              <p:spPr>
                <a:xfrm>
                  <a:off x="7519477" y="3305829"/>
                  <a:ext cx="980441" cy="204394"/>
                </a:xfrm>
                <a:prstGeom prst="rect">
                  <a:avLst/>
                </a:prstGeom>
                <a:solidFill>
                  <a:srgbClr val="44A64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grpSp>
          <p:sp>
            <p:nvSpPr>
              <p:cNvPr id="42" name="TextBox 41">
                <a:extLst>
                  <a:ext uri="{FF2B5EF4-FFF2-40B4-BE49-F238E27FC236}">
                    <a16:creationId xmlns:a16="http://schemas.microsoft.com/office/drawing/2014/main" id="{3DF6853B-E115-41E2-A7FA-5BA86A2AE24C}"/>
                  </a:ext>
                </a:extLst>
              </p:cNvPr>
              <p:cNvSpPr txBox="1"/>
              <p:nvPr/>
            </p:nvSpPr>
            <p:spPr>
              <a:xfrm>
                <a:off x="3456723" y="2927981"/>
                <a:ext cx="753069" cy="231447"/>
              </a:xfrm>
              <a:prstGeom prst="rect">
                <a:avLst/>
              </a:prstGeom>
              <a:noFill/>
            </p:spPr>
            <p:txBody>
              <a:bodyPr wrap="square" rtlCol="0">
                <a:spAutoFit/>
              </a:bodyPr>
              <a:lstStyle/>
              <a:p>
                <a:pPr algn="ctr"/>
                <a:r>
                  <a:rPr lang="en-US" sz="1000" b="1" dirty="0"/>
                  <a:t>Low</a:t>
                </a:r>
              </a:p>
            </p:txBody>
          </p:sp>
          <p:sp>
            <p:nvSpPr>
              <p:cNvPr id="43" name="TextBox 42">
                <a:extLst>
                  <a:ext uri="{FF2B5EF4-FFF2-40B4-BE49-F238E27FC236}">
                    <a16:creationId xmlns:a16="http://schemas.microsoft.com/office/drawing/2014/main" id="{431B0371-14B5-45CB-B407-AB789FEEFC1E}"/>
                  </a:ext>
                </a:extLst>
              </p:cNvPr>
              <p:cNvSpPr txBox="1"/>
              <p:nvPr/>
            </p:nvSpPr>
            <p:spPr>
              <a:xfrm>
                <a:off x="5909440" y="2927981"/>
                <a:ext cx="753069" cy="231447"/>
              </a:xfrm>
              <a:prstGeom prst="rect">
                <a:avLst/>
              </a:prstGeom>
              <a:noFill/>
            </p:spPr>
            <p:txBody>
              <a:bodyPr wrap="square" rtlCol="0">
                <a:spAutoFit/>
              </a:bodyPr>
              <a:lstStyle/>
              <a:p>
                <a:pPr algn="ctr"/>
                <a:r>
                  <a:rPr lang="en-US" sz="1000" b="1" dirty="0"/>
                  <a:t>Medium</a:t>
                </a:r>
              </a:p>
            </p:txBody>
          </p:sp>
          <p:sp>
            <p:nvSpPr>
              <p:cNvPr id="44" name="TextBox 43">
                <a:extLst>
                  <a:ext uri="{FF2B5EF4-FFF2-40B4-BE49-F238E27FC236}">
                    <a16:creationId xmlns:a16="http://schemas.microsoft.com/office/drawing/2014/main" id="{41F3B9CD-B014-4FC9-AA5D-0CACB4CB31EF}"/>
                  </a:ext>
                </a:extLst>
              </p:cNvPr>
              <p:cNvSpPr txBox="1"/>
              <p:nvPr/>
            </p:nvSpPr>
            <p:spPr>
              <a:xfrm>
                <a:off x="8031975" y="2927981"/>
                <a:ext cx="753069" cy="231447"/>
              </a:xfrm>
              <a:prstGeom prst="rect">
                <a:avLst/>
              </a:prstGeom>
              <a:noFill/>
            </p:spPr>
            <p:txBody>
              <a:bodyPr wrap="square" rtlCol="0">
                <a:spAutoFit/>
              </a:bodyPr>
              <a:lstStyle/>
              <a:p>
                <a:pPr algn="ctr"/>
                <a:r>
                  <a:rPr lang="en-US" sz="1000" b="1" dirty="0"/>
                  <a:t>High</a:t>
                </a:r>
              </a:p>
            </p:txBody>
          </p:sp>
          <p:sp>
            <p:nvSpPr>
              <p:cNvPr id="45" name="TextBox 44">
                <a:extLst>
                  <a:ext uri="{FF2B5EF4-FFF2-40B4-BE49-F238E27FC236}">
                    <a16:creationId xmlns:a16="http://schemas.microsoft.com/office/drawing/2014/main" id="{F68A9EBD-1AD2-4421-961D-45CF7B1048D6}"/>
                  </a:ext>
                </a:extLst>
              </p:cNvPr>
              <p:cNvSpPr txBox="1"/>
              <p:nvPr/>
            </p:nvSpPr>
            <p:spPr>
              <a:xfrm>
                <a:off x="3456723" y="5253128"/>
                <a:ext cx="753069" cy="231445"/>
              </a:xfrm>
              <a:prstGeom prst="rect">
                <a:avLst/>
              </a:prstGeom>
              <a:noFill/>
            </p:spPr>
            <p:txBody>
              <a:bodyPr wrap="square" rtlCol="0">
                <a:spAutoFit/>
              </a:bodyPr>
              <a:lstStyle/>
              <a:p>
                <a:pPr algn="ctr"/>
                <a:r>
                  <a:rPr lang="en-US" sz="1000" b="1" dirty="0"/>
                  <a:t>Low</a:t>
                </a:r>
              </a:p>
            </p:txBody>
          </p:sp>
          <p:sp>
            <p:nvSpPr>
              <p:cNvPr id="46" name="TextBox 45">
                <a:extLst>
                  <a:ext uri="{FF2B5EF4-FFF2-40B4-BE49-F238E27FC236}">
                    <a16:creationId xmlns:a16="http://schemas.microsoft.com/office/drawing/2014/main" id="{3C1F0BE7-255B-4F89-BD55-B241D309AC3C}"/>
                  </a:ext>
                </a:extLst>
              </p:cNvPr>
              <p:cNvSpPr txBox="1"/>
              <p:nvPr/>
            </p:nvSpPr>
            <p:spPr>
              <a:xfrm>
                <a:off x="5909440" y="5253128"/>
                <a:ext cx="753069" cy="231445"/>
              </a:xfrm>
              <a:prstGeom prst="rect">
                <a:avLst/>
              </a:prstGeom>
              <a:noFill/>
            </p:spPr>
            <p:txBody>
              <a:bodyPr wrap="square" rtlCol="0">
                <a:spAutoFit/>
              </a:bodyPr>
              <a:lstStyle/>
              <a:p>
                <a:pPr algn="ctr"/>
                <a:r>
                  <a:rPr lang="en-US" sz="1000" b="1" dirty="0"/>
                  <a:t>Medium</a:t>
                </a:r>
              </a:p>
            </p:txBody>
          </p:sp>
          <p:sp>
            <p:nvSpPr>
              <p:cNvPr id="47" name="TextBox 46">
                <a:extLst>
                  <a:ext uri="{FF2B5EF4-FFF2-40B4-BE49-F238E27FC236}">
                    <a16:creationId xmlns:a16="http://schemas.microsoft.com/office/drawing/2014/main" id="{390A3A91-2880-4242-999B-A69F27267AA1}"/>
                  </a:ext>
                </a:extLst>
              </p:cNvPr>
              <p:cNvSpPr txBox="1"/>
              <p:nvPr/>
            </p:nvSpPr>
            <p:spPr>
              <a:xfrm>
                <a:off x="7992395" y="5262954"/>
                <a:ext cx="753069" cy="231445"/>
              </a:xfrm>
              <a:prstGeom prst="rect">
                <a:avLst/>
              </a:prstGeom>
              <a:noFill/>
            </p:spPr>
            <p:txBody>
              <a:bodyPr wrap="square" rtlCol="0">
                <a:spAutoFit/>
              </a:bodyPr>
              <a:lstStyle/>
              <a:p>
                <a:pPr algn="ctr"/>
                <a:r>
                  <a:rPr lang="en-US" sz="1000" b="1" dirty="0"/>
                  <a:t>High</a:t>
                </a:r>
              </a:p>
            </p:txBody>
          </p:sp>
          <p:sp>
            <p:nvSpPr>
              <p:cNvPr id="48" name="TextBox 47">
                <a:extLst>
                  <a:ext uri="{FF2B5EF4-FFF2-40B4-BE49-F238E27FC236}">
                    <a16:creationId xmlns:a16="http://schemas.microsoft.com/office/drawing/2014/main" id="{F6AA2120-D982-4273-A1C2-8DE6AAFC10D1}"/>
                  </a:ext>
                </a:extLst>
              </p:cNvPr>
              <p:cNvSpPr txBox="1"/>
              <p:nvPr/>
            </p:nvSpPr>
            <p:spPr>
              <a:xfrm>
                <a:off x="3456723" y="3497240"/>
                <a:ext cx="753069" cy="231447"/>
              </a:xfrm>
              <a:prstGeom prst="rect">
                <a:avLst/>
              </a:prstGeom>
              <a:noFill/>
            </p:spPr>
            <p:txBody>
              <a:bodyPr wrap="square" rtlCol="0">
                <a:spAutoFit/>
              </a:bodyPr>
              <a:lstStyle/>
              <a:p>
                <a:pPr algn="ctr"/>
                <a:r>
                  <a:rPr lang="en-US" sz="1000" b="1" dirty="0"/>
                  <a:t>Low</a:t>
                </a:r>
              </a:p>
            </p:txBody>
          </p:sp>
          <p:sp>
            <p:nvSpPr>
              <p:cNvPr id="49" name="TextBox 48">
                <a:extLst>
                  <a:ext uri="{FF2B5EF4-FFF2-40B4-BE49-F238E27FC236}">
                    <a16:creationId xmlns:a16="http://schemas.microsoft.com/office/drawing/2014/main" id="{DE72A6A0-4EA8-48C4-8ED6-F8C1E06D2FF4}"/>
                  </a:ext>
                </a:extLst>
              </p:cNvPr>
              <p:cNvSpPr txBox="1"/>
              <p:nvPr/>
            </p:nvSpPr>
            <p:spPr>
              <a:xfrm>
                <a:off x="5909440" y="3497240"/>
                <a:ext cx="753069" cy="231447"/>
              </a:xfrm>
              <a:prstGeom prst="rect">
                <a:avLst/>
              </a:prstGeom>
              <a:noFill/>
            </p:spPr>
            <p:txBody>
              <a:bodyPr wrap="square" rtlCol="0">
                <a:spAutoFit/>
              </a:bodyPr>
              <a:lstStyle/>
              <a:p>
                <a:pPr algn="ctr"/>
                <a:r>
                  <a:rPr lang="en-US" sz="1000" b="1" dirty="0"/>
                  <a:t>Medium</a:t>
                </a:r>
              </a:p>
            </p:txBody>
          </p:sp>
          <p:sp>
            <p:nvSpPr>
              <p:cNvPr id="50" name="TextBox 49">
                <a:extLst>
                  <a:ext uri="{FF2B5EF4-FFF2-40B4-BE49-F238E27FC236}">
                    <a16:creationId xmlns:a16="http://schemas.microsoft.com/office/drawing/2014/main" id="{5F4AEE35-6426-41C4-8D9F-D15B2F003C22}"/>
                  </a:ext>
                </a:extLst>
              </p:cNvPr>
              <p:cNvSpPr txBox="1"/>
              <p:nvPr/>
            </p:nvSpPr>
            <p:spPr>
              <a:xfrm>
                <a:off x="8031975" y="3535535"/>
                <a:ext cx="753069" cy="270144"/>
              </a:xfrm>
              <a:prstGeom prst="rect">
                <a:avLst/>
              </a:prstGeom>
              <a:noFill/>
            </p:spPr>
            <p:txBody>
              <a:bodyPr wrap="square" lIns="0" rtlCol="0">
                <a:spAutoFit/>
              </a:bodyPr>
              <a:lstStyle/>
              <a:p>
                <a:pPr algn="ctr"/>
                <a:r>
                  <a:rPr lang="en-US" sz="1000" b="1" dirty="0"/>
                  <a:t>High</a:t>
                </a:r>
              </a:p>
            </p:txBody>
          </p:sp>
          <p:grpSp>
            <p:nvGrpSpPr>
              <p:cNvPr id="51" name="Group 50">
                <a:extLst>
                  <a:ext uri="{FF2B5EF4-FFF2-40B4-BE49-F238E27FC236}">
                    <a16:creationId xmlns:a16="http://schemas.microsoft.com/office/drawing/2014/main" id="{6E75B05A-DA57-4147-A334-F8E77B9D37B5}"/>
                  </a:ext>
                </a:extLst>
              </p:cNvPr>
              <p:cNvGrpSpPr/>
              <p:nvPr/>
            </p:nvGrpSpPr>
            <p:grpSpPr>
              <a:xfrm>
                <a:off x="3620542" y="6185756"/>
                <a:ext cx="4879157" cy="204398"/>
                <a:chOff x="3620761" y="6188103"/>
                <a:chExt cx="4879157" cy="204398"/>
              </a:xfrm>
            </p:grpSpPr>
            <p:sp>
              <p:nvSpPr>
                <p:cNvPr id="70" name="Rectangle 69">
                  <a:extLst>
                    <a:ext uri="{FF2B5EF4-FFF2-40B4-BE49-F238E27FC236}">
                      <a16:creationId xmlns:a16="http://schemas.microsoft.com/office/drawing/2014/main" id="{5DC6B144-AE1F-4C9E-9F24-26C94D968168}"/>
                    </a:ext>
                  </a:extLst>
                </p:cNvPr>
                <p:cNvSpPr/>
                <p:nvPr/>
              </p:nvSpPr>
              <p:spPr>
                <a:xfrm>
                  <a:off x="3620761" y="6188104"/>
                  <a:ext cx="980441" cy="204395"/>
                </a:xfrm>
                <a:prstGeom prst="rect">
                  <a:avLst/>
                </a:prstGeom>
                <a:solidFill>
                  <a:srgbClr val="E02D1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1" name="Rectangle 70">
                  <a:extLst>
                    <a:ext uri="{FF2B5EF4-FFF2-40B4-BE49-F238E27FC236}">
                      <a16:creationId xmlns:a16="http://schemas.microsoft.com/office/drawing/2014/main" id="{98E4080F-7CC8-4BA7-85F0-71F76DD4CEFF}"/>
                    </a:ext>
                  </a:extLst>
                </p:cNvPr>
                <p:cNvSpPr/>
                <p:nvPr/>
              </p:nvSpPr>
              <p:spPr>
                <a:xfrm>
                  <a:off x="4570945" y="6188106"/>
                  <a:ext cx="980441" cy="204395"/>
                </a:xfrm>
                <a:prstGeom prst="rect">
                  <a:avLst/>
                </a:prstGeom>
                <a:solidFill>
                  <a:srgbClr val="ED82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2" name="Rectangle 71">
                  <a:extLst>
                    <a:ext uri="{FF2B5EF4-FFF2-40B4-BE49-F238E27FC236}">
                      <a16:creationId xmlns:a16="http://schemas.microsoft.com/office/drawing/2014/main" id="{B3DB3F5A-DF75-4E1A-A3E7-AE1927587D14}"/>
                    </a:ext>
                  </a:extLst>
                </p:cNvPr>
                <p:cNvSpPr/>
                <p:nvPr/>
              </p:nvSpPr>
              <p:spPr>
                <a:xfrm>
                  <a:off x="5553788" y="6188103"/>
                  <a:ext cx="980441" cy="204395"/>
                </a:xfrm>
                <a:prstGeom prst="rect">
                  <a:avLst/>
                </a:prstGeom>
                <a:solidFill>
                  <a:srgbClr val="E5CB0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3" name="Rectangle 72">
                  <a:extLst>
                    <a:ext uri="{FF2B5EF4-FFF2-40B4-BE49-F238E27FC236}">
                      <a16:creationId xmlns:a16="http://schemas.microsoft.com/office/drawing/2014/main" id="{D5EFC387-448A-41C2-A7D0-86C045600B85}"/>
                    </a:ext>
                  </a:extLst>
                </p:cNvPr>
                <p:cNvSpPr/>
                <p:nvPr/>
              </p:nvSpPr>
              <p:spPr>
                <a:xfrm>
                  <a:off x="6536633" y="6188103"/>
                  <a:ext cx="980441" cy="204395"/>
                </a:xfrm>
                <a:prstGeom prst="rect">
                  <a:avLst/>
                </a:prstGeom>
                <a:solidFill>
                  <a:srgbClr val="8FAE2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4" name="Rectangle 73">
                  <a:extLst>
                    <a:ext uri="{FF2B5EF4-FFF2-40B4-BE49-F238E27FC236}">
                      <a16:creationId xmlns:a16="http://schemas.microsoft.com/office/drawing/2014/main" id="{8DF48D35-8F9B-483E-A1F9-E85CAD8C5C3E}"/>
                    </a:ext>
                  </a:extLst>
                </p:cNvPr>
                <p:cNvSpPr/>
                <p:nvPr/>
              </p:nvSpPr>
              <p:spPr>
                <a:xfrm>
                  <a:off x="7519477" y="6188103"/>
                  <a:ext cx="980441" cy="204395"/>
                </a:xfrm>
                <a:prstGeom prst="rect">
                  <a:avLst/>
                </a:prstGeom>
                <a:solidFill>
                  <a:srgbClr val="44A64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grpSp>
          <p:sp>
            <p:nvSpPr>
              <p:cNvPr id="52" name="TextBox 51">
                <a:extLst>
                  <a:ext uri="{FF2B5EF4-FFF2-40B4-BE49-F238E27FC236}">
                    <a16:creationId xmlns:a16="http://schemas.microsoft.com/office/drawing/2014/main" id="{74BB1BDD-F9A9-4D4F-AA0C-3A2E95C11884}"/>
                  </a:ext>
                </a:extLst>
              </p:cNvPr>
              <p:cNvSpPr txBox="1"/>
              <p:nvPr/>
            </p:nvSpPr>
            <p:spPr>
              <a:xfrm>
                <a:off x="3707369" y="6322657"/>
                <a:ext cx="753069" cy="231446"/>
              </a:xfrm>
              <a:prstGeom prst="rect">
                <a:avLst/>
              </a:prstGeom>
              <a:noFill/>
            </p:spPr>
            <p:txBody>
              <a:bodyPr wrap="square" rtlCol="0">
                <a:spAutoFit/>
              </a:bodyPr>
              <a:lstStyle/>
              <a:p>
                <a:pPr algn="ctr"/>
                <a:r>
                  <a:rPr lang="en-US" sz="1000" b="1" dirty="0"/>
                  <a:t>Low</a:t>
                </a:r>
              </a:p>
            </p:txBody>
          </p:sp>
          <p:sp>
            <p:nvSpPr>
              <p:cNvPr id="53" name="TextBox 52">
                <a:extLst>
                  <a:ext uri="{FF2B5EF4-FFF2-40B4-BE49-F238E27FC236}">
                    <a16:creationId xmlns:a16="http://schemas.microsoft.com/office/drawing/2014/main" id="{1DCB0C63-1370-4498-A38C-3223FB43060B}"/>
                  </a:ext>
                </a:extLst>
              </p:cNvPr>
              <p:cNvSpPr txBox="1"/>
              <p:nvPr/>
            </p:nvSpPr>
            <p:spPr>
              <a:xfrm>
                <a:off x="5916215" y="6401037"/>
                <a:ext cx="753069" cy="231447"/>
              </a:xfrm>
              <a:prstGeom prst="rect">
                <a:avLst/>
              </a:prstGeom>
              <a:noFill/>
            </p:spPr>
            <p:txBody>
              <a:bodyPr wrap="square" rtlCol="0">
                <a:spAutoFit/>
              </a:bodyPr>
              <a:lstStyle/>
              <a:p>
                <a:pPr algn="ctr"/>
                <a:r>
                  <a:rPr lang="en-US" sz="1000" b="1" dirty="0"/>
                  <a:t>Medium</a:t>
                </a:r>
              </a:p>
            </p:txBody>
          </p:sp>
          <p:sp>
            <p:nvSpPr>
              <p:cNvPr id="54" name="TextBox 53">
                <a:extLst>
                  <a:ext uri="{FF2B5EF4-FFF2-40B4-BE49-F238E27FC236}">
                    <a16:creationId xmlns:a16="http://schemas.microsoft.com/office/drawing/2014/main" id="{71E99BF2-221F-4423-8059-36A309EBA683}"/>
                  </a:ext>
                </a:extLst>
              </p:cNvPr>
              <p:cNvSpPr txBox="1"/>
              <p:nvPr/>
            </p:nvSpPr>
            <p:spPr>
              <a:xfrm>
                <a:off x="7992048" y="6392219"/>
                <a:ext cx="753069" cy="231447"/>
              </a:xfrm>
              <a:prstGeom prst="rect">
                <a:avLst/>
              </a:prstGeom>
              <a:noFill/>
            </p:spPr>
            <p:txBody>
              <a:bodyPr wrap="square" rtlCol="0">
                <a:spAutoFit/>
              </a:bodyPr>
              <a:lstStyle/>
              <a:p>
                <a:pPr algn="ctr"/>
                <a:r>
                  <a:rPr lang="en-US" sz="1000" b="1" dirty="0"/>
                  <a:t>High</a:t>
                </a:r>
              </a:p>
            </p:txBody>
          </p:sp>
          <p:sp>
            <p:nvSpPr>
              <p:cNvPr id="55" name="Rectangle 54">
                <a:extLst>
                  <a:ext uri="{FF2B5EF4-FFF2-40B4-BE49-F238E27FC236}">
                    <a16:creationId xmlns:a16="http://schemas.microsoft.com/office/drawing/2014/main" id="{3F1F31E7-32AA-4E26-ADD8-35F883BB22C4}"/>
                  </a:ext>
                </a:extLst>
              </p:cNvPr>
              <p:cNvSpPr/>
              <p:nvPr/>
            </p:nvSpPr>
            <p:spPr>
              <a:xfrm>
                <a:off x="59939" y="2072903"/>
                <a:ext cx="3103098" cy="508957"/>
              </a:xfrm>
              <a:prstGeom prst="rect">
                <a:avLst/>
              </a:prstGeom>
              <a:solidFill>
                <a:srgbClr val="00B0F0"/>
              </a:solidFill>
              <a:ln/>
            </p:spPr>
            <p:style>
              <a:lnRef idx="1">
                <a:schemeClr val="accent5"/>
              </a:lnRef>
              <a:fillRef idx="3">
                <a:schemeClr val="accent5"/>
              </a:fillRef>
              <a:effectRef idx="2">
                <a:schemeClr val="accent5"/>
              </a:effectRef>
              <a:fontRef idx="minor">
                <a:schemeClr val="lt1"/>
              </a:fontRef>
            </p:style>
            <p:txBody>
              <a:bodyPr rtlCol="0" anchor="ctr"/>
              <a:lstStyle/>
              <a:p>
                <a:pPr eaLnBrk="0" hangingPunct="0">
                  <a:spcAft>
                    <a:spcPct val="10000"/>
                  </a:spcAft>
                  <a:buClr>
                    <a:srgbClr val="009ACC"/>
                  </a:buClr>
                  <a:defRPr/>
                </a:pPr>
                <a:r>
                  <a:rPr lang="en-IN" sz="1200" kern="0" dirty="0">
                    <a:latin typeface="Verdana" panose="020B0604030504040204" pitchFamily="34" charset="0"/>
                    <a:ea typeface="Verdana" panose="020B0604030504040204" pitchFamily="34" charset="0"/>
                    <a:cs typeface="Verdana" panose="020B0604030504040204" pitchFamily="34" charset="0"/>
                  </a:rPr>
                  <a:t>Growing Agriculture Sector</a:t>
                </a:r>
              </a:p>
            </p:txBody>
          </p:sp>
          <p:sp>
            <p:nvSpPr>
              <p:cNvPr id="56" name="Rectangle 55">
                <a:extLst>
                  <a:ext uri="{FF2B5EF4-FFF2-40B4-BE49-F238E27FC236}">
                    <a16:creationId xmlns:a16="http://schemas.microsoft.com/office/drawing/2014/main" id="{7EAE4D5A-4530-498F-A22D-6E062FBD1A08}"/>
                  </a:ext>
                </a:extLst>
              </p:cNvPr>
              <p:cNvSpPr/>
              <p:nvPr/>
            </p:nvSpPr>
            <p:spPr>
              <a:xfrm>
                <a:off x="59939" y="2655639"/>
                <a:ext cx="3103098" cy="510475"/>
              </a:xfrm>
              <a:prstGeom prst="rect">
                <a:avLst/>
              </a:prstGeom>
              <a:solidFill>
                <a:srgbClr val="00B0F0"/>
              </a:solidFill>
              <a:ln/>
            </p:spPr>
            <p:style>
              <a:lnRef idx="1">
                <a:schemeClr val="accent5"/>
              </a:lnRef>
              <a:fillRef idx="3">
                <a:schemeClr val="accent5"/>
              </a:fillRef>
              <a:effectRef idx="2">
                <a:schemeClr val="accent5"/>
              </a:effectRef>
              <a:fontRef idx="minor">
                <a:schemeClr val="lt1"/>
              </a:fontRef>
            </p:style>
            <p:txBody>
              <a:bodyPr rtlCol="0" anchor="ctr"/>
              <a:lstStyle/>
              <a:p>
                <a:pPr eaLnBrk="0" hangingPunct="0">
                  <a:spcAft>
                    <a:spcPct val="10000"/>
                  </a:spcAft>
                  <a:buClr>
                    <a:srgbClr val="009ACC"/>
                  </a:buClr>
                  <a:defRPr/>
                </a:pPr>
                <a:r>
                  <a:rPr lang="en-US" sz="1200" kern="0" dirty="0">
                    <a:latin typeface="Verdana" panose="020B0604030504040204" pitchFamily="34" charset="0"/>
                    <a:ea typeface="Verdana" panose="020B0604030504040204" pitchFamily="34" charset="0"/>
                    <a:cs typeface="Verdana" panose="020B0604030504040204" pitchFamily="34" charset="0"/>
                  </a:rPr>
                  <a:t>Investment in Animal Husbandry Sector</a:t>
                </a:r>
              </a:p>
            </p:txBody>
          </p:sp>
          <p:sp>
            <p:nvSpPr>
              <p:cNvPr id="57" name="Rectangle 56">
                <a:extLst>
                  <a:ext uri="{FF2B5EF4-FFF2-40B4-BE49-F238E27FC236}">
                    <a16:creationId xmlns:a16="http://schemas.microsoft.com/office/drawing/2014/main" id="{0989C269-92E9-4720-8B38-D5BAB83EDE23}"/>
                  </a:ext>
                </a:extLst>
              </p:cNvPr>
              <p:cNvSpPr/>
              <p:nvPr/>
            </p:nvSpPr>
            <p:spPr>
              <a:xfrm>
                <a:off x="59939" y="3238370"/>
                <a:ext cx="3103098" cy="508957"/>
              </a:xfrm>
              <a:prstGeom prst="rect">
                <a:avLst/>
              </a:prstGeom>
              <a:solidFill>
                <a:srgbClr val="00B0F0"/>
              </a:solidFill>
              <a:ln/>
            </p:spPr>
            <p:style>
              <a:lnRef idx="1">
                <a:schemeClr val="accent5"/>
              </a:lnRef>
              <a:fillRef idx="3">
                <a:schemeClr val="accent5"/>
              </a:fillRef>
              <a:effectRef idx="2">
                <a:schemeClr val="accent5"/>
              </a:effectRef>
              <a:fontRef idx="minor">
                <a:schemeClr val="lt1"/>
              </a:fontRef>
            </p:style>
            <p:txBody>
              <a:bodyPr rtlCol="0" anchor="ctr"/>
              <a:lstStyle/>
              <a:p>
                <a:pPr eaLnBrk="0" hangingPunct="0">
                  <a:spcAft>
                    <a:spcPct val="10000"/>
                  </a:spcAft>
                  <a:buClr>
                    <a:srgbClr val="009ACC"/>
                  </a:buClr>
                  <a:defRPr/>
                </a:pPr>
                <a:r>
                  <a:rPr lang="en-IN" sz="1200" kern="0" dirty="0">
                    <a:latin typeface="Verdana" panose="020B0604030504040204" pitchFamily="34" charset="0"/>
                    <a:ea typeface="Verdana" panose="020B0604030504040204" pitchFamily="34" charset="0"/>
                    <a:cs typeface="Verdana" panose="020B0604030504040204" pitchFamily="34" charset="0"/>
                  </a:rPr>
                  <a:t>Ample Availability of Raw Material </a:t>
                </a:r>
              </a:p>
            </p:txBody>
          </p:sp>
          <p:sp>
            <p:nvSpPr>
              <p:cNvPr id="58" name="Rectangle 57">
                <a:extLst>
                  <a:ext uri="{FF2B5EF4-FFF2-40B4-BE49-F238E27FC236}">
                    <a16:creationId xmlns:a16="http://schemas.microsoft.com/office/drawing/2014/main" id="{31EDB149-4A57-485F-9DBE-A6458C4E8793}"/>
                  </a:ext>
                </a:extLst>
              </p:cNvPr>
              <p:cNvSpPr/>
              <p:nvPr/>
            </p:nvSpPr>
            <p:spPr>
              <a:xfrm>
                <a:off x="40105" y="5968027"/>
                <a:ext cx="3142764" cy="508957"/>
              </a:xfrm>
              <a:prstGeom prst="rect">
                <a:avLst/>
              </a:prstGeom>
              <a:solidFill>
                <a:srgbClr val="C00000"/>
              </a:solidFill>
              <a:ln/>
            </p:spPr>
            <p:style>
              <a:lnRef idx="1">
                <a:schemeClr val="accent2"/>
              </a:lnRef>
              <a:fillRef idx="3">
                <a:schemeClr val="accent2"/>
              </a:fillRef>
              <a:effectRef idx="2">
                <a:schemeClr val="accent2"/>
              </a:effectRef>
              <a:fontRef idx="minor">
                <a:schemeClr val="lt1"/>
              </a:fontRef>
            </p:style>
            <p:txBody>
              <a:bodyPr rtlCol="0" anchor="ctr"/>
              <a:lstStyle/>
              <a:p>
                <a:pPr eaLnBrk="0" hangingPunct="0">
                  <a:spcAft>
                    <a:spcPct val="10000"/>
                  </a:spcAft>
                  <a:buClr>
                    <a:srgbClr val="009ACC"/>
                  </a:buClr>
                  <a:defRPr/>
                </a:pPr>
                <a:r>
                  <a:rPr lang="en-US" sz="1200" kern="0" dirty="0">
                    <a:latin typeface="Verdana" panose="020B0604030504040204" pitchFamily="34" charset="0"/>
                    <a:ea typeface="Verdana" panose="020B0604030504040204" pitchFamily="34" charset="0"/>
                    <a:cs typeface="Verdana" panose="020B0604030504040204" pitchFamily="34" charset="0"/>
                  </a:rPr>
                  <a:t>Volatility in Raw Material Prices</a:t>
                </a:r>
              </a:p>
            </p:txBody>
          </p:sp>
          <p:sp>
            <p:nvSpPr>
              <p:cNvPr id="60" name="Rectangle 59">
                <a:extLst>
                  <a:ext uri="{FF2B5EF4-FFF2-40B4-BE49-F238E27FC236}">
                    <a16:creationId xmlns:a16="http://schemas.microsoft.com/office/drawing/2014/main" id="{9CC48E8D-3BFC-4465-A4F8-3EEB92E75307}"/>
                  </a:ext>
                </a:extLst>
              </p:cNvPr>
              <p:cNvSpPr/>
              <p:nvPr/>
            </p:nvSpPr>
            <p:spPr>
              <a:xfrm>
                <a:off x="59937" y="4960312"/>
                <a:ext cx="3275256" cy="604637"/>
              </a:xfrm>
              <a:prstGeom prst="rect">
                <a:avLst/>
              </a:prstGeom>
              <a:solidFill>
                <a:srgbClr val="C00000"/>
              </a:solidFill>
              <a:ln/>
            </p:spPr>
            <p:style>
              <a:lnRef idx="1">
                <a:schemeClr val="accent5"/>
              </a:lnRef>
              <a:fillRef idx="3">
                <a:schemeClr val="accent5"/>
              </a:fillRef>
              <a:effectRef idx="2">
                <a:schemeClr val="accent5"/>
              </a:effectRef>
              <a:fontRef idx="minor">
                <a:schemeClr val="lt1"/>
              </a:fontRef>
            </p:style>
            <p:txBody>
              <a:bodyPr rtlCol="0" anchor="ctr"/>
              <a:lstStyle/>
              <a:p>
                <a:pPr eaLnBrk="0" hangingPunct="0">
                  <a:spcAft>
                    <a:spcPct val="10000"/>
                  </a:spcAft>
                  <a:buClr>
                    <a:srgbClr val="009ACC"/>
                  </a:buClr>
                  <a:defRPr/>
                </a:pPr>
                <a:r>
                  <a:rPr lang="en-US" sz="1200" kern="0" dirty="0">
                    <a:latin typeface="Verdana" panose="020B0604030504040204" pitchFamily="34" charset="0"/>
                    <a:ea typeface="Verdana" panose="020B0604030504040204" pitchFamily="34" charset="0"/>
                    <a:cs typeface="Verdana" panose="020B0604030504040204" pitchFamily="34" charset="0"/>
                  </a:rPr>
                  <a:t>Threat from Product Substitution/Technology Development</a:t>
                </a:r>
              </a:p>
            </p:txBody>
          </p:sp>
        </p:grpSp>
        <p:grpSp>
          <p:nvGrpSpPr>
            <p:cNvPr id="14" name="Group 13">
              <a:extLst>
                <a:ext uri="{FF2B5EF4-FFF2-40B4-BE49-F238E27FC236}">
                  <a16:creationId xmlns:a16="http://schemas.microsoft.com/office/drawing/2014/main" id="{2C85DA3F-73F7-4634-92CD-1A4C57C4DEFD}"/>
                </a:ext>
              </a:extLst>
            </p:cNvPr>
            <p:cNvGrpSpPr/>
            <p:nvPr/>
          </p:nvGrpSpPr>
          <p:grpSpPr bwMode="gray">
            <a:xfrm>
              <a:off x="7309156" y="2096852"/>
              <a:ext cx="354191" cy="357788"/>
              <a:chOff x="11731996" y="2063915"/>
              <a:chExt cx="326103" cy="326103"/>
            </a:xfrm>
          </p:grpSpPr>
          <p:sp>
            <p:nvSpPr>
              <p:cNvPr id="28" name="Oval 27">
                <a:extLst>
                  <a:ext uri="{FF2B5EF4-FFF2-40B4-BE49-F238E27FC236}">
                    <a16:creationId xmlns:a16="http://schemas.microsoft.com/office/drawing/2014/main" id="{BBCF1733-AE26-415F-A5C0-E635FADF0B31}"/>
                  </a:ext>
                </a:extLst>
              </p:cNvPr>
              <p:cNvSpPr/>
              <p:nvPr/>
            </p:nvSpPr>
            <p:spPr bwMode="gray">
              <a:xfrm>
                <a:off x="11731996" y="2063915"/>
                <a:ext cx="326103" cy="326103"/>
              </a:xfrm>
              <a:prstGeom prst="ellipse">
                <a:avLst/>
              </a:prstGeom>
              <a:solidFill>
                <a:schemeClr val="accent3">
                  <a:lumMod val="50000"/>
                </a:schemeClr>
              </a:solidFill>
              <a:scene3d>
                <a:camera prst="orthographicFront"/>
                <a:lightRig rig="threePt" dir="t"/>
              </a:scene3d>
              <a:sp3d>
                <a:bevelT w="114300" prst="artDeco"/>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CB0746C1-0D14-4B70-A92B-64CEAD5CFC61}"/>
                  </a:ext>
                </a:extLst>
              </p:cNvPr>
              <p:cNvSpPr/>
              <p:nvPr/>
            </p:nvSpPr>
            <p:spPr bwMode="gray">
              <a:xfrm>
                <a:off x="11827695" y="2137944"/>
                <a:ext cx="154339" cy="154338"/>
              </a:xfrm>
              <a:prstGeom prst="ellipse">
                <a:avLst/>
              </a:prstGeom>
              <a:solidFill>
                <a:srgbClr val="00B0F0"/>
              </a:solidFill>
              <a:scene3d>
                <a:camera prst="orthographicFront"/>
                <a:lightRig rig="threePt" dir="t"/>
              </a:scene3d>
              <a:sp3d>
                <a:bevelT/>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grpSp>
        <p:grpSp>
          <p:nvGrpSpPr>
            <p:cNvPr id="15" name="Group 14">
              <a:extLst>
                <a:ext uri="{FF2B5EF4-FFF2-40B4-BE49-F238E27FC236}">
                  <a16:creationId xmlns:a16="http://schemas.microsoft.com/office/drawing/2014/main" id="{24244A0D-E568-409F-AB68-D5659915E3BA}"/>
                </a:ext>
              </a:extLst>
            </p:cNvPr>
            <p:cNvGrpSpPr/>
            <p:nvPr/>
          </p:nvGrpSpPr>
          <p:grpSpPr>
            <a:xfrm>
              <a:off x="7704487" y="2650097"/>
              <a:ext cx="354193" cy="357788"/>
              <a:chOff x="11329647" y="2641558"/>
              <a:chExt cx="354193" cy="357788"/>
            </a:xfrm>
          </p:grpSpPr>
          <p:sp>
            <p:nvSpPr>
              <p:cNvPr id="26" name="Oval 25">
                <a:extLst>
                  <a:ext uri="{FF2B5EF4-FFF2-40B4-BE49-F238E27FC236}">
                    <a16:creationId xmlns:a16="http://schemas.microsoft.com/office/drawing/2014/main" id="{EF194686-4E13-4445-898C-B5B63A3D0BDF}"/>
                  </a:ext>
                </a:extLst>
              </p:cNvPr>
              <p:cNvSpPr/>
              <p:nvPr/>
            </p:nvSpPr>
            <p:spPr bwMode="gray">
              <a:xfrm>
                <a:off x="11329647" y="2641558"/>
                <a:ext cx="354193" cy="357788"/>
              </a:xfrm>
              <a:prstGeom prst="ellipse">
                <a:avLst/>
              </a:prstGeom>
              <a:solidFill>
                <a:schemeClr val="accent3">
                  <a:lumMod val="50000"/>
                </a:schemeClr>
              </a:solidFill>
              <a:scene3d>
                <a:camera prst="orthographicFront"/>
                <a:lightRig rig="threePt" dir="t"/>
              </a:scene3d>
              <a:sp3d>
                <a:bevelT w="114300" prst="artDeco"/>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sp>
            <p:nvSpPr>
              <p:cNvPr id="27" name="Oval 26">
                <a:extLst>
                  <a:ext uri="{FF2B5EF4-FFF2-40B4-BE49-F238E27FC236}">
                    <a16:creationId xmlns:a16="http://schemas.microsoft.com/office/drawing/2014/main" id="{1FFB5BBF-67C5-4D6F-923B-9F3FBCB362C4}"/>
                  </a:ext>
                </a:extLst>
              </p:cNvPr>
              <p:cNvSpPr/>
              <p:nvPr/>
            </p:nvSpPr>
            <p:spPr bwMode="gray">
              <a:xfrm>
                <a:off x="11448318" y="2756616"/>
                <a:ext cx="153553" cy="148752"/>
              </a:xfrm>
              <a:prstGeom prst="ellipse">
                <a:avLst/>
              </a:prstGeom>
              <a:solidFill>
                <a:srgbClr val="00B0F0"/>
              </a:solidFill>
              <a:scene3d>
                <a:camera prst="orthographicFront"/>
                <a:lightRig rig="threePt" dir="t"/>
              </a:scene3d>
              <a:sp3d>
                <a:bevelT/>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grpSp>
        <p:grpSp>
          <p:nvGrpSpPr>
            <p:cNvPr id="16" name="Group 15">
              <a:extLst>
                <a:ext uri="{FF2B5EF4-FFF2-40B4-BE49-F238E27FC236}">
                  <a16:creationId xmlns:a16="http://schemas.microsoft.com/office/drawing/2014/main" id="{D4428911-8AE6-4B70-B69F-ED049AB748C9}"/>
                </a:ext>
              </a:extLst>
            </p:cNvPr>
            <p:cNvGrpSpPr/>
            <p:nvPr/>
          </p:nvGrpSpPr>
          <p:grpSpPr>
            <a:xfrm>
              <a:off x="6862186" y="3257885"/>
              <a:ext cx="354191" cy="357788"/>
              <a:chOff x="5447260" y="3249346"/>
              <a:chExt cx="354191" cy="357788"/>
            </a:xfrm>
          </p:grpSpPr>
          <p:sp>
            <p:nvSpPr>
              <p:cNvPr id="24" name="Oval 23">
                <a:extLst>
                  <a:ext uri="{FF2B5EF4-FFF2-40B4-BE49-F238E27FC236}">
                    <a16:creationId xmlns:a16="http://schemas.microsoft.com/office/drawing/2014/main" id="{A39A64B6-9409-4806-997B-89A4C30E10AF}"/>
                  </a:ext>
                </a:extLst>
              </p:cNvPr>
              <p:cNvSpPr/>
              <p:nvPr/>
            </p:nvSpPr>
            <p:spPr bwMode="gray">
              <a:xfrm>
                <a:off x="5447260" y="3249346"/>
                <a:ext cx="354191" cy="357788"/>
              </a:xfrm>
              <a:prstGeom prst="ellipse">
                <a:avLst/>
              </a:prstGeom>
              <a:solidFill>
                <a:schemeClr val="accent3">
                  <a:lumMod val="50000"/>
                </a:schemeClr>
              </a:solidFill>
              <a:scene3d>
                <a:camera prst="orthographicFront"/>
                <a:lightRig rig="threePt" dir="t"/>
              </a:scene3d>
              <a:sp3d>
                <a:bevelT w="114300" prst="artDeco"/>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58C532F6-6391-481A-B98C-72A505517B1C}"/>
                  </a:ext>
                </a:extLst>
              </p:cNvPr>
              <p:cNvSpPr/>
              <p:nvPr/>
            </p:nvSpPr>
            <p:spPr bwMode="gray">
              <a:xfrm>
                <a:off x="5535228" y="3332545"/>
                <a:ext cx="167631" cy="169334"/>
              </a:xfrm>
              <a:prstGeom prst="ellipse">
                <a:avLst/>
              </a:prstGeom>
              <a:solidFill>
                <a:srgbClr val="00B0F0"/>
              </a:solidFill>
              <a:scene3d>
                <a:camera prst="orthographicFront"/>
                <a:lightRig rig="threePt" dir="t"/>
              </a:scene3d>
              <a:sp3d>
                <a:bevelT/>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grpSp>
        <p:grpSp>
          <p:nvGrpSpPr>
            <p:cNvPr id="18" name="Group 17">
              <a:extLst>
                <a:ext uri="{FF2B5EF4-FFF2-40B4-BE49-F238E27FC236}">
                  <a16:creationId xmlns:a16="http://schemas.microsoft.com/office/drawing/2014/main" id="{D80D3C1D-9CB6-4DE4-9C84-2D9B8E806893}"/>
                </a:ext>
              </a:extLst>
            </p:cNvPr>
            <p:cNvGrpSpPr/>
            <p:nvPr/>
          </p:nvGrpSpPr>
          <p:grpSpPr>
            <a:xfrm>
              <a:off x="6778717" y="6109626"/>
              <a:ext cx="354190" cy="357788"/>
              <a:chOff x="10109966" y="6101087"/>
              <a:chExt cx="354190" cy="357788"/>
            </a:xfrm>
          </p:grpSpPr>
          <p:sp>
            <p:nvSpPr>
              <p:cNvPr id="22" name="Oval 21">
                <a:extLst>
                  <a:ext uri="{FF2B5EF4-FFF2-40B4-BE49-F238E27FC236}">
                    <a16:creationId xmlns:a16="http://schemas.microsoft.com/office/drawing/2014/main" id="{1B450FB1-2A62-4A88-BADB-4164EBC4F071}"/>
                  </a:ext>
                </a:extLst>
              </p:cNvPr>
              <p:cNvSpPr/>
              <p:nvPr/>
            </p:nvSpPr>
            <p:spPr bwMode="gray">
              <a:xfrm>
                <a:off x="10109966" y="6101087"/>
                <a:ext cx="354190" cy="357788"/>
              </a:xfrm>
              <a:prstGeom prst="ellipse">
                <a:avLst/>
              </a:prstGeom>
              <a:solidFill>
                <a:schemeClr val="accent3">
                  <a:lumMod val="50000"/>
                </a:schemeClr>
              </a:solidFill>
              <a:scene3d>
                <a:camera prst="orthographicFront"/>
                <a:lightRig rig="threePt" dir="t"/>
              </a:scene3d>
              <a:sp3d>
                <a:bevelT w="114300" prst="artDeco"/>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sp>
            <p:nvSpPr>
              <p:cNvPr id="23" name="Oval 22">
                <a:extLst>
                  <a:ext uri="{FF2B5EF4-FFF2-40B4-BE49-F238E27FC236}">
                    <a16:creationId xmlns:a16="http://schemas.microsoft.com/office/drawing/2014/main" id="{95ED5277-33EB-45C9-A045-DAD800CFEEEE}"/>
                  </a:ext>
                </a:extLst>
              </p:cNvPr>
              <p:cNvSpPr/>
              <p:nvPr/>
            </p:nvSpPr>
            <p:spPr bwMode="gray">
              <a:xfrm>
                <a:off x="10213910" y="6169056"/>
                <a:ext cx="167631" cy="169334"/>
              </a:xfrm>
              <a:prstGeom prst="ellipse">
                <a:avLst/>
              </a:prstGeom>
              <a:solidFill>
                <a:srgbClr val="00B0F0"/>
              </a:solidFill>
              <a:scene3d>
                <a:camera prst="orthographicFront"/>
                <a:lightRig rig="threePt" dir="t"/>
              </a:scene3d>
              <a:sp3d>
                <a:bevelT/>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grpSp>
      </p:grpSp>
      <p:sp>
        <p:nvSpPr>
          <p:cNvPr id="96" name="Oval 95">
            <a:extLst>
              <a:ext uri="{FF2B5EF4-FFF2-40B4-BE49-F238E27FC236}">
                <a16:creationId xmlns:a16="http://schemas.microsoft.com/office/drawing/2014/main" id="{EFC82E45-1999-4812-86E0-5499A2A754D5}"/>
              </a:ext>
            </a:extLst>
          </p:cNvPr>
          <p:cNvSpPr/>
          <p:nvPr/>
        </p:nvSpPr>
        <p:spPr bwMode="gray">
          <a:xfrm>
            <a:off x="5254128" y="4382244"/>
            <a:ext cx="318985" cy="357788"/>
          </a:xfrm>
          <a:prstGeom prst="ellipse">
            <a:avLst/>
          </a:prstGeom>
          <a:solidFill>
            <a:schemeClr val="accent3">
              <a:lumMod val="50000"/>
            </a:schemeClr>
          </a:solidFill>
          <a:scene3d>
            <a:camera prst="orthographicFront"/>
            <a:lightRig rig="threePt" dir="t"/>
          </a:scene3d>
          <a:sp3d>
            <a:bevelT w="114300" prst="artDeco"/>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sp>
        <p:nvSpPr>
          <p:cNvPr id="97" name="Oval 96">
            <a:extLst>
              <a:ext uri="{FF2B5EF4-FFF2-40B4-BE49-F238E27FC236}">
                <a16:creationId xmlns:a16="http://schemas.microsoft.com/office/drawing/2014/main" id="{8564ECED-2D49-4D09-B45B-52856263BFAF}"/>
              </a:ext>
            </a:extLst>
          </p:cNvPr>
          <p:cNvSpPr/>
          <p:nvPr/>
        </p:nvSpPr>
        <p:spPr bwMode="gray">
          <a:xfrm>
            <a:off x="5358598" y="4503937"/>
            <a:ext cx="150969" cy="169334"/>
          </a:xfrm>
          <a:prstGeom prst="ellipse">
            <a:avLst/>
          </a:prstGeom>
          <a:solidFill>
            <a:srgbClr val="00B0F0"/>
          </a:solidFill>
          <a:scene3d>
            <a:camera prst="orthographicFront"/>
            <a:lightRig rig="threePt" dir="t"/>
          </a:scene3d>
          <a:sp3d>
            <a:bevelT/>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7703706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A1124752-5D85-4915-B331-37AA1F12F3CC}"/>
              </a:ext>
            </a:extLst>
          </p:cNvPr>
          <p:cNvSpPr txBox="1">
            <a:spLocks/>
          </p:cNvSpPr>
          <p:nvPr/>
        </p:nvSpPr>
        <p:spPr>
          <a:xfrm>
            <a:off x="205740" y="270771"/>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rivers</a:t>
            </a:r>
          </a:p>
        </p:txBody>
      </p:sp>
      <p:sp>
        <p:nvSpPr>
          <p:cNvPr id="6" name="Subtitle 2">
            <a:extLst>
              <a:ext uri="{FF2B5EF4-FFF2-40B4-BE49-F238E27FC236}">
                <a16:creationId xmlns:a16="http://schemas.microsoft.com/office/drawing/2014/main" id="{803D7FB1-8ECC-4077-8E47-49A1A98DD67B}"/>
              </a:ext>
            </a:extLst>
          </p:cNvPr>
          <p:cNvSpPr txBox="1">
            <a:spLocks/>
          </p:cNvSpPr>
          <p:nvPr/>
        </p:nvSpPr>
        <p:spPr>
          <a:xfrm>
            <a:off x="564324" y="875882"/>
            <a:ext cx="7810349" cy="4325824"/>
          </a:xfrm>
          <a:prstGeom prst="rect">
            <a:avLst/>
          </a:prstGeom>
          <a:noFill/>
          <a:ln>
            <a:noFill/>
          </a:ln>
          <a:effectLst>
            <a:outerShdw blurRad="63500" sx="102000" sy="102000" algn="ctr" rotWithShape="0">
              <a:prstClr val="black">
                <a:alpha val="40000"/>
              </a:prstClr>
            </a:outerShdw>
          </a:effectLst>
        </p:spPr>
        <p:txBody>
          <a:bodyPr vert="horz" lIns="91440" tIns="45720" rIns="91440" bIns="45720" rtlCol="0">
            <a:noAutofit/>
          </a:bodyPr>
          <a:lstStyle>
            <a:lvl1pPr marL="171450" indent="-171450" algn="just" defTabSz="914400" rtl="0" eaLnBrk="1" latinLnBrk="0" hangingPunct="1">
              <a:lnSpc>
                <a:spcPct val="200000"/>
              </a:lnSpc>
              <a:spcBef>
                <a:spcPts val="1000"/>
              </a:spcBef>
              <a:buFontTx/>
              <a:buBlip>
                <a:blip r:embed="rId2"/>
              </a:buBlip>
              <a:defRPr lang="en-US" sz="10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just" defTabSz="895350" rtl="0" eaLnBrk="1" fontAlgn="auto" latinLnBrk="0" hangingPunct="1">
              <a:lnSpc>
                <a:spcPct val="100000"/>
              </a:lnSpc>
              <a:spcBef>
                <a:spcPts val="1800"/>
              </a:spcBef>
              <a:spcAft>
                <a:spcPts val="0"/>
              </a:spcAft>
              <a:buClrTx/>
              <a:buSzPct val="120000"/>
              <a:buFontTx/>
              <a:buNone/>
              <a:tabLst/>
              <a:defRPr/>
            </a:pPr>
            <a:r>
              <a:rPr kumimoji="0" lang="en-US" b="1" i="0" u="none" strike="noStrike" kern="1200" cap="none" spc="0" normalizeH="0" baseline="0" noProof="0" dirty="0">
                <a:ln>
                  <a:noFill/>
                </a:ln>
                <a:solidFill>
                  <a:prstClr val="black"/>
                </a:solidFill>
                <a:effectLst/>
                <a:uLnTx/>
                <a:uFillTx/>
              </a:rPr>
              <a:t>Growing Agriculture Sector</a:t>
            </a:r>
          </a:p>
          <a:p>
            <a:pPr marR="0" lvl="0" algn="just" defTabSz="895350" rtl="0" eaLnBrk="1" fontAlgn="auto" latinLnBrk="0" hangingPunct="1">
              <a:lnSpc>
                <a:spcPct val="150000"/>
              </a:lnSpc>
              <a:spcBef>
                <a:spcPts val="1800"/>
              </a:spcBef>
              <a:spcAft>
                <a:spcPts val="0"/>
              </a:spcAft>
              <a:buClrTx/>
              <a:buSzPct val="120000"/>
              <a:buFont typeface="Arial" panose="020B0604020202020204" pitchFamily="34" charset="0"/>
              <a:buChar char="•"/>
              <a:tabLst/>
              <a:defRPr/>
            </a:pPr>
            <a:r>
              <a:rPr kumimoji="0" lang="en-IN" b="0" i="0" u="none" strike="noStrike" kern="1200" cap="none" spc="0" normalizeH="0" baseline="0" noProof="0" dirty="0">
                <a:ln>
                  <a:noFill/>
                </a:ln>
                <a:solidFill>
                  <a:prstClr val="black"/>
                </a:solidFill>
                <a:effectLst/>
                <a:uLnTx/>
                <a:uFillTx/>
              </a:rPr>
              <a:t>Agriculture accounts for around 10% of South-east Asia’s GDP as of 2020. The governments across the </a:t>
            </a:r>
            <a:r>
              <a:rPr lang="en-IN" dirty="0">
                <a:solidFill>
                  <a:prstClr val="black"/>
                </a:solidFill>
              </a:rPr>
              <a:t>South-east Asian countries such as in Indonesia and others </a:t>
            </a:r>
            <a:r>
              <a:rPr kumimoji="0" lang="en-IN" b="0" i="0" u="none" strike="noStrike" kern="1200" cap="none" spc="0" normalizeH="0" baseline="0" noProof="0" dirty="0">
                <a:ln>
                  <a:noFill/>
                </a:ln>
                <a:solidFill>
                  <a:prstClr val="black"/>
                </a:solidFill>
                <a:effectLst/>
                <a:uLnTx/>
                <a:uFillTx/>
              </a:rPr>
              <a:t>is focusing on increasing agriculture infrastructure (such as irrigation facilities, warehousing and cold storage) to obtain higher yields. This is expected to boost the demand for copper sulphate being used as a fertilizer as it effectively helps in preventing fungus, algae and other unwanted microorganisms as well as helps in improving the quality of soil.</a:t>
            </a:r>
          </a:p>
          <a:p>
            <a:pPr marL="0" marR="0" lvl="0" indent="0" algn="just" defTabSz="895350" rtl="0" eaLnBrk="1" fontAlgn="auto" latinLnBrk="0" hangingPunct="1">
              <a:lnSpc>
                <a:spcPts val="2000"/>
              </a:lnSpc>
              <a:spcBef>
                <a:spcPts val="1800"/>
              </a:spcBef>
              <a:spcAft>
                <a:spcPts val="0"/>
              </a:spcAft>
              <a:buClrTx/>
              <a:buSzPct val="120000"/>
              <a:buNone/>
              <a:tabLst/>
              <a:defRPr/>
            </a:pPr>
            <a:endParaRPr lang="en-IN" dirty="0">
              <a:solidFill>
                <a:prstClr val="black"/>
              </a:solidFill>
            </a:endParaRPr>
          </a:p>
          <a:p>
            <a:pPr marL="171450" marR="0" lvl="0" indent="-171450" algn="just" defTabSz="895350" rtl="0" eaLnBrk="1" fontAlgn="auto" latinLnBrk="0" hangingPunct="1">
              <a:lnSpc>
                <a:spcPts val="2000"/>
              </a:lnSpc>
              <a:spcBef>
                <a:spcPts val="1800"/>
              </a:spcBef>
              <a:spcAft>
                <a:spcPts val="0"/>
              </a:spcAft>
              <a:buClrTx/>
              <a:buSzPct val="120000"/>
              <a:buFont typeface="Wingdings" panose="05000000000000000000" pitchFamily="2" charset="2"/>
              <a:buChar char="Ø"/>
              <a:tabLst/>
              <a:defRPr/>
            </a:pPr>
            <a:endParaRPr kumimoji="0" lang="en-IN" b="0" i="0" u="none" strike="noStrike" kern="1200" cap="none" spc="0" normalizeH="0" baseline="0" noProof="0" dirty="0">
              <a:ln>
                <a:noFill/>
              </a:ln>
              <a:solidFill>
                <a:prstClr val="black"/>
              </a:solidFill>
              <a:effectLst/>
              <a:uLnTx/>
              <a:uFillTx/>
            </a:endParaRPr>
          </a:p>
          <a:p>
            <a:pPr marL="171450" marR="0" lvl="0" indent="-171450" algn="just" defTabSz="895350" rtl="0" eaLnBrk="1" fontAlgn="auto" latinLnBrk="0" hangingPunct="1">
              <a:lnSpc>
                <a:spcPts val="2000"/>
              </a:lnSpc>
              <a:spcBef>
                <a:spcPts val="1800"/>
              </a:spcBef>
              <a:spcAft>
                <a:spcPts val="0"/>
              </a:spcAft>
              <a:buClrTx/>
              <a:buSzPct val="120000"/>
              <a:buFont typeface="Wingdings" panose="05000000000000000000" pitchFamily="2" charset="2"/>
              <a:buChar char="Ø"/>
              <a:tabLst/>
              <a:defRPr/>
            </a:pPr>
            <a:endParaRPr lang="en-IN" dirty="0">
              <a:solidFill>
                <a:prstClr val="black"/>
              </a:solidFill>
            </a:endParaRPr>
          </a:p>
          <a:p>
            <a:pPr marL="171450" marR="0" lvl="0" indent="-171450" algn="just" defTabSz="895350" rtl="0" eaLnBrk="1" fontAlgn="auto" latinLnBrk="0" hangingPunct="1">
              <a:lnSpc>
                <a:spcPts val="2000"/>
              </a:lnSpc>
              <a:spcBef>
                <a:spcPts val="1800"/>
              </a:spcBef>
              <a:spcAft>
                <a:spcPts val="0"/>
              </a:spcAft>
              <a:buClrTx/>
              <a:buSzPct val="120000"/>
              <a:buFont typeface="Wingdings" panose="05000000000000000000" pitchFamily="2" charset="2"/>
              <a:buChar char="Ø"/>
              <a:tabLst/>
              <a:defRPr/>
            </a:pPr>
            <a:endParaRPr kumimoji="0" lang="en-IN" b="0" i="0" u="none" strike="noStrike" kern="1200" cap="none" spc="0" normalizeH="0" baseline="0" noProof="0" dirty="0">
              <a:ln>
                <a:noFill/>
              </a:ln>
              <a:solidFill>
                <a:prstClr val="black"/>
              </a:solidFill>
              <a:effectLst/>
              <a:uLnTx/>
              <a:uFillTx/>
            </a:endParaRPr>
          </a:p>
          <a:p>
            <a:pPr marL="171450" marR="0" lvl="0" indent="-171450" algn="just" defTabSz="895350" rtl="0" eaLnBrk="1" fontAlgn="auto" latinLnBrk="0" hangingPunct="1">
              <a:lnSpc>
                <a:spcPts val="2000"/>
              </a:lnSpc>
              <a:spcBef>
                <a:spcPts val="1800"/>
              </a:spcBef>
              <a:spcAft>
                <a:spcPts val="0"/>
              </a:spcAft>
              <a:buClrTx/>
              <a:buSzPct val="120000"/>
              <a:buFont typeface="Wingdings" panose="05000000000000000000" pitchFamily="2" charset="2"/>
              <a:buChar char="Ø"/>
              <a:tabLst/>
              <a:defRPr/>
            </a:pPr>
            <a:endParaRPr lang="en-IN" dirty="0">
              <a:solidFill>
                <a:prstClr val="black"/>
              </a:solidFill>
            </a:endParaRPr>
          </a:p>
          <a:p>
            <a:pPr marL="171450" marR="0" lvl="0" indent="-171450" algn="just" defTabSz="895350" rtl="0" eaLnBrk="1" fontAlgn="auto" latinLnBrk="0" hangingPunct="1">
              <a:lnSpc>
                <a:spcPts val="2000"/>
              </a:lnSpc>
              <a:spcBef>
                <a:spcPts val="1800"/>
              </a:spcBef>
              <a:spcAft>
                <a:spcPts val="0"/>
              </a:spcAft>
              <a:buClrTx/>
              <a:buSzPct val="120000"/>
              <a:buFont typeface="Wingdings" panose="05000000000000000000" pitchFamily="2" charset="2"/>
              <a:buChar char="Ø"/>
              <a:tabLst/>
              <a:defRPr/>
            </a:pPr>
            <a:endParaRPr kumimoji="0" lang="en-US" b="0" i="0" u="none" strike="noStrike" kern="1200" cap="none" spc="0" normalizeH="0" baseline="0" noProof="0" dirty="0">
              <a:ln>
                <a:noFill/>
              </a:ln>
              <a:solidFill>
                <a:prstClr val="black"/>
              </a:solidFill>
              <a:effectLst/>
              <a:uLnTx/>
              <a:uFillTx/>
            </a:endParaRPr>
          </a:p>
        </p:txBody>
      </p:sp>
      <p:sp>
        <p:nvSpPr>
          <p:cNvPr id="5" name="Rectangle 4">
            <a:extLst>
              <a:ext uri="{FF2B5EF4-FFF2-40B4-BE49-F238E27FC236}">
                <a16:creationId xmlns:a16="http://schemas.microsoft.com/office/drawing/2014/main" id="{4912A8D1-ACAB-47E8-9A3B-FEFB1035E4F1}"/>
              </a:ext>
            </a:extLst>
          </p:cNvPr>
          <p:cNvSpPr/>
          <p:nvPr/>
        </p:nvSpPr>
        <p:spPr>
          <a:xfrm>
            <a:off x="564324" y="2757289"/>
            <a:ext cx="7070975" cy="292068"/>
          </a:xfrm>
          <a:prstGeom prst="rect">
            <a:avLst/>
          </a:prstGeom>
        </p:spPr>
        <p:txBody>
          <a:bodyPr wrap="square">
            <a:spAutoFit/>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en-IN" sz="10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outh-East Asia Fertilizer Usage Kg per Hectare of A</a:t>
            </a:r>
            <a:r>
              <a:rPr lang="en-IN" sz="1000" b="1" kern="0" dirty="0">
                <a:solidFill>
                  <a:prstClr val="black"/>
                </a:solidFill>
                <a:latin typeface="Verdana" panose="020B0604030504040204" pitchFamily="34" charset="0"/>
                <a:ea typeface="Verdana" panose="020B0604030504040204" pitchFamily="34" charset="0"/>
                <a:cs typeface="Verdana" panose="020B0604030504040204" pitchFamily="34" charset="0"/>
              </a:rPr>
              <a:t>rable Land</a:t>
            </a:r>
            <a:r>
              <a:rPr kumimoji="0" lang="en-IN" sz="10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lang="en-IN" sz="1000" b="1" kern="0" dirty="0">
                <a:solidFill>
                  <a:prstClr val="black"/>
                </a:solidFill>
                <a:latin typeface="Verdana" panose="020B0604030504040204" pitchFamily="34" charset="0"/>
                <a:ea typeface="Verdana" panose="020B0604030504040204" pitchFamily="34" charset="0"/>
                <a:cs typeface="Verdana" panose="020B0604030504040204" pitchFamily="34" charset="0"/>
              </a:rPr>
              <a:t>By Country, 2016-2019</a:t>
            </a:r>
          </a:p>
        </p:txBody>
      </p:sp>
      <p:sp>
        <p:nvSpPr>
          <p:cNvPr id="7" name="TextBox 6">
            <a:extLst>
              <a:ext uri="{FF2B5EF4-FFF2-40B4-BE49-F238E27FC236}">
                <a16:creationId xmlns:a16="http://schemas.microsoft.com/office/drawing/2014/main" id="{EC2760E7-5848-4C59-B51C-B7AFD63707A1}"/>
              </a:ext>
            </a:extLst>
          </p:cNvPr>
          <p:cNvSpPr txBox="1"/>
          <p:nvPr/>
        </p:nvSpPr>
        <p:spPr>
          <a:xfrm>
            <a:off x="6065027" y="5911941"/>
            <a:ext cx="2522381" cy="202630"/>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7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700" b="0" i="1" u="none" strike="noStrike" kern="1200" cap="none" spc="0" normalizeH="0" baseline="0" noProof="0" dirty="0">
                <a:ln>
                  <a:noFill/>
                </a:ln>
                <a:solidFill>
                  <a:srgbClr val="7F7F7F"/>
                </a:solidFill>
                <a:effectLst/>
                <a:uLnTx/>
                <a:uFillTx/>
                <a:latin typeface="Verdana" panose="020B0604030504040204" pitchFamily="34" charset="0"/>
                <a:ea typeface="Verdana" panose="020B0604030504040204" pitchFamily="34" charset="0"/>
                <a:cs typeface="Verdana" panose="020B0604030504040204" pitchFamily="34" charset="0"/>
              </a:rPr>
              <a:t>Ministry of Agriculture &amp; Farmers Welfare</a:t>
            </a:r>
            <a:endParaRPr kumimoji="0" lang="en-IN" sz="7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8" name="Group 7">
            <a:extLst>
              <a:ext uri="{FF2B5EF4-FFF2-40B4-BE49-F238E27FC236}">
                <a16:creationId xmlns:a16="http://schemas.microsoft.com/office/drawing/2014/main" id="{418EC9CD-CF36-4370-883E-8E489354B405}"/>
              </a:ext>
            </a:extLst>
          </p:cNvPr>
          <p:cNvGrpSpPr/>
          <p:nvPr/>
        </p:nvGrpSpPr>
        <p:grpSpPr>
          <a:xfrm>
            <a:off x="540270" y="3429000"/>
            <a:ext cx="8252869" cy="2429861"/>
            <a:chOff x="451363" y="2403749"/>
            <a:chExt cx="8252869" cy="2429861"/>
          </a:xfrm>
        </p:grpSpPr>
        <p:graphicFrame>
          <p:nvGraphicFramePr>
            <p:cNvPr id="4" name="Chart 3">
              <a:extLst>
                <a:ext uri="{FF2B5EF4-FFF2-40B4-BE49-F238E27FC236}">
                  <a16:creationId xmlns:a16="http://schemas.microsoft.com/office/drawing/2014/main" id="{07F00537-E6CB-44B4-A0B2-BD9094DFD032}"/>
                </a:ext>
              </a:extLst>
            </p:cNvPr>
            <p:cNvGraphicFramePr/>
            <p:nvPr>
              <p:extLst>
                <p:ext uri="{D42A27DB-BD31-4B8C-83A1-F6EECF244321}">
                  <p14:modId xmlns:p14="http://schemas.microsoft.com/office/powerpoint/2010/main" val="1381152994"/>
                </p:ext>
              </p:extLst>
            </p:nvPr>
          </p:nvGraphicFramePr>
          <p:xfrm>
            <a:off x="451363" y="2403749"/>
            <a:ext cx="8252869" cy="1849244"/>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45FDE79B-3299-40F3-95AD-ACC2531CA22A}"/>
                </a:ext>
              </a:extLst>
            </p:cNvPr>
            <p:cNvSpPr txBox="1"/>
            <p:nvPr/>
          </p:nvSpPr>
          <p:spPr>
            <a:xfrm>
              <a:off x="1311965" y="4572000"/>
              <a:ext cx="490331" cy="261610"/>
            </a:xfrm>
            <a:prstGeom prst="rect">
              <a:avLst/>
            </a:prstGeom>
            <a:noFill/>
            <a:ln>
              <a:solidFill>
                <a:schemeClr val="tx1"/>
              </a:solidFill>
            </a:ln>
          </p:spPr>
          <p:txBody>
            <a:bodyPr wrap="square" rtlCol="0">
              <a:spAutoFit/>
            </a:bodyPr>
            <a:lstStyle/>
            <a:p>
              <a:r>
                <a:rPr lang="en-US" sz="1100" dirty="0"/>
                <a:t>2016</a:t>
              </a:r>
              <a:endParaRPr lang="en-IN" sz="1100" dirty="0"/>
            </a:p>
          </p:txBody>
        </p:sp>
        <p:sp>
          <p:nvSpPr>
            <p:cNvPr id="9" name="TextBox 8">
              <a:extLst>
                <a:ext uri="{FF2B5EF4-FFF2-40B4-BE49-F238E27FC236}">
                  <a16:creationId xmlns:a16="http://schemas.microsoft.com/office/drawing/2014/main" id="{B8DFA9ED-EF71-409F-9411-436C86BEA67A}"/>
                </a:ext>
              </a:extLst>
            </p:cNvPr>
            <p:cNvSpPr txBox="1"/>
            <p:nvPr/>
          </p:nvSpPr>
          <p:spPr>
            <a:xfrm>
              <a:off x="3332921" y="4561420"/>
              <a:ext cx="490331" cy="261610"/>
            </a:xfrm>
            <a:prstGeom prst="rect">
              <a:avLst/>
            </a:prstGeom>
            <a:noFill/>
            <a:ln>
              <a:solidFill>
                <a:schemeClr val="tx1"/>
              </a:solidFill>
            </a:ln>
          </p:spPr>
          <p:txBody>
            <a:bodyPr wrap="square" rtlCol="0">
              <a:spAutoFit/>
            </a:bodyPr>
            <a:lstStyle/>
            <a:p>
              <a:r>
                <a:rPr lang="en-US" sz="1100" dirty="0"/>
                <a:t>2017</a:t>
              </a:r>
              <a:endParaRPr lang="en-IN" sz="1100" dirty="0"/>
            </a:p>
          </p:txBody>
        </p:sp>
        <p:sp>
          <p:nvSpPr>
            <p:cNvPr id="10" name="TextBox 9">
              <a:extLst>
                <a:ext uri="{FF2B5EF4-FFF2-40B4-BE49-F238E27FC236}">
                  <a16:creationId xmlns:a16="http://schemas.microsoft.com/office/drawing/2014/main" id="{F281898E-D56A-4F78-9B8F-06EF3CB5669F}"/>
                </a:ext>
              </a:extLst>
            </p:cNvPr>
            <p:cNvSpPr txBox="1"/>
            <p:nvPr/>
          </p:nvSpPr>
          <p:spPr>
            <a:xfrm>
              <a:off x="5353877" y="4550840"/>
              <a:ext cx="490331" cy="261610"/>
            </a:xfrm>
            <a:prstGeom prst="rect">
              <a:avLst/>
            </a:prstGeom>
            <a:noFill/>
            <a:ln>
              <a:solidFill>
                <a:schemeClr val="tx1"/>
              </a:solidFill>
            </a:ln>
          </p:spPr>
          <p:txBody>
            <a:bodyPr wrap="square" rtlCol="0">
              <a:spAutoFit/>
            </a:bodyPr>
            <a:lstStyle/>
            <a:p>
              <a:r>
                <a:rPr lang="en-US" sz="1100" dirty="0"/>
                <a:t>2018</a:t>
              </a:r>
              <a:endParaRPr lang="en-IN" sz="1100" dirty="0"/>
            </a:p>
          </p:txBody>
        </p:sp>
        <p:sp>
          <p:nvSpPr>
            <p:cNvPr id="11" name="TextBox 10">
              <a:extLst>
                <a:ext uri="{FF2B5EF4-FFF2-40B4-BE49-F238E27FC236}">
                  <a16:creationId xmlns:a16="http://schemas.microsoft.com/office/drawing/2014/main" id="{6BBF076B-A298-4239-82FC-1154BE93E3E1}"/>
                </a:ext>
              </a:extLst>
            </p:cNvPr>
            <p:cNvSpPr txBox="1"/>
            <p:nvPr/>
          </p:nvSpPr>
          <p:spPr>
            <a:xfrm>
              <a:off x="7374833" y="4540260"/>
              <a:ext cx="490331" cy="261610"/>
            </a:xfrm>
            <a:prstGeom prst="rect">
              <a:avLst/>
            </a:prstGeom>
            <a:noFill/>
            <a:ln>
              <a:solidFill>
                <a:schemeClr val="tx1"/>
              </a:solidFill>
            </a:ln>
          </p:spPr>
          <p:txBody>
            <a:bodyPr wrap="square" rtlCol="0">
              <a:spAutoFit/>
            </a:bodyPr>
            <a:lstStyle/>
            <a:p>
              <a:r>
                <a:rPr lang="en-US" sz="1100" dirty="0"/>
                <a:t>2019</a:t>
              </a:r>
              <a:endParaRPr lang="en-IN" sz="1100" dirty="0"/>
            </a:p>
          </p:txBody>
        </p:sp>
      </p:grpSp>
    </p:spTree>
    <p:extLst>
      <p:ext uri="{BB962C8B-B14F-4D97-AF65-F5344CB8AC3E}">
        <p14:creationId xmlns:p14="http://schemas.microsoft.com/office/powerpoint/2010/main" val="103597749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A1124752-5D85-4915-B331-37AA1F12F3CC}"/>
              </a:ext>
            </a:extLst>
          </p:cNvPr>
          <p:cNvSpPr txBox="1">
            <a:spLocks/>
          </p:cNvSpPr>
          <p:nvPr/>
        </p:nvSpPr>
        <p:spPr>
          <a:xfrm>
            <a:off x="205740" y="270771"/>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rivers</a:t>
            </a:r>
          </a:p>
        </p:txBody>
      </p:sp>
      <p:sp>
        <p:nvSpPr>
          <p:cNvPr id="6" name="Subtitle 2">
            <a:extLst>
              <a:ext uri="{FF2B5EF4-FFF2-40B4-BE49-F238E27FC236}">
                <a16:creationId xmlns:a16="http://schemas.microsoft.com/office/drawing/2014/main" id="{803D7FB1-8ECC-4077-8E47-49A1A98DD67B}"/>
              </a:ext>
            </a:extLst>
          </p:cNvPr>
          <p:cNvSpPr txBox="1">
            <a:spLocks/>
          </p:cNvSpPr>
          <p:nvPr/>
        </p:nvSpPr>
        <p:spPr>
          <a:xfrm>
            <a:off x="205740" y="747277"/>
            <a:ext cx="8620208" cy="5641170"/>
          </a:xfrm>
          <a:prstGeom prst="rect">
            <a:avLst/>
          </a:prstGeom>
          <a:noFill/>
          <a:ln>
            <a:noFill/>
          </a:ln>
          <a:effectLst>
            <a:outerShdw blurRad="63500" sx="102000" sy="102000" algn="ctr" rotWithShape="0">
              <a:prstClr val="black">
                <a:alpha val="40000"/>
              </a:prstClr>
            </a:outerShdw>
          </a:effectLst>
        </p:spPr>
        <p:txBody>
          <a:bodyPr vert="horz" lIns="91440" tIns="45720" rIns="91440" bIns="45720" rtlCol="0">
            <a:noAutofit/>
          </a:bodyPr>
          <a:lstStyle>
            <a:lvl1pPr marL="171450" indent="-171450" algn="just" defTabSz="914400" rtl="0" eaLnBrk="1" latinLnBrk="0" hangingPunct="1">
              <a:lnSpc>
                <a:spcPct val="200000"/>
              </a:lnSpc>
              <a:spcBef>
                <a:spcPts val="1000"/>
              </a:spcBef>
              <a:buFontTx/>
              <a:buBlip>
                <a:blip r:embed="rId2"/>
              </a:buBlip>
              <a:defRPr lang="en-US" sz="10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just" defTabSz="895350" rtl="0" eaLnBrk="1" fontAlgn="auto" latinLnBrk="0" hangingPunct="1">
              <a:lnSpc>
                <a:spcPct val="150000"/>
              </a:lnSpc>
              <a:spcBef>
                <a:spcPts val="1800"/>
              </a:spcBef>
              <a:spcAft>
                <a:spcPts val="0"/>
              </a:spcAft>
              <a:buClrTx/>
              <a:buSzPct val="120000"/>
              <a:buFontTx/>
              <a:buNone/>
              <a:tabLst/>
              <a:defRPr/>
            </a:pPr>
            <a:r>
              <a:rPr lang="en-IN" b="1" dirty="0">
                <a:solidFill>
                  <a:prstClr val="black"/>
                </a:solidFill>
              </a:rPr>
              <a:t>Investment in Animal Husbandry Sector</a:t>
            </a:r>
            <a:endParaRPr kumimoji="0" lang="en-IN" b="1" i="0" u="none" strike="noStrike" kern="1200" cap="none" spc="0" normalizeH="0" baseline="0" noProof="0" dirty="0">
              <a:ln>
                <a:noFill/>
              </a:ln>
              <a:solidFill>
                <a:prstClr val="black"/>
              </a:solidFill>
              <a:effectLst/>
              <a:uLnTx/>
              <a:uFillTx/>
            </a:endParaRPr>
          </a:p>
          <a:p>
            <a:pPr marL="228600" lvl="0" indent="-228600" algn="just" defTabSz="444500">
              <a:lnSpc>
                <a:spcPct val="150000"/>
              </a:lnSpc>
              <a:spcBef>
                <a:spcPct val="0"/>
              </a:spcBef>
              <a:spcAft>
                <a:spcPct val="15000"/>
              </a:spcAft>
              <a:buFont typeface="Wingdings" panose="05000000000000000000" pitchFamily="2" charset="2"/>
              <a:buChar char="§"/>
              <a:defRPr/>
            </a:pP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South East Asia is the sixth largest animal husbandry region in the world. As a result, driving the demand for raw material feed required for the production of animal husbandry sector.  In 2020, the pork production in South East Asia stood at 4.75 million metric tonnes. Rising prices of pork in the country are imparting growth to the investments in the hog sector of the country, generating substantial demand for feed raw material. </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n 2019, HAID, Singapore inaugurated an animal feed production facility in Hai Duong province, of Vietnam having a production capacity of 500,000 tonnes per annum. </a:t>
            </a:r>
          </a:p>
          <a:p>
            <a:pPr marL="228600" lvl="0" indent="-228600" algn="just" defTabSz="444500">
              <a:lnSpc>
                <a:spcPct val="150000"/>
              </a:lnSpc>
              <a:spcBef>
                <a:spcPct val="0"/>
              </a:spcBef>
              <a:spcAft>
                <a:spcPct val="15000"/>
              </a:spcAft>
              <a:buFont typeface="Wingdings" panose="05000000000000000000" pitchFamily="2" charset="2"/>
              <a:buChar char="§"/>
              <a:defRPr/>
            </a:pPr>
            <a:endParaRPr lang="en-US" dirty="0">
              <a:solidFill>
                <a:prstClr val="black"/>
              </a:solidFill>
            </a:endParaRPr>
          </a:p>
          <a:p>
            <a:pPr marL="228600" lvl="0" indent="-228600" algn="just" defTabSz="444500">
              <a:lnSpc>
                <a:spcPct val="150000"/>
              </a:lnSpc>
              <a:spcBef>
                <a:spcPct val="0"/>
              </a:spcBef>
              <a:spcAft>
                <a:spcPct val="15000"/>
              </a:spcAft>
              <a:buFont typeface="Wingdings" panose="05000000000000000000" pitchFamily="2" charset="2"/>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n 2018, CP Group, Thailand set up a production unit in Vietnam, increasing their total animal feed production capacity to over 400,000 tonnes per year. </a:t>
            </a:r>
            <a:r>
              <a:rPr lang="en-IN" sz="1000"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rPr>
              <a:t>Rapid economic growth is resulting in rising disposable income of Vietnam. As a result, more and more middle class &amp; lower middle class population are able to afford meat, which was once considered a luxury. Moreover, increasing population is further fuelling the consumption of meat, which is consequently increasing the demand for animal feed for livestock. The livestock sector accounts for one-third of overall agricultural output of the country, showcasing growth faster than that of  crop production. Furthermore, imports of meat is also witnessing distinct rise in the country. </a:t>
            </a:r>
          </a:p>
          <a:p>
            <a:pPr marL="0" indent="0" defTabSz="444500">
              <a:lnSpc>
                <a:spcPct val="150000"/>
              </a:lnSpc>
              <a:spcBef>
                <a:spcPct val="0"/>
              </a:spcBef>
              <a:spcAft>
                <a:spcPct val="15000"/>
              </a:spcAft>
              <a:buNone/>
              <a:defRPr/>
            </a:pPr>
            <a:endParaRPr lang="en-IN" b="1" dirty="0">
              <a:solidFill>
                <a:prstClr val="black"/>
              </a:solidFill>
            </a:endParaRPr>
          </a:p>
          <a:p>
            <a:pPr marL="0" indent="0" defTabSz="444500">
              <a:lnSpc>
                <a:spcPct val="150000"/>
              </a:lnSpc>
              <a:spcBef>
                <a:spcPct val="0"/>
              </a:spcBef>
              <a:spcAft>
                <a:spcPct val="15000"/>
              </a:spcAft>
              <a:buNone/>
              <a:defRPr/>
            </a:pPr>
            <a:r>
              <a:rPr lang="en-IN" b="1" dirty="0">
                <a:solidFill>
                  <a:prstClr val="black"/>
                </a:solidFill>
              </a:rPr>
              <a:t>Booming Manufacturing in Emerging Countries</a:t>
            </a:r>
            <a:endParaRPr lang="en-IN" sz="1000"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p>
            <a:pPr marL="228600" indent="-228600" defTabSz="444500">
              <a:lnSpc>
                <a:spcPct val="150000"/>
              </a:lnSpc>
              <a:spcBef>
                <a:spcPct val="0"/>
              </a:spcBef>
              <a:spcAft>
                <a:spcPct val="15000"/>
              </a:spcAft>
              <a:buFont typeface="Wingdings" panose="05000000000000000000" pitchFamily="2" charset="2"/>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On account of trade wars and global pandemic outbreak in China, a rising number of manufacturing companies are increasing focusing on shifting production to South East Asian countries such as India, Vietnam, Myanmar and the Philippines. Governments of these emerging nations are offering attractive incentives to move out of China and set up domestic production facilities.</a:t>
            </a:r>
          </a:p>
          <a:p>
            <a:pPr marL="228600" indent="-228600" defTabSz="444500">
              <a:lnSpc>
                <a:spcPct val="150000"/>
              </a:lnSpc>
              <a:spcBef>
                <a:spcPct val="0"/>
              </a:spcBef>
              <a:spcAft>
                <a:spcPct val="15000"/>
              </a:spcAft>
              <a:buFont typeface="Wingdings" panose="05000000000000000000" pitchFamily="2" charset="2"/>
              <a:buChar char="§"/>
              <a:defRPr/>
            </a:pPr>
            <a:endParaRPr lang="en-US" dirty="0">
              <a:solidFill>
                <a:prstClr val="black"/>
              </a:solidFill>
            </a:endParaRPr>
          </a:p>
          <a:p>
            <a:pPr marL="228600" indent="-228600" defTabSz="444500">
              <a:lnSpc>
                <a:spcPct val="150000"/>
              </a:lnSpc>
              <a:spcBef>
                <a:spcPct val="0"/>
              </a:spcBef>
              <a:spcAft>
                <a:spcPct val="15000"/>
              </a:spcAft>
              <a:buFont typeface="Wingdings" panose="05000000000000000000" pitchFamily="2" charset="2"/>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Consequently, copper sulfate manufacturers have a huge potential sales opportunity in these emerging nations as upcoming local manufacturing setups will create a new labor workforce domestically, which will subsequently increase demand for copper sulphate in the region</a:t>
            </a:r>
            <a:endPar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228600" lvl="0" indent="-228600" algn="just" defTabSz="444500">
              <a:spcBef>
                <a:spcPct val="0"/>
              </a:spcBef>
              <a:spcAft>
                <a:spcPct val="15000"/>
              </a:spcAft>
              <a:buFont typeface="Wingdings" panose="05000000000000000000" pitchFamily="2" charset="2"/>
              <a:buChar char="§"/>
              <a:defRPr/>
            </a:pPr>
            <a:endParaRPr lang="en-IN" sz="1000"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p>
            <a:pPr marL="0" marR="0" lvl="0" indent="0" algn="just" defTabSz="895350" rtl="0" eaLnBrk="1" fontAlgn="auto" latinLnBrk="0" hangingPunct="1">
              <a:lnSpc>
                <a:spcPts val="2000"/>
              </a:lnSpc>
              <a:spcBef>
                <a:spcPts val="1800"/>
              </a:spcBef>
              <a:spcAft>
                <a:spcPts val="0"/>
              </a:spcAft>
              <a:buClrTx/>
              <a:buSzPct val="120000"/>
              <a:buNone/>
              <a:tabLst/>
              <a:defRPr/>
            </a:pPr>
            <a:endParaRPr kumimoji="0" lang="en-US" b="0" i="0" u="none" strike="noStrike" kern="120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12459306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18FDFF0-F450-46E1-AED4-C070CF97B343}"/>
              </a:ext>
            </a:extLst>
          </p:cNvPr>
          <p:cNvSpPr txBox="1">
            <a:spLocks/>
          </p:cNvSpPr>
          <p:nvPr/>
        </p:nvSpPr>
        <p:spPr>
          <a:xfrm>
            <a:off x="232894" y="285883"/>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Challenges</a:t>
            </a:r>
          </a:p>
        </p:txBody>
      </p:sp>
      <p:sp>
        <p:nvSpPr>
          <p:cNvPr id="9" name="Subtitle 2">
            <a:extLst>
              <a:ext uri="{FF2B5EF4-FFF2-40B4-BE49-F238E27FC236}">
                <a16:creationId xmlns:a16="http://schemas.microsoft.com/office/drawing/2014/main" id="{7C9024B2-64DB-4C57-B3C3-5F29A18DA4F0}"/>
              </a:ext>
            </a:extLst>
          </p:cNvPr>
          <p:cNvSpPr txBox="1">
            <a:spLocks/>
          </p:cNvSpPr>
          <p:nvPr/>
        </p:nvSpPr>
        <p:spPr>
          <a:xfrm>
            <a:off x="256194" y="940552"/>
            <a:ext cx="8633902" cy="5917448"/>
          </a:xfrm>
          <a:prstGeom prst="rect">
            <a:avLst/>
          </a:prstGeom>
          <a:noFill/>
          <a:ln>
            <a:noFill/>
          </a:ln>
          <a:effectLst>
            <a:outerShdw blurRad="63500" sx="102000" sy="102000" algn="ctr" rotWithShape="0">
              <a:prstClr val="black">
                <a:alpha val="40000"/>
              </a:prstClr>
            </a:outerShdw>
          </a:effectLst>
        </p:spPr>
        <p:txBody>
          <a:bodyPr vert="horz" lIns="91440" tIns="45720" rIns="91440" bIns="45720" rtlCol="0">
            <a:noAutofit/>
          </a:bodyPr>
          <a:lstStyle>
            <a:lvl1pPr marL="171450" indent="-171450" algn="just" defTabSz="914400" rtl="0" eaLnBrk="1" latinLnBrk="0" hangingPunct="1">
              <a:lnSpc>
                <a:spcPct val="200000"/>
              </a:lnSpc>
              <a:spcBef>
                <a:spcPts val="1000"/>
              </a:spcBef>
              <a:buFontTx/>
              <a:buBlip>
                <a:blip r:embed="rId2"/>
              </a:buBlip>
              <a:defRPr lang="en-US" sz="10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just" defTabSz="895350" rtl="0" eaLnBrk="1" fontAlgn="auto" latinLnBrk="0" hangingPunct="1">
              <a:lnSpc>
                <a:spcPct val="150000"/>
              </a:lnSpc>
              <a:spcBef>
                <a:spcPts val="1200"/>
              </a:spcBef>
              <a:spcAft>
                <a:spcPts val="0"/>
              </a:spcAft>
              <a:buClrTx/>
              <a:buSzPct val="120000"/>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Threat from Product Substitution/Technology Development</a:t>
            </a:r>
          </a:p>
          <a:p>
            <a:pPr marR="0" lvl="0" algn="just" defTabSz="895350" rtl="0" eaLnBrk="1" fontAlgn="auto" latinLnBrk="0" hangingPunct="1">
              <a:lnSpc>
                <a:spcPct val="150000"/>
              </a:lnSpc>
              <a:spcBef>
                <a:spcPts val="1200"/>
              </a:spcBef>
              <a:spcAft>
                <a:spcPts val="0"/>
              </a:spcAft>
              <a:buClrTx/>
              <a:buSzPct val="120000"/>
              <a:buFont typeface="Arial" panose="020B0604020202020204" pitchFamily="34" charset="0"/>
              <a:buChar char="•"/>
              <a:tabLst/>
              <a:defRPr/>
            </a:pPr>
            <a:r>
              <a:rPr lang="en-US" dirty="0">
                <a:solidFill>
                  <a:prstClr val="black"/>
                </a:solidFill>
              </a:rPr>
              <a:t>Zinc Sulphate is moving into some markets that is currently occupied by copper sulphate, especially in agricultural applications. Zinc Sulphate is comparatively less toxic than copper sulphate as copper becomes toxic for animals due to skin absorption. Along with and economical protection, cost effectiveness also plays an important role in choosing the right fertilizer. The demand for Zinc Sulphate is anticipated to grow further in end user industries like agricultural and animal husbandry due to its use in animal feeds, agricultural sprays and fertilizers.</a:t>
            </a:r>
          </a:p>
          <a:p>
            <a:pPr marL="0" marR="0" lvl="0" indent="0" algn="just" defTabSz="895350" rtl="0" eaLnBrk="1" fontAlgn="auto" latinLnBrk="0" hangingPunct="1">
              <a:lnSpc>
                <a:spcPct val="150000"/>
              </a:lnSpc>
              <a:spcBef>
                <a:spcPts val="1200"/>
              </a:spcBef>
              <a:spcAft>
                <a:spcPts val="0"/>
              </a:spcAft>
              <a:buClrTx/>
              <a:buSzPct val="120000"/>
              <a:buNone/>
              <a:tabLst/>
              <a:defRPr/>
            </a:pPr>
            <a:endPar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marR="0" lvl="0" indent="-171450" algn="just" defTabSz="895350" rtl="0" eaLnBrk="1" fontAlgn="auto" latinLnBrk="0" hangingPunct="1">
              <a:lnSpc>
                <a:spcPct val="150000"/>
              </a:lnSpc>
              <a:spcBef>
                <a:spcPts val="1800"/>
              </a:spcBef>
              <a:spcAft>
                <a:spcPts val="0"/>
              </a:spcAft>
              <a:buClrTx/>
              <a:buSzPct val="120000"/>
              <a:buFont typeface="Wingdings" panose="05000000000000000000" pitchFamily="2" charset="2"/>
              <a:buChar char="Ø"/>
              <a:tabLst/>
              <a:defRPr/>
            </a:pPr>
            <a:endPar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0" name="TextBox 11">
            <a:extLst>
              <a:ext uri="{FF2B5EF4-FFF2-40B4-BE49-F238E27FC236}">
                <a16:creationId xmlns:a16="http://schemas.microsoft.com/office/drawing/2014/main" id="{21ED8542-C00D-4AB3-8152-D00CACADE37B}"/>
              </a:ext>
            </a:extLst>
          </p:cNvPr>
          <p:cNvSpPr txBox="1"/>
          <p:nvPr/>
        </p:nvSpPr>
        <p:spPr>
          <a:xfrm>
            <a:off x="7089504" y="6379678"/>
            <a:ext cx="2054496" cy="21544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800" i="1" dirty="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rPr>
              <a:t>Source: </a:t>
            </a:r>
            <a:r>
              <a:rPr lang="en-IN" sz="800" i="1" dirty="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rPr>
              <a:t>The World Bank</a:t>
            </a:r>
            <a:endParaRPr lang="en-US" sz="800" i="1" dirty="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Subtitle 2">
            <a:extLst>
              <a:ext uri="{FF2B5EF4-FFF2-40B4-BE49-F238E27FC236}">
                <a16:creationId xmlns:a16="http://schemas.microsoft.com/office/drawing/2014/main" id="{A67FB2C0-9494-48EE-A4C5-DDD4F1FDC82A}"/>
              </a:ext>
            </a:extLst>
          </p:cNvPr>
          <p:cNvSpPr txBox="1">
            <a:spLocks/>
          </p:cNvSpPr>
          <p:nvPr/>
        </p:nvSpPr>
        <p:spPr>
          <a:xfrm>
            <a:off x="253904" y="2632722"/>
            <a:ext cx="5006685" cy="3962400"/>
          </a:xfrm>
          <a:prstGeom prst="rect">
            <a:avLst/>
          </a:prstGeom>
          <a:noFill/>
          <a:ln>
            <a:noFill/>
          </a:ln>
          <a:effectLst>
            <a:outerShdw blurRad="63500" sx="102000" sy="102000" algn="ctr" rotWithShape="0">
              <a:prstClr val="black">
                <a:alpha val="40000"/>
              </a:prstClr>
            </a:outerShdw>
          </a:effectLst>
        </p:spPr>
        <p:txBody>
          <a:bodyPr vert="horz" lIns="91440" tIns="45720" rIns="91440" bIns="45720" rtlCol="0">
            <a:noAutofit/>
          </a:bodyPr>
          <a:lstStyle>
            <a:lvl1pPr marL="171450" indent="-171450" algn="just" defTabSz="914400" rtl="0" eaLnBrk="1" latinLnBrk="0" hangingPunct="1">
              <a:lnSpc>
                <a:spcPct val="200000"/>
              </a:lnSpc>
              <a:spcBef>
                <a:spcPts val="1000"/>
              </a:spcBef>
              <a:buFontTx/>
              <a:buBlip>
                <a:blip r:embed="rId2"/>
              </a:buBlip>
              <a:defRPr lang="en-US" sz="10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just" defTabSz="895350" rtl="0" eaLnBrk="1" fontAlgn="auto" latinLnBrk="0" hangingPunct="1">
              <a:spcBef>
                <a:spcPts val="0"/>
              </a:spcBef>
              <a:spcAft>
                <a:spcPts val="0"/>
              </a:spcAft>
              <a:buClrTx/>
              <a:buSzPct val="120000"/>
              <a:buFontTx/>
              <a:buNone/>
              <a:tabLst/>
              <a:defRPr/>
            </a:pPr>
            <a:endPar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just" defTabSz="895350" rtl="0" eaLnBrk="1" fontAlgn="auto" latinLnBrk="0" hangingPunct="1">
              <a:spcBef>
                <a:spcPts val="0"/>
              </a:spcBef>
              <a:spcAft>
                <a:spcPts val="0"/>
              </a:spcAft>
              <a:buClrTx/>
              <a:buSzPct val="120000"/>
              <a:buFontTx/>
              <a:buNone/>
              <a:tabLst/>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Widespread Adoption of Organic Farming </a:t>
            </a:r>
          </a:p>
          <a:p>
            <a:pPr marR="0" lvl="0" algn="just" defTabSz="895350" rtl="0" eaLnBrk="1" fontAlgn="auto" latinLnBrk="0" hangingPunct="1">
              <a:lnSpc>
                <a:spcPct val="150000"/>
              </a:lnSpc>
              <a:spcBef>
                <a:spcPts val="0"/>
              </a:spcBef>
              <a:spcAft>
                <a:spcPts val="0"/>
              </a:spcAft>
              <a:buClrTx/>
              <a:buSzPct val="120000"/>
              <a:buFont typeface="Arial" panose="020B0604020202020204" pitchFamily="34" charset="0"/>
              <a:buChar char="•"/>
              <a:tabLst/>
              <a:defRPr/>
            </a:pPr>
            <a:r>
              <a:rPr kumimoji="0" lang="en-IN" sz="100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Organic farming depends on sustainable techniques such </a:t>
            </a:r>
            <a:r>
              <a:rPr lang="en-IN" dirty="0">
                <a:solidFill>
                  <a:prstClr val="black"/>
                </a:solidFill>
              </a:rPr>
              <a:t>as lower use of agrochemicals including to Bordeaux mixture </a:t>
            </a:r>
            <a:r>
              <a:rPr kumimoji="0" lang="en-IN" sz="100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to enhance soil fertility and crop yield. Organic farming uses crop rotations, crop residues, animal manure, off-farm organic waste, mineral grade rock additives and biological system of nutrient mobilization and plant protection. T As of 2020, the area under organic agriculture across the Asia was about 6.2 million hectares with Philippines holding the largest share of nearly 72%, followed by Vietnam and Thailand with higher anticipated growth across these countries in forthcoming years. All these factors are expected to support the growth of copper sulphate across different farming techniques and methods in the region.</a:t>
            </a:r>
          </a:p>
          <a:p>
            <a:pPr marR="0" lvl="0" algn="just" defTabSz="895350" rtl="0" eaLnBrk="1" fontAlgn="auto" latinLnBrk="0" hangingPunct="1">
              <a:lnSpc>
                <a:spcPct val="150000"/>
              </a:lnSpc>
              <a:spcBef>
                <a:spcPts val="0"/>
              </a:spcBef>
              <a:spcAft>
                <a:spcPts val="0"/>
              </a:spcAft>
              <a:buClrTx/>
              <a:buSzPct val="120000"/>
              <a:buFont typeface="Wingdings" panose="05000000000000000000" pitchFamily="2" charset="2"/>
              <a:buChar char="Ø"/>
              <a:tabLst/>
              <a:defRPr/>
            </a:pPr>
            <a:endParaRPr kumimoji="0" lang="en-IN" sz="100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just" defTabSz="895350" rtl="0" eaLnBrk="1" fontAlgn="auto" latinLnBrk="0" hangingPunct="1">
              <a:spcBef>
                <a:spcPts val="0"/>
              </a:spcBef>
              <a:spcAft>
                <a:spcPts val="0"/>
              </a:spcAft>
              <a:buClrTx/>
              <a:buSzPct val="120000"/>
              <a:buNone/>
              <a:tabLst/>
              <a:defRPr/>
            </a:pP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2" name="TextBox 11">
            <a:extLst>
              <a:ext uri="{FF2B5EF4-FFF2-40B4-BE49-F238E27FC236}">
                <a16:creationId xmlns:a16="http://schemas.microsoft.com/office/drawing/2014/main" id="{4C9DAA50-BE12-49C6-A517-E6904E6C8603}"/>
              </a:ext>
            </a:extLst>
          </p:cNvPr>
          <p:cNvSpPr txBox="1"/>
          <p:nvPr/>
        </p:nvSpPr>
        <p:spPr>
          <a:xfrm>
            <a:off x="5659704" y="3049882"/>
            <a:ext cx="3657484" cy="522900"/>
          </a:xfrm>
          <a:prstGeom prst="rect">
            <a:avLst/>
          </a:prstGeom>
          <a:noFill/>
        </p:spPr>
        <p:txBody>
          <a:bodyPr wrap="square" rtlCol="0">
            <a:spAutoFit/>
          </a:bodyPr>
          <a:lstStyle/>
          <a:p>
            <a:pPr fontAlgn="base">
              <a:lnSpc>
                <a:spcPct val="150000"/>
              </a:lnSpc>
              <a:spcBef>
                <a:spcPct val="0"/>
              </a:spcBef>
              <a:spcAft>
                <a:spcPct val="0"/>
              </a:spcAft>
            </a:pPr>
            <a:r>
              <a:rPr lang="en-US" sz="1000" b="1" dirty="0">
                <a:latin typeface="Verdana" panose="020B0604030504040204" pitchFamily="34" charset="0"/>
                <a:ea typeface="Verdana" panose="020B0604030504040204" pitchFamily="34" charset="0"/>
                <a:cs typeface="Verdana" panose="020B0604030504040204" pitchFamily="34" charset="0"/>
              </a:rPr>
              <a:t>Agricultural Land Under Organic Farming, By Country, Hectares</a:t>
            </a:r>
          </a:p>
        </p:txBody>
      </p:sp>
      <p:sp>
        <p:nvSpPr>
          <p:cNvPr id="13" name="TextBox 12">
            <a:extLst>
              <a:ext uri="{FF2B5EF4-FFF2-40B4-BE49-F238E27FC236}">
                <a16:creationId xmlns:a16="http://schemas.microsoft.com/office/drawing/2014/main" id="{E0AA89CB-CB83-4F31-8A28-ACFE4A3066C1}"/>
              </a:ext>
            </a:extLst>
          </p:cNvPr>
          <p:cNvSpPr txBox="1"/>
          <p:nvPr/>
        </p:nvSpPr>
        <p:spPr>
          <a:xfrm>
            <a:off x="5786945" y="5818513"/>
            <a:ext cx="3150940" cy="298287"/>
          </a:xfrm>
          <a:prstGeom prst="rect">
            <a:avLst/>
          </a:prstGeom>
          <a:noFill/>
        </p:spPr>
        <p:txBody>
          <a:bodyPr wrap="square" rtlCol="0">
            <a:spAutoFit/>
          </a:bodyPr>
          <a:lstStyle/>
          <a:p>
            <a:pPr algn="just" fontAlgn="base">
              <a:lnSpc>
                <a:spcPct val="200000"/>
              </a:lnSpc>
              <a:spcBef>
                <a:spcPct val="0"/>
              </a:spcBef>
              <a:spcAft>
                <a:spcPct val="0"/>
              </a:spcAft>
            </a:pPr>
            <a:r>
              <a:rPr lang="en-US" sz="800" i="1" dirty="0">
                <a:solidFill>
                  <a:srgbClr val="7F7F7F"/>
                </a:solidFill>
                <a:latin typeface="Verdana" panose="020B0604030504040204" pitchFamily="34" charset="0"/>
                <a:ea typeface="Verdana" panose="020B0604030504040204" pitchFamily="34" charset="0"/>
                <a:cs typeface="Verdana" panose="020B0604030504040204" pitchFamily="34" charset="0"/>
              </a:rPr>
              <a:t>Source: </a:t>
            </a:r>
            <a:r>
              <a:rPr lang="en-IN" sz="800" i="1" dirty="0">
                <a:solidFill>
                  <a:srgbClr val="7F7F7F"/>
                </a:solidFill>
                <a:latin typeface="Verdana" panose="020B0604030504040204" pitchFamily="34" charset="0"/>
                <a:ea typeface="Verdana" panose="020B0604030504040204" pitchFamily="34" charset="0"/>
                <a:cs typeface="Verdana" panose="020B0604030504040204" pitchFamily="34" charset="0"/>
              </a:rPr>
              <a:t>Research Institute of Organic Agriculture (FiBL)</a:t>
            </a:r>
            <a:endParaRPr lang="en-US" sz="800" i="1" dirty="0">
              <a:solidFill>
                <a:srgbClr val="7F7F7F"/>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4" name="Chart 13">
            <a:extLst>
              <a:ext uri="{FF2B5EF4-FFF2-40B4-BE49-F238E27FC236}">
                <a16:creationId xmlns:a16="http://schemas.microsoft.com/office/drawing/2014/main" id="{93099156-1ED3-4108-9C67-0993AC7F2B24}"/>
              </a:ext>
            </a:extLst>
          </p:cNvPr>
          <p:cNvGraphicFramePr/>
          <p:nvPr>
            <p:extLst>
              <p:ext uri="{D42A27DB-BD31-4B8C-83A1-F6EECF244321}">
                <p14:modId xmlns:p14="http://schemas.microsoft.com/office/powerpoint/2010/main" val="1542224252"/>
              </p:ext>
            </p:extLst>
          </p:nvPr>
        </p:nvGraphicFramePr>
        <p:xfrm>
          <a:off x="5385540" y="3429000"/>
          <a:ext cx="3953750" cy="229669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154923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9F0F18-9454-4455-A154-642FD3CB58BD}"/>
              </a:ext>
            </a:extLst>
          </p:cNvPr>
          <p:cNvSpPr>
            <a:spLocks noGrp="1"/>
          </p:cNvSpPr>
          <p:nvPr>
            <p:ph type="body" sz="quarter" idx="4294967295"/>
          </p:nvPr>
        </p:nvSpPr>
        <p:spPr>
          <a:xfrm>
            <a:off x="164645" y="220698"/>
            <a:ext cx="7863840" cy="457200"/>
          </a:xfrm>
        </p:spPr>
        <p:txBody>
          <a:bodyPr>
            <a:normAutofit/>
          </a:bodyPr>
          <a:lstStyle/>
          <a:p>
            <a:pPr marL="0" indent="0">
              <a:buNone/>
            </a:pPr>
            <a:r>
              <a:rPr lang="en-US" sz="1400" b="1" dirty="0">
                <a:latin typeface="Arial" panose="020B0604020202020204" pitchFamily="34" charset="0"/>
                <a:cs typeface="Arial" panose="020B0604020202020204" pitchFamily="34" charset="0"/>
              </a:rPr>
              <a:t>List of Tables</a:t>
            </a:r>
          </a:p>
        </p:txBody>
      </p:sp>
      <p:sp>
        <p:nvSpPr>
          <p:cNvPr id="12" name="Freeform: Shape 11">
            <a:extLst>
              <a:ext uri="{FF2B5EF4-FFF2-40B4-BE49-F238E27FC236}">
                <a16:creationId xmlns:a16="http://schemas.microsoft.com/office/drawing/2014/main" id="{72F8C9AC-0A59-4BE1-BFE4-A7D7C2C3DB5D}"/>
              </a:ext>
            </a:extLst>
          </p:cNvPr>
          <p:cNvSpPr/>
          <p:nvPr/>
        </p:nvSpPr>
        <p:spPr>
          <a:xfrm>
            <a:off x="1741097" y="861338"/>
            <a:ext cx="5426671" cy="427394"/>
          </a:xfrm>
          <a:custGeom>
            <a:avLst/>
            <a:gdLst>
              <a:gd name="connsiteX0" fmla="*/ 0 w 5896040"/>
              <a:gd name="connsiteY0" fmla="*/ 0 h 508224"/>
              <a:gd name="connsiteX1" fmla="*/ 5896040 w 5896040"/>
              <a:gd name="connsiteY1" fmla="*/ 0 h 508224"/>
              <a:gd name="connsiteX2" fmla="*/ 5896040 w 5896040"/>
              <a:gd name="connsiteY2" fmla="*/ 508224 h 508224"/>
              <a:gd name="connsiteX3" fmla="*/ 0 w 5896040"/>
              <a:gd name="connsiteY3" fmla="*/ 508224 h 508224"/>
              <a:gd name="connsiteX4" fmla="*/ 0 w 5896040"/>
              <a:gd name="connsiteY4" fmla="*/ 0 h 508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6040" h="508224">
                <a:moveTo>
                  <a:pt x="0" y="0"/>
                </a:moveTo>
                <a:lnTo>
                  <a:pt x="5896040" y="0"/>
                </a:lnTo>
                <a:lnTo>
                  <a:pt x="5896040" y="508224"/>
                </a:lnTo>
                <a:lnTo>
                  <a:pt x="0" y="508224"/>
                </a:lnTo>
                <a:lnTo>
                  <a:pt x="0" y="0"/>
                </a:lnTo>
                <a:close/>
              </a:path>
            </a:pathLst>
          </a:cu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ir Coolers</a:t>
            </a:r>
            <a:endParaRPr kumimoji="0" lang="en-US" sz="1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6" name="Table 5">
            <a:extLst>
              <a:ext uri="{FF2B5EF4-FFF2-40B4-BE49-F238E27FC236}">
                <a16:creationId xmlns:a16="http://schemas.microsoft.com/office/drawing/2014/main" id="{8C86B285-72D7-4F39-9E3C-0B1305887B6A}"/>
              </a:ext>
            </a:extLst>
          </p:cNvPr>
          <p:cNvGraphicFramePr>
            <a:graphicFrameLocks noGrp="1"/>
          </p:cNvGraphicFramePr>
          <p:nvPr>
            <p:extLst>
              <p:ext uri="{D42A27DB-BD31-4B8C-83A1-F6EECF244321}">
                <p14:modId xmlns:p14="http://schemas.microsoft.com/office/powerpoint/2010/main" val="1019284944"/>
              </p:ext>
            </p:extLst>
          </p:nvPr>
        </p:nvGraphicFramePr>
        <p:xfrm>
          <a:off x="419100" y="779300"/>
          <a:ext cx="8145978" cy="3599547"/>
        </p:xfrm>
        <a:graphic>
          <a:graphicData uri="http://schemas.openxmlformats.org/drawingml/2006/table">
            <a:tbl>
              <a:tblPr firstRow="1">
                <a:tableStyleId>{0E3FDE45-AF77-4B5C-9715-49D594BDF05E}</a:tableStyleId>
              </a:tblPr>
              <a:tblGrid>
                <a:gridCol w="1001737">
                  <a:extLst>
                    <a:ext uri="{9D8B030D-6E8A-4147-A177-3AD203B41FA5}">
                      <a16:colId xmlns:a16="http://schemas.microsoft.com/office/drawing/2014/main" val="20000"/>
                    </a:ext>
                  </a:extLst>
                </a:gridCol>
                <a:gridCol w="6384490">
                  <a:extLst>
                    <a:ext uri="{9D8B030D-6E8A-4147-A177-3AD203B41FA5}">
                      <a16:colId xmlns:a16="http://schemas.microsoft.com/office/drawing/2014/main" val="20001"/>
                    </a:ext>
                  </a:extLst>
                </a:gridCol>
                <a:gridCol w="759751">
                  <a:extLst>
                    <a:ext uri="{9D8B030D-6E8A-4147-A177-3AD203B41FA5}">
                      <a16:colId xmlns:a16="http://schemas.microsoft.com/office/drawing/2014/main" val="20002"/>
                    </a:ext>
                  </a:extLst>
                </a:gridCol>
              </a:tblGrid>
              <a:tr h="237461">
                <a:tc>
                  <a:txBody>
                    <a:bodyPr/>
                    <a:lstStyle/>
                    <a:p>
                      <a:pPr marL="0" algn="ctr" defTabSz="914400" rtl="0" eaLnBrk="1" latinLnBrk="0" hangingPunct="1">
                        <a:lnSpc>
                          <a:spcPct val="100000"/>
                        </a:lnSpc>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S. No.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algn="ctr" defTabSz="914400" rtl="0" eaLnBrk="1" latinLnBrk="0" hangingPunct="1">
                        <a:lnSpc>
                          <a:spcPct val="100000"/>
                        </a:lnSpc>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Titl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Page N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extLst>
                  <a:ext uri="{0D108BD9-81ED-4DB2-BD59-A6C34878D82A}">
                    <a16:rowId xmlns:a16="http://schemas.microsoft.com/office/drawing/2014/main" val="10000"/>
                  </a:ext>
                </a:extLst>
              </a:tr>
              <a:tr h="23746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By Value, (USD Million), 2016-2026F</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71813591"/>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4515531"/>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By End Us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93715560"/>
                  </a:ext>
                </a:extLst>
              </a:tr>
              <a:tr h="275093">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50000"/>
                        </a:lnSpc>
                        <a:defRPr/>
                      </a:pPr>
                      <a:r>
                        <a:rPr lang="en-US" sz="900" b="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By Country, By Value, (USD Million), 2016-2026F</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45666480"/>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dirty="0">
                          <a:solidFill>
                            <a:schemeClr val="tx1"/>
                          </a:solidFill>
                          <a:latin typeface="Verdana" panose="020B0604030504040204" pitchFamily="34" charset="0"/>
                          <a:ea typeface="Verdana" panose="020B0604030504040204" pitchFamily="34" charset="0"/>
                          <a:cs typeface="Verdana" panose="020B0604030504040204" pitchFamily="34" charset="0"/>
                        </a:rPr>
                        <a:t>Indonesia Copper Sulphate Market Size, By Grade, By Value, (USD Million), 2016-2026F</a:t>
                      </a:r>
                      <a:endParaRPr lang="en-IN" sz="900" b="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62538610"/>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Indonesia Copper Sulphate Market Size, By End Us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0803781"/>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Thailand Copper Sulphate Market Size, By Grad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03399723"/>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Thailand Copper Sulphate Market Size, By End Us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08082881"/>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9: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Malaysia Copper Sulphate Market Size, By Grad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0870866"/>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1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Malaysia Copper Sulphate Market Size, By End Us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05512237"/>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Vietnam Copper Sulphate Market Size, By Grad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75563660"/>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1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Vietnam Copper Sulphate Market Size, By End Us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47519433"/>
                  </a:ext>
                </a:extLst>
              </a:tr>
              <a:tr h="23746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1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Philippines Copper Sulphate Market Size, By Grad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32129088"/>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Philippines Copper Sulphate Market Size, By End Us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47296127"/>
                  </a:ext>
                </a:extLst>
              </a:tr>
            </a:tbl>
          </a:graphicData>
        </a:graphic>
      </p:graphicFrame>
    </p:spTree>
    <p:extLst>
      <p:ext uri="{BB962C8B-B14F-4D97-AF65-F5344CB8AC3E}">
        <p14:creationId xmlns:p14="http://schemas.microsoft.com/office/powerpoint/2010/main" val="7970796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C6616F3-FF0B-4ADA-8870-1CA10EF417E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 y="0"/>
            <a:ext cx="9144000" cy="6858000"/>
          </a:xfrm>
          <a:prstGeom prst="rect">
            <a:avLst/>
          </a:prstGeom>
        </p:spPr>
      </p:pic>
      <p:sp>
        <p:nvSpPr>
          <p:cNvPr id="5" name="Content Placeholder 2">
            <a:extLst>
              <a:ext uri="{FF2B5EF4-FFF2-40B4-BE49-F238E27FC236}">
                <a16:creationId xmlns:a16="http://schemas.microsoft.com/office/drawing/2014/main" id="{F888F908-0425-448A-9F48-E1135DF27EBA}"/>
              </a:ext>
            </a:extLst>
          </p:cNvPr>
          <p:cNvSpPr txBox="1">
            <a:spLocks/>
          </p:cNvSpPr>
          <p:nvPr/>
        </p:nvSpPr>
        <p:spPr>
          <a:xfrm>
            <a:off x="-1" y="5317240"/>
            <a:ext cx="9143999" cy="744836"/>
          </a:xfrm>
          <a:prstGeom prst="rect">
            <a:avLst/>
          </a:prstGeom>
        </p:spPr>
        <p:style>
          <a:lnRef idx="2">
            <a:schemeClr val="accent1"/>
          </a:lnRef>
          <a:fillRef idx="1">
            <a:schemeClr val="lt1"/>
          </a:fillRef>
          <a:effectRef idx="0">
            <a:schemeClr val="accent1"/>
          </a:effectRef>
          <a:fontRef idx="minor">
            <a:schemeClr val="dk1"/>
          </a:fontRef>
        </p:style>
        <p:txBody>
          <a:bodyPr vert="horz" lIns="91440" tIns="45720" rIns="91440" bIns="45720" rtlCol="0" anchor="ctr">
            <a:normAutofit/>
          </a:bodyPr>
          <a:lstStyle>
            <a:lvl1pPr marL="188595" indent="-188595" algn="l" defTabSz="754380" rtl="0" eaLnBrk="1" latinLnBrk="0" hangingPunct="1">
              <a:lnSpc>
                <a:spcPct val="90000"/>
              </a:lnSpc>
              <a:spcBef>
                <a:spcPts val="825"/>
              </a:spcBef>
              <a:buFont typeface="Arial" panose="020B0604020202020204" pitchFamily="34" charset="0"/>
              <a:buChar char="•"/>
              <a:defRPr sz="2310" kern="1200">
                <a:solidFill>
                  <a:schemeClr val="tx1"/>
                </a:solidFill>
                <a:latin typeface="+mn-lt"/>
                <a:ea typeface="+mn-ea"/>
                <a:cs typeface="+mn-cs"/>
              </a:defRPr>
            </a:lvl1pPr>
            <a:lvl2pPr marL="565785" indent="-188595" algn="l" defTabSz="754380" rtl="0" eaLnBrk="1" latinLnBrk="0" hangingPunct="1">
              <a:lnSpc>
                <a:spcPct val="90000"/>
              </a:lnSpc>
              <a:spcBef>
                <a:spcPts val="413"/>
              </a:spcBef>
              <a:buFont typeface="Arial" panose="020B0604020202020204" pitchFamily="34" charset="0"/>
              <a:buChar char="•"/>
              <a:defRPr sz="1980" kern="1200">
                <a:solidFill>
                  <a:schemeClr val="tx1"/>
                </a:solidFill>
                <a:latin typeface="+mn-lt"/>
                <a:ea typeface="+mn-ea"/>
                <a:cs typeface="+mn-cs"/>
              </a:defRPr>
            </a:lvl2pPr>
            <a:lvl3pPr marL="942975" indent="-188595" algn="l" defTabSz="754380" rtl="0" eaLnBrk="1" latinLnBrk="0" hangingPunct="1">
              <a:lnSpc>
                <a:spcPct val="90000"/>
              </a:lnSpc>
              <a:spcBef>
                <a:spcPts val="413"/>
              </a:spcBef>
              <a:buFont typeface="Arial" panose="020B0604020202020204" pitchFamily="34" charset="0"/>
              <a:buChar char="•"/>
              <a:defRPr sz="1650" kern="1200">
                <a:solidFill>
                  <a:schemeClr val="tx1"/>
                </a:solidFill>
                <a:latin typeface="+mn-lt"/>
                <a:ea typeface="+mn-ea"/>
                <a:cs typeface="+mn-cs"/>
              </a:defRPr>
            </a:lvl3pPr>
            <a:lvl4pPr marL="132016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4pPr>
            <a:lvl5pPr marL="169735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5pPr>
            <a:lvl6pPr marL="207454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6pPr>
            <a:lvl7pPr marL="245173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7pPr>
            <a:lvl8pPr marL="282892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8pPr>
            <a:lvl9pPr marL="320611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ts val="450"/>
              </a:spcAft>
              <a:buClrTx/>
              <a:buSzTx/>
              <a:buFont typeface="Arial" panose="020B0604020202020204" pitchFamily="34" charset="0"/>
              <a:buNone/>
              <a:tabLst/>
              <a:defRPr/>
            </a:pPr>
            <a:r>
              <a:rPr kumimoji="0" lang="en-US" sz="3100" b="1" i="0" u="none" strike="noStrike" kern="1200" cap="none" spc="-102" normalizeH="0" baseline="0" noProof="0" dirty="0">
                <a:ln>
                  <a:noFill/>
                </a:ln>
                <a:solidFill>
                  <a:prstClr val="black">
                    <a:lumMod val="85000"/>
                    <a:lumOff val="15000"/>
                  </a:prstClr>
                </a:solidFill>
                <a:effectLst>
                  <a:outerShdw blurRad="38100" dist="38100" dir="2700000" algn="tl">
                    <a:srgbClr val="000000">
                      <a:alpha val="43137"/>
                    </a:srgbClr>
                  </a:outerShdw>
                </a:effectLst>
                <a:uLnTx/>
                <a:uFillTx/>
                <a:latin typeface="Calibri Light" panose="020F0302020204030204"/>
                <a:ea typeface="+mn-ea"/>
                <a:cs typeface="+mn-cs"/>
              </a:rPr>
              <a:t>Market Trends &amp; Developments</a:t>
            </a:r>
          </a:p>
        </p:txBody>
      </p:sp>
    </p:spTree>
    <p:extLst>
      <p:ext uri="{BB962C8B-B14F-4D97-AF65-F5344CB8AC3E}">
        <p14:creationId xmlns:p14="http://schemas.microsoft.com/office/powerpoint/2010/main" val="353704812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0C2782C-35D0-4644-A529-E83111514A6B}"/>
              </a:ext>
            </a:extLst>
          </p:cNvPr>
          <p:cNvSpPr txBox="1">
            <a:spLocks/>
          </p:cNvSpPr>
          <p:nvPr/>
        </p:nvSpPr>
        <p:spPr>
          <a:xfrm>
            <a:off x="205740" y="270771"/>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Trends &amp; Developments</a:t>
            </a:r>
          </a:p>
        </p:txBody>
      </p:sp>
      <p:sp>
        <p:nvSpPr>
          <p:cNvPr id="13" name="Subtitle 2">
            <a:extLst>
              <a:ext uri="{FF2B5EF4-FFF2-40B4-BE49-F238E27FC236}">
                <a16:creationId xmlns:a16="http://schemas.microsoft.com/office/drawing/2014/main" id="{B18A4EBF-6A42-4E2C-9505-606246BC1526}"/>
              </a:ext>
            </a:extLst>
          </p:cNvPr>
          <p:cNvSpPr txBox="1">
            <a:spLocks/>
          </p:cNvSpPr>
          <p:nvPr/>
        </p:nvSpPr>
        <p:spPr>
          <a:xfrm>
            <a:off x="400203" y="412858"/>
            <a:ext cx="7988424" cy="6133717"/>
          </a:xfrm>
          <a:prstGeom prst="rect">
            <a:avLst/>
          </a:prstGeom>
          <a:noFill/>
          <a:ln>
            <a:noFill/>
          </a:ln>
          <a:effectLst>
            <a:outerShdw blurRad="63500" sx="102000" sy="102000" algn="ctr" rotWithShape="0">
              <a:prstClr val="black">
                <a:alpha val="40000"/>
              </a:prstClr>
            </a:outerShdw>
          </a:effectLst>
        </p:spPr>
        <p:txBody>
          <a:bodyPr vert="horz" lIns="91440" tIns="45720" rIns="91440" bIns="45720" rtlCol="0">
            <a:noAutofit/>
          </a:bodyPr>
          <a:lstStyle>
            <a:lvl1pPr marL="171450" indent="-171450" algn="just" defTabSz="914400" rtl="0" eaLnBrk="1" latinLnBrk="0" hangingPunct="1">
              <a:lnSpc>
                <a:spcPct val="200000"/>
              </a:lnSpc>
              <a:spcBef>
                <a:spcPts val="1000"/>
              </a:spcBef>
              <a:buFontTx/>
              <a:buBlip>
                <a:blip r:embed="rId2"/>
              </a:buBlip>
              <a:defRPr lang="en-US" sz="10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R="0" lvl="0" algn="just" defTabSz="895350" rtl="0" eaLnBrk="1" fontAlgn="auto" latinLnBrk="0" hangingPunct="1">
              <a:spcBef>
                <a:spcPts val="0"/>
              </a:spcBef>
              <a:spcAft>
                <a:spcPts val="0"/>
              </a:spcAft>
              <a:buClrTx/>
              <a:buSzPct val="120000"/>
              <a:buFont typeface="Wingdings" panose="05000000000000000000" pitchFamily="2" charset="2"/>
              <a:buChar char="Ø"/>
              <a:tabLst/>
              <a:defRPr/>
            </a:pPr>
            <a:endParaRPr kumimoji="0" lang="en-IN" sz="100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just" defTabSz="895350" rtl="0" eaLnBrk="1" fontAlgn="auto" latinLnBrk="0" hangingPunct="1">
              <a:spcBef>
                <a:spcPts val="0"/>
              </a:spcBef>
              <a:spcAft>
                <a:spcPts val="0"/>
              </a:spcAft>
              <a:buClrTx/>
              <a:buSzPct val="120000"/>
              <a:buFontTx/>
              <a:buNone/>
              <a:tabLst/>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arket Penetration </a:t>
            </a:r>
          </a:p>
          <a:p>
            <a:pPr marR="0" lvl="0" algn="just" defTabSz="895350" rtl="0" eaLnBrk="1" fontAlgn="auto" latinLnBrk="0" hangingPunct="1">
              <a:spcBef>
                <a:spcPts val="0"/>
              </a:spcBef>
              <a:spcAft>
                <a:spcPts val="0"/>
              </a:spcAft>
              <a:buClrTx/>
              <a:buSzPct val="120000"/>
              <a:buFont typeface="Arial" panose="020B0604020202020204" pitchFamily="34" charset="0"/>
              <a:buChar char="•"/>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ompanies are focusing on expanding their market reach and penetration across </a:t>
            </a:r>
            <a:r>
              <a:rPr lang="en-IN" dirty="0">
                <a:solidFill>
                  <a:prstClr val="black"/>
                </a:solidFill>
              </a:rPr>
              <a:t>various countries across South-east Asia </a:t>
            </a: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ue to strong competition from other players. Further, companies are offering lucrative incentives and schemes to dealers and distributors to boost their product sales. For instance, five percent cash discount is given to dealers on the marked dealer price coupled with several other offers derived for the dealers from region to region. Companies are pushing their products by giving complete solutions to end users, which includes product cost, labour cost, etc., which aids the companies to develop their eco system of products as well as distribution. For example, Buildmore Enterprise Co. Ltd., one of the leading copper sulphate manufacturer, also started the distribution of Cargill's raw materials for food and supplements in 2020. </a:t>
            </a:r>
            <a:endParaRPr kumimoji="0" lang="en-IN" sz="100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just" defTabSz="895350" rtl="0" eaLnBrk="1" fontAlgn="auto" latinLnBrk="0" hangingPunct="1">
              <a:spcBef>
                <a:spcPts val="0"/>
              </a:spcBef>
              <a:spcAft>
                <a:spcPts val="0"/>
              </a:spcAft>
              <a:buClrTx/>
              <a:buSzPct val="120000"/>
              <a:buFontTx/>
              <a:buNone/>
              <a:tabLst/>
              <a:defRPr/>
            </a:pPr>
            <a:endParaRPr kumimoji="0" lang="en-US" sz="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just" defTabSz="895350" rtl="0" eaLnBrk="1" fontAlgn="auto" latinLnBrk="0" hangingPunct="1">
              <a:spcBef>
                <a:spcPts val="0"/>
              </a:spcBef>
              <a:spcAft>
                <a:spcPts val="0"/>
              </a:spcAft>
              <a:buClrTx/>
              <a:buSzPct val="120000"/>
              <a:buFontTx/>
              <a:buNone/>
              <a:tabLst/>
              <a:defRPr/>
            </a:pPr>
            <a:r>
              <a:rPr lang="en-IN" b="1" dirty="0">
                <a:solidFill>
                  <a:prstClr val="black"/>
                </a:solidFill>
              </a:rPr>
              <a:t>Usage of Copper Sulphate Pentahydrate Feed Grade By Poultry and Pork Industry</a:t>
            </a:r>
            <a:endParaRPr lang="en-IN" dirty="0">
              <a:solidFill>
                <a:prstClr val="black"/>
              </a:solidFill>
            </a:endParaRPr>
          </a:p>
          <a:p>
            <a:pPr marR="0" lvl="0" algn="just" defTabSz="895350" rtl="0" eaLnBrk="1" fontAlgn="auto" latinLnBrk="0" hangingPunct="1">
              <a:spcBef>
                <a:spcPts val="0"/>
              </a:spcBef>
              <a:spcAft>
                <a:spcPts val="0"/>
              </a:spcAft>
              <a:buClrTx/>
              <a:buSzPct val="120000"/>
              <a:buFont typeface="Arial" panose="020B0604020202020204" pitchFamily="34" charset="0"/>
              <a:buChar char="•"/>
              <a:tabLst/>
              <a:defRPr/>
            </a:pPr>
            <a:r>
              <a:rPr lang="en-IN" dirty="0">
                <a:solidFill>
                  <a:prstClr val="black"/>
                </a:solidFill>
              </a:rPr>
              <a:t>In order to address the ever-growing demand for food, animal husbandry has observed significant growth in the recent years. This is directly driving the copper sulphate market across South-east Asia which is widely used in animal feed as a basic nutritional supplement to treat copper deficiency in livestock. It is being added in animals’ diet in salt and other animal licks which mainly helps in fattening of pigs and broiler chickens by stimulation the appetite. It is being consumed widely in many countries like Indonesia, Vietnam </a:t>
            </a:r>
            <a:r>
              <a:rPr kumimoji="0" lang="en-IN" sz="80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nd others across the South-east Asia as it also offers the lesser requirement of copper ions dosage by nearly 60% and hence</a:t>
            </a:r>
            <a:r>
              <a:rPr lang="en-IN" dirty="0">
                <a:solidFill>
                  <a:prstClr val="black"/>
                </a:solidFill>
              </a:rPr>
              <a:t>e significantly reduces the cost as well as poisonous effects associated with copper ions. T</a:t>
            </a:r>
            <a:r>
              <a:rPr kumimoji="0" lang="en-IN" sz="80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his will further drive the consumption of copper sulphate</a:t>
            </a:r>
            <a:r>
              <a:rPr lang="en-IN" dirty="0">
                <a:solidFill>
                  <a:prstClr val="black"/>
                </a:solidFill>
              </a:rPr>
              <a:t> </a:t>
            </a:r>
            <a:r>
              <a:rPr kumimoji="0" lang="en-IN" sz="80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 coming years following surge in population and food demand. </a:t>
            </a:r>
          </a:p>
          <a:p>
            <a:pPr marR="0" lvl="0" algn="just" defTabSz="895350" rtl="0" eaLnBrk="1" fontAlgn="auto" latinLnBrk="0" hangingPunct="1">
              <a:spcBef>
                <a:spcPts val="0"/>
              </a:spcBef>
              <a:spcAft>
                <a:spcPts val="0"/>
              </a:spcAft>
              <a:buClrTx/>
              <a:buSzPct val="120000"/>
              <a:buFont typeface="Arial" panose="020B0604020202020204" pitchFamily="34" charset="0"/>
              <a:buChar char="•"/>
              <a:tabLst/>
              <a:defRPr/>
            </a:pPr>
            <a:endParaRPr kumimoji="0" lang="en-IN" sz="100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just" defTabSz="895350" rtl="0" eaLnBrk="1" fontAlgn="auto" latinLnBrk="0" hangingPunct="1">
              <a:spcBef>
                <a:spcPts val="0"/>
              </a:spcBef>
              <a:spcAft>
                <a:spcPts val="0"/>
              </a:spcAft>
              <a:buClrTx/>
              <a:buSzPct val="120000"/>
              <a:buNone/>
              <a:tabLst/>
              <a:defRPr/>
            </a:pP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0703478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0C2782C-35D0-4644-A529-E83111514A6B}"/>
              </a:ext>
            </a:extLst>
          </p:cNvPr>
          <p:cNvSpPr txBox="1">
            <a:spLocks/>
          </p:cNvSpPr>
          <p:nvPr/>
        </p:nvSpPr>
        <p:spPr>
          <a:xfrm>
            <a:off x="205740" y="270771"/>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Trends &amp; Developments</a:t>
            </a:r>
          </a:p>
        </p:txBody>
      </p:sp>
      <p:sp>
        <p:nvSpPr>
          <p:cNvPr id="9" name="Subtitle 2">
            <a:extLst>
              <a:ext uri="{FF2B5EF4-FFF2-40B4-BE49-F238E27FC236}">
                <a16:creationId xmlns:a16="http://schemas.microsoft.com/office/drawing/2014/main" id="{9F165938-BAD6-45D4-9182-7232242741B4}"/>
              </a:ext>
            </a:extLst>
          </p:cNvPr>
          <p:cNvSpPr txBox="1">
            <a:spLocks/>
          </p:cNvSpPr>
          <p:nvPr/>
        </p:nvSpPr>
        <p:spPr>
          <a:xfrm>
            <a:off x="362359" y="3923567"/>
            <a:ext cx="8237884" cy="2405044"/>
          </a:xfrm>
          <a:prstGeom prst="rect">
            <a:avLst/>
          </a:prstGeom>
          <a:noFill/>
          <a:ln>
            <a:noFill/>
          </a:ln>
          <a:effectLst>
            <a:outerShdw blurRad="63500" sx="102000" sy="102000" algn="ctr" rotWithShape="0">
              <a:prstClr val="black">
                <a:alpha val="40000"/>
              </a:prstClr>
            </a:outerShdw>
          </a:effectLst>
        </p:spPr>
        <p:txBody>
          <a:bodyPr vert="horz" lIns="91440" tIns="45720" rIns="91440" bIns="45720" rtlCol="0">
            <a:noAutofit/>
          </a:bodyPr>
          <a:lstStyle>
            <a:lvl1pPr marL="171450" indent="-171450" algn="just" defTabSz="914400" rtl="0" eaLnBrk="1" latinLnBrk="0" hangingPunct="1">
              <a:lnSpc>
                <a:spcPct val="200000"/>
              </a:lnSpc>
              <a:spcBef>
                <a:spcPts val="1000"/>
              </a:spcBef>
              <a:buFontTx/>
              <a:buBlip>
                <a:blip r:embed="rId2"/>
              </a:buBlip>
              <a:defRPr lang="en-US" sz="10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just" defTabSz="895350" rtl="0" eaLnBrk="1" fontAlgn="auto" latinLnBrk="0" hangingPunct="1">
              <a:spcBef>
                <a:spcPts val="0"/>
              </a:spcBef>
              <a:spcAft>
                <a:spcPts val="0"/>
              </a:spcAft>
              <a:buClrTx/>
              <a:buSzPct val="120000"/>
              <a:buFontTx/>
              <a:buNone/>
              <a:tabLst/>
              <a:defRPr/>
            </a:pPr>
            <a:endPar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just" defTabSz="895350" rtl="0" eaLnBrk="1" fontAlgn="auto" latinLnBrk="0" hangingPunct="1">
              <a:spcBef>
                <a:spcPts val="0"/>
              </a:spcBef>
              <a:spcAft>
                <a:spcPts val="0"/>
              </a:spcAft>
              <a:buClrTx/>
              <a:buSzPct val="120000"/>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Emerging new  Recycling  M</a:t>
            </a:r>
            <a:r>
              <a:rPr lang="en-US" b="1" dirty="0" err="1">
                <a:solidFill>
                  <a:prstClr val="black"/>
                </a:solidFill>
              </a:rPr>
              <a:t>ethod</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for Production</a:t>
            </a:r>
          </a:p>
          <a:p>
            <a:pPr marL="0" marR="0" lvl="0" indent="0" algn="just" defTabSz="895350" rtl="0" eaLnBrk="1" fontAlgn="auto" latinLnBrk="0" hangingPunct="1">
              <a:spcBef>
                <a:spcPts val="0"/>
              </a:spcBef>
              <a:spcAft>
                <a:spcPts val="0"/>
              </a:spcAft>
              <a:buClrTx/>
              <a:buSzPct val="120000"/>
              <a:buFontTx/>
              <a:buNone/>
              <a:tabLst/>
              <a:defRPr/>
            </a:pP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R="0" lvl="0" algn="just" defTabSz="895350" rtl="0" eaLnBrk="1" fontAlgn="auto" latinLnBrk="0" hangingPunct="1">
              <a:lnSpc>
                <a:spcPct val="150000"/>
              </a:lnSpc>
              <a:spcBef>
                <a:spcPts val="0"/>
              </a:spcBef>
              <a:spcAft>
                <a:spcPts val="0"/>
              </a:spcAft>
              <a:buClrTx/>
              <a:buSzPct val="120000"/>
              <a:buFont typeface="Arial" panose="020B0604020202020204" pitchFamily="34" charset="0"/>
              <a:buChar char="•"/>
              <a:tabLst/>
              <a:defRPr/>
            </a:pPr>
            <a:r>
              <a:rPr lang="en-IN" dirty="0">
                <a:solidFill>
                  <a:prstClr val="black"/>
                </a:solidFill>
              </a:rPr>
              <a:t>Use of Virgin Copper as a starting raw material in Copper Sulphate is phasing out due to higher cost and non-availability. It is majorly used as a starting raw material where Coppers are mined and available in abundance. Research &amp; Development team across the globe has developed other recycling methods to produce Copper Sulphate from </a:t>
            </a:r>
            <a:r>
              <a:rPr lang="en-US" dirty="0">
                <a:solidFill>
                  <a:prstClr val="black"/>
                </a:solidFill>
              </a:rPr>
              <a:t>recycling non-Ferrous Copper scrap such as copper wires. </a:t>
            </a:r>
            <a:r>
              <a:rPr lang="en-IN" dirty="0">
                <a:solidFill>
                  <a:prstClr val="black"/>
                </a:solidFill>
              </a:rPr>
              <a:t>The scrap is refined, and molten metal is diluted with Sulphuric Acid in presence of air to produce Copper Sulphate. which includes heating copper scrap with Sulphur to produce copper sulphide which is further oxidized to form Copper Sulphate. Other method includes slow leaching in air of piles of low-grade ore  and bacterial action is employed to hasten the process. In this process, A solution of copper sulphate drains away from such heaps.</a:t>
            </a:r>
          </a:p>
        </p:txBody>
      </p:sp>
      <p:graphicFrame>
        <p:nvGraphicFramePr>
          <p:cNvPr id="10" name="Chart 9">
            <a:extLst>
              <a:ext uri="{FF2B5EF4-FFF2-40B4-BE49-F238E27FC236}">
                <a16:creationId xmlns:a16="http://schemas.microsoft.com/office/drawing/2014/main" id="{8DC6A856-DA3A-45D9-AFD1-77A9701DF829}"/>
              </a:ext>
            </a:extLst>
          </p:cNvPr>
          <p:cNvGraphicFramePr/>
          <p:nvPr>
            <p:extLst>
              <p:ext uri="{D42A27DB-BD31-4B8C-83A1-F6EECF244321}">
                <p14:modId xmlns:p14="http://schemas.microsoft.com/office/powerpoint/2010/main" val="3772470689"/>
              </p:ext>
            </p:extLst>
          </p:nvPr>
        </p:nvGraphicFramePr>
        <p:xfrm>
          <a:off x="335853" y="2810876"/>
          <a:ext cx="8688877" cy="1098516"/>
        </p:xfrm>
        <a:graphic>
          <a:graphicData uri="http://schemas.openxmlformats.org/drawingml/2006/chart">
            <c:chart xmlns:c="http://schemas.openxmlformats.org/drawingml/2006/chart" xmlns:r="http://schemas.openxmlformats.org/officeDocument/2006/relationships" r:id="rId3"/>
          </a:graphicData>
        </a:graphic>
      </p:graphicFrame>
      <p:sp>
        <p:nvSpPr>
          <p:cNvPr id="11" name="Subtitle 2">
            <a:extLst>
              <a:ext uri="{FF2B5EF4-FFF2-40B4-BE49-F238E27FC236}">
                <a16:creationId xmlns:a16="http://schemas.microsoft.com/office/drawing/2014/main" id="{1847A34A-F6CD-4031-970B-4A76A2050DCC}"/>
              </a:ext>
            </a:extLst>
          </p:cNvPr>
          <p:cNvSpPr txBox="1">
            <a:spLocks/>
          </p:cNvSpPr>
          <p:nvPr/>
        </p:nvSpPr>
        <p:spPr>
          <a:xfrm>
            <a:off x="362358" y="365209"/>
            <a:ext cx="8237884" cy="1268537"/>
          </a:xfrm>
          <a:prstGeom prst="rect">
            <a:avLst/>
          </a:prstGeom>
          <a:noFill/>
          <a:ln>
            <a:noFill/>
          </a:ln>
          <a:effectLst>
            <a:outerShdw blurRad="63500" sx="102000" sy="102000" algn="ctr" rotWithShape="0">
              <a:prstClr val="black">
                <a:alpha val="40000"/>
              </a:prstClr>
            </a:outerShdw>
          </a:effectLst>
        </p:spPr>
        <p:txBody>
          <a:bodyPr vert="horz" lIns="91440" tIns="45720" rIns="91440" bIns="45720" rtlCol="0">
            <a:noAutofit/>
          </a:bodyPr>
          <a:lstStyle>
            <a:lvl1pPr marL="171450" indent="-171450" algn="just" defTabSz="914400" rtl="0" eaLnBrk="1" latinLnBrk="0" hangingPunct="1">
              <a:lnSpc>
                <a:spcPct val="200000"/>
              </a:lnSpc>
              <a:spcBef>
                <a:spcPts val="1000"/>
              </a:spcBef>
              <a:buFontTx/>
              <a:buBlip>
                <a:blip r:embed="rId2"/>
              </a:buBlip>
              <a:defRPr lang="en-US" sz="10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just" defTabSz="895350" rtl="0" eaLnBrk="1" fontAlgn="auto" latinLnBrk="0" hangingPunct="1">
              <a:lnSpc>
                <a:spcPct val="150000"/>
              </a:lnSpc>
              <a:spcBef>
                <a:spcPts val="1200"/>
              </a:spcBef>
              <a:spcAft>
                <a:spcPts val="0"/>
              </a:spcAft>
              <a:buClrTx/>
              <a:buSzPct val="120000"/>
              <a:buNone/>
              <a:tabLst/>
              <a:defRPr/>
            </a:pPr>
            <a:endParaRPr lang="en-IN" b="1" dirty="0">
              <a:solidFill>
                <a:prstClr val="black"/>
              </a:solidFill>
            </a:endParaRPr>
          </a:p>
          <a:p>
            <a:pPr marL="0" marR="0" lvl="0" indent="0" algn="just" defTabSz="895350" rtl="0" eaLnBrk="1" fontAlgn="auto" latinLnBrk="0" hangingPunct="1">
              <a:lnSpc>
                <a:spcPct val="150000"/>
              </a:lnSpc>
              <a:spcBef>
                <a:spcPts val="1200"/>
              </a:spcBef>
              <a:spcAft>
                <a:spcPts val="0"/>
              </a:spcAft>
              <a:buClrTx/>
              <a:buSzPct val="120000"/>
              <a:buNone/>
              <a:tabLst/>
              <a:defRPr/>
            </a:pPr>
            <a:r>
              <a:rPr lang="en-IN" b="1" dirty="0">
                <a:solidFill>
                  <a:prstClr val="black"/>
                </a:solidFill>
              </a:rPr>
              <a:t>Volatility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 Raw Material Prices</a:t>
            </a:r>
          </a:p>
          <a:p>
            <a:pPr marR="0" lvl="0" algn="just" defTabSz="895350" rtl="0" eaLnBrk="1" fontAlgn="auto" latinLnBrk="0" hangingPunct="1">
              <a:lnSpc>
                <a:spcPct val="150000"/>
              </a:lnSpc>
              <a:spcBef>
                <a:spcPts val="1200"/>
              </a:spcBef>
              <a:spcAft>
                <a:spcPts val="0"/>
              </a:spcAft>
              <a:buClrTx/>
              <a:buSzPct val="120000"/>
              <a:buFont typeface="Arial" panose="020B0604020202020204" pitchFamily="34" charset="0"/>
              <a:buChar char="•"/>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The prices of copper sulphate are experiencing fluctuations in recent years as it is highly dependent on the price trend of sulphuric acid. Sulphuric Acid is the major raw material used for manufacturing copper sulphate along with copper oxide. This fluctuation is observed recently due to the COVID-19 pandemic across South-east Asia and worldwide impacted the prices of copper sulphate significantly and fertilizer industry as well. Thus, shifts in the feedstock prices affect the gross margin for copper sulphate manufacturers, thereby limiting the growth of this industry in the region.</a:t>
            </a:r>
          </a:p>
        </p:txBody>
      </p:sp>
      <p:sp>
        <p:nvSpPr>
          <p:cNvPr id="14" name="TextBox 11">
            <a:extLst>
              <a:ext uri="{FF2B5EF4-FFF2-40B4-BE49-F238E27FC236}">
                <a16:creationId xmlns:a16="http://schemas.microsoft.com/office/drawing/2014/main" id="{99EE8F01-C05E-4D92-84BB-1DA478DBBF63}"/>
              </a:ext>
            </a:extLst>
          </p:cNvPr>
          <p:cNvSpPr txBox="1"/>
          <p:nvPr/>
        </p:nvSpPr>
        <p:spPr>
          <a:xfrm>
            <a:off x="6753650" y="4052679"/>
            <a:ext cx="2054496" cy="21544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800" i="1" dirty="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rPr>
              <a:t>Source: </a:t>
            </a:r>
            <a:r>
              <a:rPr lang="en-IN" sz="800" i="1" dirty="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rPr>
              <a:t>ChemAnalyst</a:t>
            </a:r>
            <a:endParaRPr lang="en-US" sz="800" i="1" dirty="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Rectangle 14">
            <a:extLst>
              <a:ext uri="{FF2B5EF4-FFF2-40B4-BE49-F238E27FC236}">
                <a16:creationId xmlns:a16="http://schemas.microsoft.com/office/drawing/2014/main" id="{926A4D95-A1C9-46B4-9535-9B589418F9E1}"/>
              </a:ext>
            </a:extLst>
          </p:cNvPr>
          <p:cNvSpPr/>
          <p:nvPr/>
        </p:nvSpPr>
        <p:spPr>
          <a:xfrm>
            <a:off x="570262" y="2375521"/>
            <a:ext cx="9157880" cy="292068"/>
          </a:xfrm>
          <a:prstGeom prst="rect">
            <a:avLst/>
          </a:prstGeom>
        </p:spPr>
        <p:txBody>
          <a:bodyPr wrap="square">
            <a:spAutoFit/>
          </a:bodyPr>
          <a:lstStyle/>
          <a:p>
            <a:pPr lvl="0">
              <a:lnSpc>
                <a:spcPct val="150000"/>
              </a:lnSpc>
              <a:defRPr/>
            </a:pPr>
            <a:r>
              <a:rPr lang="en-IN" sz="1000" b="1"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South-East Asia Sulphuric Acid Pricing Analysis (USD/Tonnes), 2015-2021E </a:t>
            </a:r>
          </a:p>
        </p:txBody>
      </p:sp>
    </p:spTree>
    <p:extLst>
      <p:ext uri="{BB962C8B-B14F-4D97-AF65-F5344CB8AC3E}">
        <p14:creationId xmlns:p14="http://schemas.microsoft.com/office/powerpoint/2010/main" val="176578304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clock, watch&#10;&#10;Description automatically generated">
            <a:extLst>
              <a:ext uri="{FF2B5EF4-FFF2-40B4-BE49-F238E27FC236}">
                <a16:creationId xmlns:a16="http://schemas.microsoft.com/office/drawing/2014/main" id="{863EF046-F57E-439A-BAE0-6B4CA12ED8D8}"/>
              </a:ext>
            </a:extLst>
          </p:cNvPr>
          <p:cNvPicPr>
            <a:picLocks noChangeAspect="1"/>
          </p:cNvPicPr>
          <p:nvPr/>
        </p:nvPicPr>
        <p:blipFill rotWithShape="1">
          <a:blip r:embed="rId2">
            <a:extLst>
              <a:ext uri="{28A0092B-C50C-407E-A947-70E740481C1C}">
                <a14:useLocalDpi xmlns:a14="http://schemas.microsoft.com/office/drawing/2010/main" val="0"/>
              </a:ext>
            </a:extLst>
          </a:blip>
          <a:srcRect l="6782" r="4216" b="-1"/>
          <a:stretch/>
        </p:blipFill>
        <p:spPr>
          <a:xfrm>
            <a:off x="20" y="10"/>
            <a:ext cx="9143980" cy="6857990"/>
          </a:xfrm>
          <a:prstGeom prst="rect">
            <a:avLst/>
          </a:prstGeom>
        </p:spPr>
      </p:pic>
      <p:sp>
        <p:nvSpPr>
          <p:cNvPr id="10" name="Rectangle 9">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20142"/>
            <a:ext cx="9144000" cy="736551"/>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Content Placeholder 2">
            <a:extLst>
              <a:ext uri="{FF2B5EF4-FFF2-40B4-BE49-F238E27FC236}">
                <a16:creationId xmlns:a16="http://schemas.microsoft.com/office/drawing/2014/main" id="{F888F908-0425-448A-9F48-E1135DF27EBA}"/>
              </a:ext>
            </a:extLst>
          </p:cNvPr>
          <p:cNvSpPr txBox="1">
            <a:spLocks/>
          </p:cNvSpPr>
          <p:nvPr/>
        </p:nvSpPr>
        <p:spPr>
          <a:xfrm>
            <a:off x="392906" y="5317240"/>
            <a:ext cx="8408194" cy="744836"/>
          </a:xfrm>
          <a:prstGeom prst="rect">
            <a:avLst/>
          </a:prstGeom>
        </p:spPr>
        <p:style>
          <a:lnRef idx="2">
            <a:schemeClr val="accent1"/>
          </a:lnRef>
          <a:fillRef idx="1">
            <a:schemeClr val="lt1"/>
          </a:fillRef>
          <a:effectRef idx="0">
            <a:schemeClr val="accent1"/>
          </a:effectRef>
          <a:fontRef idx="minor">
            <a:schemeClr val="dk1"/>
          </a:fontRef>
        </p:style>
        <p:txBody>
          <a:bodyPr vert="horz" lIns="91440" tIns="45720" rIns="91440" bIns="45720" rtlCol="0" anchor="ctr">
            <a:normAutofit/>
          </a:bodyPr>
          <a:lstStyle>
            <a:lvl1pPr marL="188595" indent="-188595" algn="l" defTabSz="754380" rtl="0" eaLnBrk="1" latinLnBrk="0" hangingPunct="1">
              <a:lnSpc>
                <a:spcPct val="90000"/>
              </a:lnSpc>
              <a:spcBef>
                <a:spcPts val="825"/>
              </a:spcBef>
              <a:buFont typeface="Arial" panose="020B0604020202020204" pitchFamily="34" charset="0"/>
              <a:buChar char="•"/>
              <a:defRPr sz="2310" kern="1200">
                <a:solidFill>
                  <a:schemeClr val="tx1"/>
                </a:solidFill>
                <a:latin typeface="+mn-lt"/>
                <a:ea typeface="+mn-ea"/>
                <a:cs typeface="+mn-cs"/>
              </a:defRPr>
            </a:lvl1pPr>
            <a:lvl2pPr marL="565785" indent="-188595" algn="l" defTabSz="754380" rtl="0" eaLnBrk="1" latinLnBrk="0" hangingPunct="1">
              <a:lnSpc>
                <a:spcPct val="90000"/>
              </a:lnSpc>
              <a:spcBef>
                <a:spcPts val="413"/>
              </a:spcBef>
              <a:buFont typeface="Arial" panose="020B0604020202020204" pitchFamily="34" charset="0"/>
              <a:buChar char="•"/>
              <a:defRPr sz="1980" kern="1200">
                <a:solidFill>
                  <a:schemeClr val="tx1"/>
                </a:solidFill>
                <a:latin typeface="+mn-lt"/>
                <a:ea typeface="+mn-ea"/>
                <a:cs typeface="+mn-cs"/>
              </a:defRPr>
            </a:lvl2pPr>
            <a:lvl3pPr marL="942975" indent="-188595" algn="l" defTabSz="754380" rtl="0" eaLnBrk="1" latinLnBrk="0" hangingPunct="1">
              <a:lnSpc>
                <a:spcPct val="90000"/>
              </a:lnSpc>
              <a:spcBef>
                <a:spcPts val="413"/>
              </a:spcBef>
              <a:buFont typeface="Arial" panose="020B0604020202020204" pitchFamily="34" charset="0"/>
              <a:buChar char="•"/>
              <a:defRPr sz="1650" kern="1200">
                <a:solidFill>
                  <a:schemeClr val="tx1"/>
                </a:solidFill>
                <a:latin typeface="+mn-lt"/>
                <a:ea typeface="+mn-ea"/>
                <a:cs typeface="+mn-cs"/>
              </a:defRPr>
            </a:lvl3pPr>
            <a:lvl4pPr marL="132016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4pPr>
            <a:lvl5pPr marL="169735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5pPr>
            <a:lvl6pPr marL="207454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6pPr>
            <a:lvl7pPr marL="245173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7pPr>
            <a:lvl8pPr marL="282892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8pPr>
            <a:lvl9pPr marL="320611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9pPr>
          </a:lstStyle>
          <a:p>
            <a:pPr marL="0" marR="0" lvl="0" indent="0" algn="ctr" defTabSz="914400" fontAlgn="auto">
              <a:spcBef>
                <a:spcPct val="0"/>
              </a:spcBef>
              <a:spcAft>
                <a:spcPts val="450"/>
              </a:spcAft>
              <a:buClrTx/>
              <a:buSzTx/>
              <a:buNone/>
              <a:tabLst/>
              <a:defRPr/>
            </a:pPr>
            <a:r>
              <a:rPr kumimoji="0" lang="en-US" sz="3100" b="1" i="0" u="none" strike="noStrike" cap="none" spc="-102" normalizeH="0" baseline="0" noProof="0" dirty="0">
                <a:ln>
                  <a:noFill/>
                </a:ln>
                <a:solidFill>
                  <a:schemeClr val="tx1">
                    <a:lumMod val="85000"/>
                    <a:lumOff val="15000"/>
                  </a:schemeClr>
                </a:solidFill>
                <a:effectLst>
                  <a:outerShdw blurRad="38100" dist="38100" dir="2700000" algn="tl">
                    <a:srgbClr val="000000">
                      <a:alpha val="43137"/>
                    </a:srgbClr>
                  </a:outerShdw>
                </a:effectLst>
                <a:uLnTx/>
                <a:uFillTx/>
                <a:latin typeface="+mj-lt"/>
                <a:ea typeface="+mj-ea"/>
                <a:cs typeface="+mj-cs"/>
              </a:rPr>
              <a:t>Customer Analysis</a:t>
            </a:r>
          </a:p>
        </p:txBody>
      </p:sp>
      <p:cxnSp>
        <p:nvCxnSpPr>
          <p:cNvPr id="12" name="Straight Connector 11">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5241983"/>
            <a:ext cx="9144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34852"/>
            <a:ext cx="9144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415414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6BDED443-C794-40F1-ACDC-74A0E13E7653}"/>
              </a:ext>
            </a:extLst>
          </p:cNvPr>
          <p:cNvGraphicFramePr>
            <a:graphicFrameLocks noGrp="1"/>
          </p:cNvGraphicFramePr>
          <p:nvPr>
            <p:extLst>
              <p:ext uri="{D42A27DB-BD31-4B8C-83A1-F6EECF244321}">
                <p14:modId xmlns:p14="http://schemas.microsoft.com/office/powerpoint/2010/main" val="125970246"/>
              </p:ext>
            </p:extLst>
          </p:nvPr>
        </p:nvGraphicFramePr>
        <p:xfrm>
          <a:off x="76867" y="728869"/>
          <a:ext cx="8802090" cy="5145367"/>
        </p:xfrm>
        <a:graphic>
          <a:graphicData uri="http://schemas.openxmlformats.org/drawingml/2006/table">
            <a:tbl>
              <a:tblPr>
                <a:tableStyleId>{5C22544A-7EE6-4342-B048-85BDC9FD1C3A}</a:tableStyleId>
              </a:tblPr>
              <a:tblGrid>
                <a:gridCol w="424035">
                  <a:extLst>
                    <a:ext uri="{9D8B030D-6E8A-4147-A177-3AD203B41FA5}">
                      <a16:colId xmlns:a16="http://schemas.microsoft.com/office/drawing/2014/main" val="1912474705"/>
                    </a:ext>
                  </a:extLst>
                </a:gridCol>
                <a:gridCol w="1474918">
                  <a:extLst>
                    <a:ext uri="{9D8B030D-6E8A-4147-A177-3AD203B41FA5}">
                      <a16:colId xmlns:a16="http://schemas.microsoft.com/office/drawing/2014/main" val="1576160453"/>
                    </a:ext>
                  </a:extLst>
                </a:gridCol>
                <a:gridCol w="1257460">
                  <a:extLst>
                    <a:ext uri="{9D8B030D-6E8A-4147-A177-3AD203B41FA5}">
                      <a16:colId xmlns:a16="http://schemas.microsoft.com/office/drawing/2014/main" val="1828300326"/>
                    </a:ext>
                  </a:extLst>
                </a:gridCol>
                <a:gridCol w="811162">
                  <a:extLst>
                    <a:ext uri="{9D8B030D-6E8A-4147-A177-3AD203B41FA5}">
                      <a16:colId xmlns:a16="http://schemas.microsoft.com/office/drawing/2014/main" val="1628245370"/>
                    </a:ext>
                  </a:extLst>
                </a:gridCol>
                <a:gridCol w="776397">
                  <a:extLst>
                    <a:ext uri="{9D8B030D-6E8A-4147-A177-3AD203B41FA5}">
                      <a16:colId xmlns:a16="http://schemas.microsoft.com/office/drawing/2014/main" val="3067026927"/>
                    </a:ext>
                  </a:extLst>
                </a:gridCol>
                <a:gridCol w="672104">
                  <a:extLst>
                    <a:ext uri="{9D8B030D-6E8A-4147-A177-3AD203B41FA5}">
                      <a16:colId xmlns:a16="http://schemas.microsoft.com/office/drawing/2014/main" val="1947089910"/>
                    </a:ext>
                  </a:extLst>
                </a:gridCol>
                <a:gridCol w="961270">
                  <a:extLst>
                    <a:ext uri="{9D8B030D-6E8A-4147-A177-3AD203B41FA5}">
                      <a16:colId xmlns:a16="http://schemas.microsoft.com/office/drawing/2014/main" val="2359073960"/>
                    </a:ext>
                  </a:extLst>
                </a:gridCol>
                <a:gridCol w="1432466">
                  <a:extLst>
                    <a:ext uri="{9D8B030D-6E8A-4147-A177-3AD203B41FA5}">
                      <a16:colId xmlns:a16="http://schemas.microsoft.com/office/drawing/2014/main" val="4154951052"/>
                    </a:ext>
                  </a:extLst>
                </a:gridCol>
                <a:gridCol w="992278">
                  <a:extLst>
                    <a:ext uri="{9D8B030D-6E8A-4147-A177-3AD203B41FA5}">
                      <a16:colId xmlns:a16="http://schemas.microsoft.com/office/drawing/2014/main" val="1860887565"/>
                    </a:ext>
                  </a:extLst>
                </a:gridCol>
              </a:tblGrid>
              <a:tr h="496578">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S.No.</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Company</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Plant Location &amp; Country</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End-Use</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Copper</a:t>
                      </a:r>
                    </a:p>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Sulphate Consumption in 2020</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Price (2020) USD / Kg</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Supplier Details</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ntact Detail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Product Specification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883795073"/>
                  </a:ext>
                </a:extLst>
              </a:tr>
              <a:tr h="32440">
                <a:tc vMerge="1">
                  <a:txBody>
                    <a:bodyPr/>
                    <a:lstStyle/>
                    <a:p>
                      <a:endParaRPr lang="en-IN"/>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Tonnes)</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834966706"/>
                  </a:ext>
                </a:extLst>
              </a:tr>
              <a:tr h="860452">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t Japfa Comfeed Indonesia Tbk</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Tebet, Indonesia</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nimal Husbandry</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26.8</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18</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nnona Pte Lt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ase"/>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Ambang Budi Hendarto </a:t>
                      </a:r>
                    </a:p>
                    <a:p>
                      <a:pPr algn="ctr" fontAlgn="base"/>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hief Operating Officer, Operation 1 - Poultry Indonesia</a:t>
                      </a: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021-2854 5680 (Hunting)</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kumimoji="0" lang="en-US" sz="10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3581976"/>
                  </a:ext>
                </a:extLst>
              </a:tr>
              <a:tr h="820609">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Pt Dian Cipta Perkasa</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Melayu, Makasar, Jaktim, Indonesia</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16</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8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Asian Chemical Co.,Ltd</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dirty="0">
                          <a:latin typeface="Verdana" panose="020B0604030504040204" pitchFamily="34" charset="0"/>
                          <a:ea typeface="Verdana" panose="020B0604030504040204" pitchFamily="34" charset="0"/>
                          <a:cs typeface="Verdana" panose="020B0604030504040204" pitchFamily="34" charset="0"/>
                        </a:rPr>
                        <a:t>Mr. Rudi Ismanto (Chief  Executive Offier)</a:t>
                      </a:r>
                    </a:p>
                    <a:p>
                      <a:pPr algn="ctr" fontAlgn="t"/>
                      <a:r>
                        <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ntact:</a:t>
                      </a:r>
                      <a:r>
                        <a:rPr lang="en-IN" sz="1000" dirty="0">
                          <a:latin typeface="Verdana" panose="020B0604030504040204" pitchFamily="34" charset="0"/>
                          <a:ea typeface="Verdana" panose="020B0604030504040204" pitchFamily="34" charset="0"/>
                          <a:cs typeface="Verdana" panose="020B0604030504040204" pitchFamily="34" charset="0"/>
                        </a:rPr>
                        <a:t>+62 21 8660 7760 / 62</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kumimoji="0" lang="en-US" sz="10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886217"/>
                  </a:ext>
                </a:extLst>
              </a:tr>
              <a:tr h="936801">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t. Agrofarm Nusa Ray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Kertosari  Babadan, Ponorog,  Indonesia</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619</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11</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Mega Agro Sejahtera Sdn Bh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Agus Yahya</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Director Of Operations</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 :+62 352 3591094</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kumimoji="0" lang="en-US" sz="10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4687683"/>
                  </a:ext>
                </a:extLst>
              </a:tr>
              <a:tr h="588224">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4.</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haroen Pokphand Indonesia</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l. Ancol VIII/1</a:t>
                      </a:r>
                      <a:br>
                        <a:rPr lang="it-IT" sz="1000" dirty="0">
                          <a:latin typeface="Verdana" panose="020B0604030504040204" pitchFamily="34" charset="0"/>
                          <a:ea typeface="Verdana" panose="020B0604030504040204" pitchFamily="34" charset="0"/>
                          <a:cs typeface="Verdana" panose="020B0604030504040204" pitchFamily="34" charset="0"/>
                        </a:rPr>
                      </a:b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akarta Indonesia</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2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212</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Max Chemicals Co.,Ltd</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l. Ancol VIII/1</a:t>
                      </a:r>
                      <a:b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b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akarta 14430</a:t>
                      </a:r>
                      <a:b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b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Indonesia</a:t>
                      </a:r>
                    </a:p>
                    <a:p>
                      <a:pPr algn="ct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 : 62-21-6919999</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kumimoji="0" lang="en-US" sz="10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1988959"/>
                  </a:ext>
                </a:extLst>
              </a:tr>
              <a:tr h="588224">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haroen Pokphand Indonesia</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l. Ancol VIII/1</a:t>
                      </a:r>
                      <a:br>
                        <a:rPr lang="it-IT" sz="1000" dirty="0">
                          <a:latin typeface="Verdana" panose="020B0604030504040204" pitchFamily="34" charset="0"/>
                          <a:ea typeface="Verdana" panose="020B0604030504040204" pitchFamily="34" charset="0"/>
                          <a:cs typeface="Verdana" panose="020B0604030504040204" pitchFamily="34" charset="0"/>
                        </a:rPr>
                      </a:b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akarta,</a:t>
                      </a:r>
                      <a:br>
                        <a:rPr lang="it-IT" sz="1000" dirty="0">
                          <a:latin typeface="Verdana" panose="020B0604030504040204" pitchFamily="34" charset="0"/>
                          <a:ea typeface="Verdana" panose="020B0604030504040204" pitchFamily="34" charset="0"/>
                          <a:cs typeface="Verdana" panose="020B0604030504040204" pitchFamily="34" charset="0"/>
                        </a:rPr>
                      </a:b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Indonesia</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27</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16</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u="none" strike="noStrike" dirty="0">
                          <a:effectLst/>
                          <a:latin typeface="Verdana" panose="020B0604030504040204" pitchFamily="34" charset="0"/>
                          <a:ea typeface="Verdana" panose="020B0604030504040204" pitchFamily="34" charset="0"/>
                          <a:cs typeface="Verdana" panose="020B0604030504040204" pitchFamily="34" charset="0"/>
                        </a:rPr>
                        <a:t>H And T Corporation Limited</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l. Ancol VIII/1</a:t>
                      </a:r>
                      <a:b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b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akarta 14430</a:t>
                      </a:r>
                      <a:b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b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Indonesia</a:t>
                      </a:r>
                    </a:p>
                    <a:p>
                      <a:pPr algn="ct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 : 62-21-6919999</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76836116"/>
                  </a:ext>
                </a:extLst>
              </a:tr>
            </a:tbl>
          </a:graphicData>
        </a:graphic>
      </p:graphicFrame>
      <p:sp>
        <p:nvSpPr>
          <p:cNvPr id="6" name="Title 1">
            <a:extLst>
              <a:ext uri="{FF2B5EF4-FFF2-40B4-BE49-F238E27FC236}">
                <a16:creationId xmlns:a16="http://schemas.microsoft.com/office/drawing/2014/main" id="{C59031B9-1EFB-41F7-9F53-4280F6840E45}"/>
              </a:ext>
            </a:extLst>
          </p:cNvPr>
          <p:cNvSpPr txBox="1">
            <a:spLocks/>
          </p:cNvSpPr>
          <p:nvPr/>
        </p:nvSpPr>
        <p:spPr>
          <a:xfrm>
            <a:off x="222070" y="206680"/>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Customer Analysis</a:t>
            </a:r>
          </a:p>
        </p:txBody>
      </p:sp>
    </p:spTree>
    <p:extLst>
      <p:ext uri="{BB962C8B-B14F-4D97-AF65-F5344CB8AC3E}">
        <p14:creationId xmlns:p14="http://schemas.microsoft.com/office/powerpoint/2010/main" val="415804724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6BDED443-C794-40F1-ACDC-74A0E13E7653}"/>
              </a:ext>
            </a:extLst>
          </p:cNvPr>
          <p:cNvGraphicFramePr>
            <a:graphicFrameLocks noGrp="1"/>
          </p:cNvGraphicFramePr>
          <p:nvPr>
            <p:extLst>
              <p:ext uri="{D42A27DB-BD31-4B8C-83A1-F6EECF244321}">
                <p14:modId xmlns:p14="http://schemas.microsoft.com/office/powerpoint/2010/main" val="725003660"/>
              </p:ext>
            </p:extLst>
          </p:nvPr>
        </p:nvGraphicFramePr>
        <p:xfrm>
          <a:off x="146778" y="736250"/>
          <a:ext cx="8758684" cy="5744063"/>
        </p:xfrm>
        <a:graphic>
          <a:graphicData uri="http://schemas.openxmlformats.org/drawingml/2006/table">
            <a:tbl>
              <a:tblPr>
                <a:tableStyleId>{5C22544A-7EE6-4342-B048-85BDC9FD1C3A}</a:tableStyleId>
              </a:tblPr>
              <a:tblGrid>
                <a:gridCol w="427932">
                  <a:extLst>
                    <a:ext uri="{9D8B030D-6E8A-4147-A177-3AD203B41FA5}">
                      <a16:colId xmlns:a16="http://schemas.microsoft.com/office/drawing/2014/main" val="2238340279"/>
                    </a:ext>
                  </a:extLst>
                </a:gridCol>
                <a:gridCol w="1442625">
                  <a:extLst>
                    <a:ext uri="{9D8B030D-6E8A-4147-A177-3AD203B41FA5}">
                      <a16:colId xmlns:a16="http://schemas.microsoft.com/office/drawing/2014/main" val="1576160453"/>
                    </a:ext>
                  </a:extLst>
                </a:gridCol>
                <a:gridCol w="1259018">
                  <a:extLst>
                    <a:ext uri="{9D8B030D-6E8A-4147-A177-3AD203B41FA5}">
                      <a16:colId xmlns:a16="http://schemas.microsoft.com/office/drawing/2014/main" val="1828300326"/>
                    </a:ext>
                  </a:extLst>
                </a:gridCol>
                <a:gridCol w="800002">
                  <a:extLst>
                    <a:ext uri="{9D8B030D-6E8A-4147-A177-3AD203B41FA5}">
                      <a16:colId xmlns:a16="http://schemas.microsoft.com/office/drawing/2014/main" val="1628245370"/>
                    </a:ext>
                  </a:extLst>
                </a:gridCol>
                <a:gridCol w="800002">
                  <a:extLst>
                    <a:ext uri="{9D8B030D-6E8A-4147-A177-3AD203B41FA5}">
                      <a16:colId xmlns:a16="http://schemas.microsoft.com/office/drawing/2014/main" val="3067026927"/>
                    </a:ext>
                  </a:extLst>
                </a:gridCol>
                <a:gridCol w="655738">
                  <a:extLst>
                    <a:ext uri="{9D8B030D-6E8A-4147-A177-3AD203B41FA5}">
                      <a16:colId xmlns:a16="http://schemas.microsoft.com/office/drawing/2014/main" val="1947089910"/>
                    </a:ext>
                  </a:extLst>
                </a:gridCol>
                <a:gridCol w="957379">
                  <a:extLst>
                    <a:ext uri="{9D8B030D-6E8A-4147-A177-3AD203B41FA5}">
                      <a16:colId xmlns:a16="http://schemas.microsoft.com/office/drawing/2014/main" val="2359073960"/>
                    </a:ext>
                  </a:extLst>
                </a:gridCol>
                <a:gridCol w="1442625">
                  <a:extLst>
                    <a:ext uri="{9D8B030D-6E8A-4147-A177-3AD203B41FA5}">
                      <a16:colId xmlns:a16="http://schemas.microsoft.com/office/drawing/2014/main" val="4154951052"/>
                    </a:ext>
                  </a:extLst>
                </a:gridCol>
                <a:gridCol w="973363">
                  <a:extLst>
                    <a:ext uri="{9D8B030D-6E8A-4147-A177-3AD203B41FA5}">
                      <a16:colId xmlns:a16="http://schemas.microsoft.com/office/drawing/2014/main" val="1860887565"/>
                    </a:ext>
                  </a:extLst>
                </a:gridCol>
              </a:tblGrid>
              <a:tr h="667346">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S.No.</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Company</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Plant Location &amp; Country</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End-Use</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Copper</a:t>
                      </a:r>
                    </a:p>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Sulphate Consumption in 2020</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Price (2020) USD / Kg</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Supplier Details</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ntact Detail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Product Specification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883795073"/>
                  </a:ext>
                </a:extLst>
              </a:tr>
              <a:tr h="171206">
                <a:tc vMerge="1">
                  <a:txBody>
                    <a:bodyPr/>
                    <a:lstStyle/>
                    <a:p>
                      <a:endParaRPr lang="en-IN"/>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Tonnes)</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834966706"/>
                  </a:ext>
                </a:extLst>
              </a:tr>
              <a:tr h="1167996">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t.Mest Indonesi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Jl</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Kh</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Masyur</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No.121,kare, Indonesia</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92</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Gremon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Chemical Company Limite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Sandy Okta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Piansyah</a:t>
                      </a:r>
                      <a:endPar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Marketing Executive</a:t>
                      </a:r>
                    </a:p>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ontact:</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62 61-80032168</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endPar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3581976"/>
                  </a:ext>
                </a:extLst>
              </a:tr>
              <a:tr h="946996">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7.</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Agrofarm</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Nusa Raya</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Babadan</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Ponorog</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Indonesia</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96</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3</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Gremon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Chemical Company Limite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Agus</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Yahya</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Director Of Operations</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 +62 352 3591094</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endPar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886217"/>
                  </a:ext>
                </a:extLst>
              </a:tr>
              <a:tr h="950666">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t. Agri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Indomas</a:t>
                      </a: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Kare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Tengs</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Indonesia</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5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79</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rown Champion International Pte Lt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Hendra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Lubis</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a:t>
                      </a:r>
                    </a:p>
                    <a:p>
                      <a:pPr algn="ctr" fontAlgn="ct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Assisttant</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Manager,</a:t>
                      </a: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 711 721111</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endPar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4687683"/>
                  </a:ext>
                </a:extLst>
              </a:tr>
              <a:tr h="837236">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Santani</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Sejahter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Kota Me, Indonesia</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8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Chemtronic</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Technology (Thailand) Co., Lt</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Jefry</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Efendy</a:t>
                      </a:r>
                      <a:endPar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Sales Manager</a:t>
                      </a: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061) 4573028</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1988959"/>
                  </a:ext>
                </a:extLst>
              </a:tr>
              <a:tr h="1002617">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Seribu</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Cita</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Bayanaka</a:t>
                      </a: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Citra Raya Blok S.06/368, Indonesia</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4</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08</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Max Chemicals Co., Lt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NA</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BF5"/>
                    </a:solidFill>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Industrial Grade</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76836116"/>
                  </a:ext>
                </a:extLst>
              </a:tr>
            </a:tbl>
          </a:graphicData>
        </a:graphic>
      </p:graphicFrame>
      <p:sp>
        <p:nvSpPr>
          <p:cNvPr id="6" name="Title 1">
            <a:extLst>
              <a:ext uri="{FF2B5EF4-FFF2-40B4-BE49-F238E27FC236}">
                <a16:creationId xmlns:a16="http://schemas.microsoft.com/office/drawing/2014/main" id="{C1273AD4-DE29-41C3-AF28-E6A286A15352}"/>
              </a:ext>
            </a:extLst>
          </p:cNvPr>
          <p:cNvSpPr txBox="1">
            <a:spLocks/>
          </p:cNvSpPr>
          <p:nvPr/>
        </p:nvSpPr>
        <p:spPr>
          <a:xfrm>
            <a:off x="222070" y="206680"/>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Customer Analysis</a:t>
            </a:r>
          </a:p>
        </p:txBody>
      </p:sp>
    </p:spTree>
    <p:extLst>
      <p:ext uri="{BB962C8B-B14F-4D97-AF65-F5344CB8AC3E}">
        <p14:creationId xmlns:p14="http://schemas.microsoft.com/office/powerpoint/2010/main" val="323694975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6BDED443-C794-40F1-ACDC-74A0E13E7653}"/>
              </a:ext>
            </a:extLst>
          </p:cNvPr>
          <p:cNvGraphicFramePr>
            <a:graphicFrameLocks noGrp="1"/>
          </p:cNvGraphicFramePr>
          <p:nvPr>
            <p:extLst>
              <p:ext uri="{D42A27DB-BD31-4B8C-83A1-F6EECF244321}">
                <p14:modId xmlns:p14="http://schemas.microsoft.com/office/powerpoint/2010/main" val="3165171257"/>
              </p:ext>
            </p:extLst>
          </p:nvPr>
        </p:nvGraphicFramePr>
        <p:xfrm>
          <a:off x="153403" y="728662"/>
          <a:ext cx="8712300" cy="5313299"/>
        </p:xfrm>
        <a:graphic>
          <a:graphicData uri="http://schemas.openxmlformats.org/drawingml/2006/table">
            <a:tbl>
              <a:tblPr>
                <a:tableStyleId>{5C22544A-7EE6-4342-B048-85BDC9FD1C3A}</a:tableStyleId>
              </a:tblPr>
              <a:tblGrid>
                <a:gridCol w="426098">
                  <a:extLst>
                    <a:ext uri="{9D8B030D-6E8A-4147-A177-3AD203B41FA5}">
                      <a16:colId xmlns:a16="http://schemas.microsoft.com/office/drawing/2014/main" val="1629099979"/>
                    </a:ext>
                  </a:extLst>
                </a:gridCol>
                <a:gridCol w="1450408">
                  <a:extLst>
                    <a:ext uri="{9D8B030D-6E8A-4147-A177-3AD203B41FA5}">
                      <a16:colId xmlns:a16="http://schemas.microsoft.com/office/drawing/2014/main" val="1576160453"/>
                    </a:ext>
                  </a:extLst>
                </a:gridCol>
                <a:gridCol w="1228099">
                  <a:extLst>
                    <a:ext uri="{9D8B030D-6E8A-4147-A177-3AD203B41FA5}">
                      <a16:colId xmlns:a16="http://schemas.microsoft.com/office/drawing/2014/main" val="1828300326"/>
                    </a:ext>
                  </a:extLst>
                </a:gridCol>
                <a:gridCol w="796958">
                  <a:extLst>
                    <a:ext uri="{9D8B030D-6E8A-4147-A177-3AD203B41FA5}">
                      <a16:colId xmlns:a16="http://schemas.microsoft.com/office/drawing/2014/main" val="1628245370"/>
                    </a:ext>
                  </a:extLst>
                </a:gridCol>
                <a:gridCol w="810023">
                  <a:extLst>
                    <a:ext uri="{9D8B030D-6E8A-4147-A177-3AD203B41FA5}">
                      <a16:colId xmlns:a16="http://schemas.microsoft.com/office/drawing/2014/main" val="3067026927"/>
                    </a:ext>
                  </a:extLst>
                </a:gridCol>
                <a:gridCol w="600985">
                  <a:extLst>
                    <a:ext uri="{9D8B030D-6E8A-4147-A177-3AD203B41FA5}">
                      <a16:colId xmlns:a16="http://schemas.microsoft.com/office/drawing/2014/main" val="1947089910"/>
                    </a:ext>
                  </a:extLst>
                </a:gridCol>
                <a:gridCol w="1019061">
                  <a:extLst>
                    <a:ext uri="{9D8B030D-6E8A-4147-A177-3AD203B41FA5}">
                      <a16:colId xmlns:a16="http://schemas.microsoft.com/office/drawing/2014/main" val="2359073960"/>
                    </a:ext>
                  </a:extLst>
                </a:gridCol>
                <a:gridCol w="1397943">
                  <a:extLst>
                    <a:ext uri="{9D8B030D-6E8A-4147-A177-3AD203B41FA5}">
                      <a16:colId xmlns:a16="http://schemas.microsoft.com/office/drawing/2014/main" val="4154951052"/>
                    </a:ext>
                  </a:extLst>
                </a:gridCol>
                <a:gridCol w="982725">
                  <a:extLst>
                    <a:ext uri="{9D8B030D-6E8A-4147-A177-3AD203B41FA5}">
                      <a16:colId xmlns:a16="http://schemas.microsoft.com/office/drawing/2014/main" val="1860887565"/>
                    </a:ext>
                  </a:extLst>
                </a:gridCol>
              </a:tblGrid>
              <a:tr h="577145">
                <a:tc rowSpan="2">
                  <a:txBody>
                    <a:bodyPr/>
                    <a:lstStyle/>
                    <a:p>
                      <a:pPr algn="ctr" fontAlgn="ctr"/>
                      <a:r>
                        <a:rPr lang="en-US" sz="1000" b="1" i="0" u="none" strike="noStrike"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S.No</a:t>
                      </a: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Company</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Plant Location &amp; Country</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End-Use</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Copper</a:t>
                      </a:r>
                    </a:p>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Sulphate Consumption in 2020</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Price (2020) USD / Kg</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Supplier Details</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ntact Details </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Product Specification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883795073"/>
                  </a:ext>
                </a:extLst>
              </a:tr>
              <a:tr h="148065">
                <a:tc vMerge="1">
                  <a:txBody>
                    <a:bodyPr/>
                    <a:lstStyle/>
                    <a:p>
                      <a:endParaRPr lang="en-IN"/>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a:t>
                      </a:r>
                      <a:r>
                        <a:rPr lang="en-US" sz="1000" b="1" u="none" strike="noStrike" dirty="0" err="1">
                          <a:effectLst/>
                          <a:latin typeface="Verdana" panose="020B0604030504040204" pitchFamily="34" charset="0"/>
                          <a:ea typeface="Verdana" panose="020B0604030504040204" pitchFamily="34" charset="0"/>
                          <a:cs typeface="Verdana" panose="020B0604030504040204" pitchFamily="34" charset="0"/>
                        </a:rPr>
                        <a:t>Tonnes</a:t>
                      </a: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834966706"/>
                  </a:ext>
                </a:extLst>
              </a:tr>
              <a:tr h="867098">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t Jade Wijaya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Mandiri</a:t>
                      </a: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Tangerang 1, Indonesia</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8</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59</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Yee Lee Industrial Chemical Lt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Irwansjah</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Rusli</a:t>
                      </a:r>
                      <a:endPar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Sales Manager</a:t>
                      </a: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Telp : +6221 29238873</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Industrial Grade</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3581976"/>
                  </a:ext>
                </a:extLst>
              </a:tr>
              <a:tr h="867098">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Emives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Feedmill</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Tg</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Viet Nam Co., Lt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T.Tien</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Giang</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Vietna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nimal Husbandry</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4</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2</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Fine Top International Co., Lt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ase"/>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Garfiled</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Heng</a:t>
                      </a:r>
                    </a:p>
                    <a:p>
                      <a:pPr algn="ctr" fontAlgn="base"/>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Purchasing Manager</a:t>
                      </a:r>
                    </a:p>
                    <a:p>
                      <a:pPr algn="ctr" fontAlgn="base"/>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84-273) 3620 333</a:t>
                      </a:r>
                      <a:endPar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Industrial Grade</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1988959"/>
                  </a:ext>
                </a:extLst>
              </a:tr>
              <a:tr h="867098">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n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Phu</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Company Limite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vi-V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Quận Đống Đa, Tp.Hà Nội</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Vietnam</a:t>
                      </a:r>
                      <a:endParaRPr lang="vi-V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1.77</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33</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Fine Top International Co., Lt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David Nguyen</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Sales Manager</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84985228133</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Industrial Grade</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76836116"/>
                  </a:ext>
                </a:extLst>
              </a:tr>
              <a:tr h="867098">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4.</a:t>
                      </a:r>
                      <a:endParaRPr lang="pl-PL"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l-PL"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Biomin Việ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n</a:t>
                      </a:r>
                      <a:r>
                        <a:rPr lang="pl-PL"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m Co.,Lt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vi-V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Thành Phố Hà Nội, Việ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n</a:t>
                      </a:r>
                      <a:r>
                        <a:rPr lang="vi-V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nimal Husbandry</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4</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28</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sian Chemical Co.,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Tld</a:t>
                      </a: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Phuong Nguyen Quang</a:t>
                      </a: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Managing Director</a:t>
                      </a: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84 650 222 1288</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26905097"/>
                  </a:ext>
                </a:extLst>
              </a:tr>
              <a:tr h="867098">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argill Vietnam Company Limite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vi-V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Tỉnh Đồng Nai, Việ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n</a:t>
                      </a:r>
                      <a:r>
                        <a:rPr lang="vi-V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nimal Husbandry</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8</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0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sian Chemical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Co.,Ltd</a:t>
                      </a: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ase"/>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Le Hoang Minh</a:t>
                      </a:r>
                    </a:p>
                    <a:p>
                      <a:pPr marL="0" marR="0" lvl="0" indent="0" algn="ctr" defTabSz="914400" rtl="0" eaLnBrk="1" fontAlgn="base" latinLnBrk="0" hangingPunct="1">
                        <a:lnSpc>
                          <a:spcPct val="100000"/>
                        </a:lnSpc>
                        <a:spcBef>
                          <a:spcPts val="0"/>
                        </a:spcBef>
                        <a:spcAft>
                          <a:spcPts val="0"/>
                        </a:spcAft>
                        <a:buClrTx/>
                        <a:buSzTx/>
                        <a:buFontTx/>
                        <a:buNone/>
                        <a:tabLst/>
                        <a:defRPr/>
                      </a:pP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Regional Operation Manager</a:t>
                      </a:r>
                    </a:p>
                    <a:p>
                      <a:pPr marL="0" marR="0" lvl="0" indent="0" algn="ctr" defTabSz="914400" rtl="0" eaLnBrk="1" fontAlgn="base" latinLnBrk="0" hangingPunct="1">
                        <a:lnSpc>
                          <a:spcPct val="100000"/>
                        </a:lnSpc>
                        <a:spcBef>
                          <a:spcPts val="0"/>
                        </a:spcBef>
                        <a:spcAft>
                          <a:spcPts val="0"/>
                        </a:spcAft>
                        <a:buClrTx/>
                        <a:buSzTx/>
                        <a:buFontTx/>
                        <a:buNone/>
                        <a:tabLst/>
                        <a:defRPr/>
                      </a:pP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roduction &amp; Maintenance</a:t>
                      </a:r>
                    </a:p>
                    <a:p>
                      <a:pPr marL="0" marR="0" lvl="0" indent="0" algn="ctr" defTabSz="914400" rtl="0" eaLnBrk="1" fontAlgn="base" latinLnBrk="0" hangingPunct="1">
                        <a:lnSpc>
                          <a:spcPct val="100000"/>
                        </a:lnSpc>
                        <a:spcBef>
                          <a:spcPts val="0"/>
                        </a:spcBef>
                        <a:spcAft>
                          <a:spcPts val="0"/>
                        </a:spcAft>
                        <a:buClrTx/>
                        <a:buSzTx/>
                        <a:buFontTx/>
                        <a:buNone/>
                        <a:tabLst/>
                        <a:defRPr/>
                      </a:pP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ontact: + 84-28-5416 151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11784799"/>
                  </a:ext>
                </a:extLst>
              </a:tr>
            </a:tbl>
          </a:graphicData>
        </a:graphic>
      </p:graphicFrame>
      <p:sp>
        <p:nvSpPr>
          <p:cNvPr id="6" name="Title 1">
            <a:extLst>
              <a:ext uri="{FF2B5EF4-FFF2-40B4-BE49-F238E27FC236}">
                <a16:creationId xmlns:a16="http://schemas.microsoft.com/office/drawing/2014/main" id="{993A162A-F48A-4787-8793-3BC9C807848A}"/>
              </a:ext>
            </a:extLst>
          </p:cNvPr>
          <p:cNvSpPr txBox="1">
            <a:spLocks/>
          </p:cNvSpPr>
          <p:nvPr/>
        </p:nvSpPr>
        <p:spPr>
          <a:xfrm>
            <a:off x="222070" y="206680"/>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Customer Analysis</a:t>
            </a:r>
          </a:p>
        </p:txBody>
      </p:sp>
    </p:spTree>
    <p:extLst>
      <p:ext uri="{BB962C8B-B14F-4D97-AF65-F5344CB8AC3E}">
        <p14:creationId xmlns:p14="http://schemas.microsoft.com/office/powerpoint/2010/main" val="136735208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6BDED443-C794-40F1-ACDC-74A0E13E7653}"/>
              </a:ext>
            </a:extLst>
          </p:cNvPr>
          <p:cNvGraphicFramePr>
            <a:graphicFrameLocks noGrp="1"/>
          </p:cNvGraphicFramePr>
          <p:nvPr>
            <p:extLst>
              <p:ext uri="{D42A27DB-BD31-4B8C-83A1-F6EECF244321}">
                <p14:modId xmlns:p14="http://schemas.microsoft.com/office/powerpoint/2010/main" val="769513886"/>
              </p:ext>
            </p:extLst>
          </p:nvPr>
        </p:nvGraphicFramePr>
        <p:xfrm>
          <a:off x="142875" y="859251"/>
          <a:ext cx="8696327" cy="5698483"/>
        </p:xfrm>
        <a:graphic>
          <a:graphicData uri="http://schemas.openxmlformats.org/drawingml/2006/table">
            <a:tbl>
              <a:tblPr>
                <a:tableStyleId>{5C22544A-7EE6-4342-B048-85BDC9FD1C3A}</a:tableStyleId>
              </a:tblPr>
              <a:tblGrid>
                <a:gridCol w="422061">
                  <a:extLst>
                    <a:ext uri="{9D8B030D-6E8A-4147-A177-3AD203B41FA5}">
                      <a16:colId xmlns:a16="http://schemas.microsoft.com/office/drawing/2014/main" val="1042221763"/>
                    </a:ext>
                  </a:extLst>
                </a:gridCol>
                <a:gridCol w="1506485">
                  <a:extLst>
                    <a:ext uri="{9D8B030D-6E8A-4147-A177-3AD203B41FA5}">
                      <a16:colId xmlns:a16="http://schemas.microsoft.com/office/drawing/2014/main" val="1576160453"/>
                    </a:ext>
                  </a:extLst>
                </a:gridCol>
                <a:gridCol w="1205188">
                  <a:extLst>
                    <a:ext uri="{9D8B030D-6E8A-4147-A177-3AD203B41FA5}">
                      <a16:colId xmlns:a16="http://schemas.microsoft.com/office/drawing/2014/main" val="1828300326"/>
                    </a:ext>
                  </a:extLst>
                </a:gridCol>
                <a:gridCol w="785102">
                  <a:extLst>
                    <a:ext uri="{9D8B030D-6E8A-4147-A177-3AD203B41FA5}">
                      <a16:colId xmlns:a16="http://schemas.microsoft.com/office/drawing/2014/main" val="1628245370"/>
                    </a:ext>
                  </a:extLst>
                </a:gridCol>
                <a:gridCol w="793606">
                  <a:extLst>
                    <a:ext uri="{9D8B030D-6E8A-4147-A177-3AD203B41FA5}">
                      <a16:colId xmlns:a16="http://schemas.microsoft.com/office/drawing/2014/main" val="3067026927"/>
                    </a:ext>
                  </a:extLst>
                </a:gridCol>
                <a:gridCol w="611467">
                  <a:extLst>
                    <a:ext uri="{9D8B030D-6E8A-4147-A177-3AD203B41FA5}">
                      <a16:colId xmlns:a16="http://schemas.microsoft.com/office/drawing/2014/main" val="1947089910"/>
                    </a:ext>
                  </a:extLst>
                </a:gridCol>
                <a:gridCol w="975745">
                  <a:extLst>
                    <a:ext uri="{9D8B030D-6E8A-4147-A177-3AD203B41FA5}">
                      <a16:colId xmlns:a16="http://schemas.microsoft.com/office/drawing/2014/main" val="2359073960"/>
                    </a:ext>
                  </a:extLst>
                </a:gridCol>
                <a:gridCol w="1418083">
                  <a:extLst>
                    <a:ext uri="{9D8B030D-6E8A-4147-A177-3AD203B41FA5}">
                      <a16:colId xmlns:a16="http://schemas.microsoft.com/office/drawing/2014/main" val="4154951052"/>
                    </a:ext>
                  </a:extLst>
                </a:gridCol>
                <a:gridCol w="978590">
                  <a:extLst>
                    <a:ext uri="{9D8B030D-6E8A-4147-A177-3AD203B41FA5}">
                      <a16:colId xmlns:a16="http://schemas.microsoft.com/office/drawing/2014/main" val="1860887565"/>
                    </a:ext>
                  </a:extLst>
                </a:gridCol>
              </a:tblGrid>
              <a:tr h="654743">
                <a:tc rowSpan="2">
                  <a:txBody>
                    <a:bodyPr/>
                    <a:lstStyle/>
                    <a:p>
                      <a:pPr algn="ctr" fontAlgn="ctr"/>
                      <a:r>
                        <a:rPr lang="en-US" sz="1000" b="1" i="0" u="none" strike="noStrike"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S.No</a:t>
                      </a: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Company</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Plant Location &amp; Country</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End-Use</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Copper</a:t>
                      </a:r>
                    </a:p>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Sulphate Consumption in 2020</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Price (2020) USD / Kg</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Supplier Details</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ntact Detail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Product Specification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883795073"/>
                  </a:ext>
                </a:extLst>
              </a:tr>
              <a:tr h="181592">
                <a:tc vMerge="1">
                  <a:txBody>
                    <a:bodyPr/>
                    <a:lstStyle/>
                    <a:p>
                      <a:endParaRPr lang="en-IN"/>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a:t>
                      </a:r>
                      <a:r>
                        <a:rPr lang="en-US" sz="1000" b="1" u="none" strike="noStrike" dirty="0" err="1">
                          <a:effectLst/>
                          <a:latin typeface="Verdana" panose="020B0604030504040204" pitchFamily="34" charset="0"/>
                          <a:ea typeface="Verdana" panose="020B0604030504040204" pitchFamily="34" charset="0"/>
                          <a:cs typeface="Verdana" panose="020B0604030504040204" pitchFamily="34" charset="0"/>
                        </a:rPr>
                        <a:t>Tonnes</a:t>
                      </a: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834966706"/>
                  </a:ext>
                </a:extLst>
              </a:tr>
              <a:tr h="970216">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6.</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Alsons</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quaculture Corp.</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Makati City</a:t>
                      </a:r>
                      <a:br>
                        <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rPr>
                      </a:b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Makati, Philippines</a:t>
                      </a:r>
                      <a:endParaRPr lang="vi-V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14</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Team Aqua Corporation</a:t>
                      </a:r>
                      <a:b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b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Jhoer</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Geronaga</a:t>
                      </a:r>
                      <a:endPar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Manager</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63 83 508 2300</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endPar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3581976"/>
                  </a:ext>
                </a:extLst>
              </a:tr>
              <a:tr h="1172853">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7.</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Bestelemen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Industrial Ltd Inc.</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Pampanga, Philippines</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56</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3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Jaw Lien Enterprise Co Ltd</a:t>
                      </a:r>
                      <a:b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b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Karen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Manarang</a:t>
                      </a:r>
                      <a:endPar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Assistant Accounting Officer</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63 905 241 6698 </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endPar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886217"/>
                  </a:ext>
                </a:extLst>
              </a:tr>
              <a:tr h="970216">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8.</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ebu Far Eastern Drug Inc</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Location 9</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6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1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Scharlab</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S. L.</a:t>
                      </a:r>
                      <a:b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b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Margaret U. Chang,</a:t>
                      </a:r>
                    </a:p>
                    <a:p>
                      <a:pPr algn="ctr" fontAlgn="ct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Treasurer,</a:t>
                      </a:r>
                      <a:r>
                        <a:rPr lang="en-IN" sz="1000" b="1"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ontact</a:t>
                      </a:r>
                      <a:r>
                        <a:rPr lang="en-IN" sz="1000" b="1"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t>
                      </a: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032) 2558741-3 ; (032) 4234279</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4687683"/>
                  </a:ext>
                </a:extLst>
              </a:tr>
              <a:tr h="829094">
                <a:tc>
                  <a:txBody>
                    <a:bodyPr/>
                    <a:lstStyle/>
                    <a:p>
                      <a:pPr algn="ctr" fontAlgn="ctr"/>
                      <a:r>
                        <a:rPr lang="en-IN" sz="9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9.</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leveland Industries Inc.</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Malabon City, Philippines</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8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22</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Tai-</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ammon</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Co., Lt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NA</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Industrial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1988959"/>
                  </a:ext>
                </a:extLst>
              </a:tr>
              <a:tr h="829094">
                <a:tc>
                  <a:txBody>
                    <a:bodyPr/>
                    <a:lstStyle/>
                    <a:p>
                      <a:pPr algn="ctr" fontAlgn="ctr"/>
                      <a:r>
                        <a:rPr lang="en-IN" sz="9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0.</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Fcf</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Minerals Corp.</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Makati City, Philippines</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Industrial </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2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01</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Buildmore</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p>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Enterprise Co., Ltd</a:t>
                      </a:r>
                      <a:b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b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Lugrine</a:t>
                      </a: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kern="1200"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Comtiag</a:t>
                      </a:r>
                      <a:endPar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rocess Plant Operations Superintendent </a:t>
                      </a:r>
                    </a:p>
                    <a:p>
                      <a:pPr algn="ctr" fontAlgn="ct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ontact:+63 (0) 2 659 5662</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Industrial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76836116"/>
                  </a:ext>
                </a:extLst>
              </a:tr>
            </a:tbl>
          </a:graphicData>
        </a:graphic>
      </p:graphicFrame>
      <p:sp>
        <p:nvSpPr>
          <p:cNvPr id="6" name="Title 1">
            <a:extLst>
              <a:ext uri="{FF2B5EF4-FFF2-40B4-BE49-F238E27FC236}">
                <a16:creationId xmlns:a16="http://schemas.microsoft.com/office/drawing/2014/main" id="{ECEF8D61-40FB-4623-BFE4-2D63A7A916C5}"/>
              </a:ext>
            </a:extLst>
          </p:cNvPr>
          <p:cNvSpPr txBox="1">
            <a:spLocks/>
          </p:cNvSpPr>
          <p:nvPr/>
        </p:nvSpPr>
        <p:spPr>
          <a:xfrm>
            <a:off x="222070" y="206680"/>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Customer Analysis</a:t>
            </a:r>
          </a:p>
        </p:txBody>
      </p:sp>
    </p:spTree>
    <p:extLst>
      <p:ext uri="{BB962C8B-B14F-4D97-AF65-F5344CB8AC3E}">
        <p14:creationId xmlns:p14="http://schemas.microsoft.com/office/powerpoint/2010/main" val="208842295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6BDED443-C794-40F1-ACDC-74A0E13E7653}"/>
              </a:ext>
            </a:extLst>
          </p:cNvPr>
          <p:cNvGraphicFramePr>
            <a:graphicFrameLocks noGrp="1"/>
          </p:cNvGraphicFramePr>
          <p:nvPr>
            <p:extLst>
              <p:ext uri="{D42A27DB-BD31-4B8C-83A1-F6EECF244321}">
                <p14:modId xmlns:p14="http://schemas.microsoft.com/office/powerpoint/2010/main" val="1801052752"/>
              </p:ext>
            </p:extLst>
          </p:nvPr>
        </p:nvGraphicFramePr>
        <p:xfrm>
          <a:off x="210477" y="791598"/>
          <a:ext cx="8723045" cy="5798556"/>
        </p:xfrm>
        <a:graphic>
          <a:graphicData uri="http://schemas.openxmlformats.org/drawingml/2006/table">
            <a:tbl>
              <a:tblPr>
                <a:tableStyleId>{5C22544A-7EE6-4342-B048-85BDC9FD1C3A}</a:tableStyleId>
              </a:tblPr>
              <a:tblGrid>
                <a:gridCol w="395938">
                  <a:extLst>
                    <a:ext uri="{9D8B030D-6E8A-4147-A177-3AD203B41FA5}">
                      <a16:colId xmlns:a16="http://schemas.microsoft.com/office/drawing/2014/main" val="3496142794"/>
                    </a:ext>
                  </a:extLst>
                </a:gridCol>
                <a:gridCol w="1492081">
                  <a:extLst>
                    <a:ext uri="{9D8B030D-6E8A-4147-A177-3AD203B41FA5}">
                      <a16:colId xmlns:a16="http://schemas.microsoft.com/office/drawing/2014/main" val="1576160453"/>
                    </a:ext>
                  </a:extLst>
                </a:gridCol>
                <a:gridCol w="1230313">
                  <a:extLst>
                    <a:ext uri="{9D8B030D-6E8A-4147-A177-3AD203B41FA5}">
                      <a16:colId xmlns:a16="http://schemas.microsoft.com/office/drawing/2014/main" val="1828300326"/>
                    </a:ext>
                  </a:extLst>
                </a:gridCol>
                <a:gridCol w="798393">
                  <a:extLst>
                    <a:ext uri="{9D8B030D-6E8A-4147-A177-3AD203B41FA5}">
                      <a16:colId xmlns:a16="http://schemas.microsoft.com/office/drawing/2014/main" val="1628245370"/>
                    </a:ext>
                  </a:extLst>
                </a:gridCol>
                <a:gridCol w="785307">
                  <a:extLst>
                    <a:ext uri="{9D8B030D-6E8A-4147-A177-3AD203B41FA5}">
                      <a16:colId xmlns:a16="http://schemas.microsoft.com/office/drawing/2014/main" val="3067026927"/>
                    </a:ext>
                  </a:extLst>
                </a:gridCol>
                <a:gridCol w="654421">
                  <a:extLst>
                    <a:ext uri="{9D8B030D-6E8A-4147-A177-3AD203B41FA5}">
                      <a16:colId xmlns:a16="http://schemas.microsoft.com/office/drawing/2014/main" val="1947089910"/>
                    </a:ext>
                  </a:extLst>
                </a:gridCol>
                <a:gridCol w="955456">
                  <a:extLst>
                    <a:ext uri="{9D8B030D-6E8A-4147-A177-3AD203B41FA5}">
                      <a16:colId xmlns:a16="http://schemas.microsoft.com/office/drawing/2014/main" val="2359073960"/>
                    </a:ext>
                  </a:extLst>
                </a:gridCol>
                <a:gridCol w="1452816">
                  <a:extLst>
                    <a:ext uri="{9D8B030D-6E8A-4147-A177-3AD203B41FA5}">
                      <a16:colId xmlns:a16="http://schemas.microsoft.com/office/drawing/2014/main" val="4154951052"/>
                    </a:ext>
                  </a:extLst>
                </a:gridCol>
                <a:gridCol w="958320">
                  <a:extLst>
                    <a:ext uri="{9D8B030D-6E8A-4147-A177-3AD203B41FA5}">
                      <a16:colId xmlns:a16="http://schemas.microsoft.com/office/drawing/2014/main" val="1860887565"/>
                    </a:ext>
                  </a:extLst>
                </a:gridCol>
              </a:tblGrid>
              <a:tr h="648319">
                <a:tc rowSpan="2">
                  <a:txBody>
                    <a:bodyPr/>
                    <a:lstStyle/>
                    <a:p>
                      <a:pPr algn="ctr" fontAlgn="ctr"/>
                      <a:r>
                        <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S. No.</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Company</a:t>
                      </a:r>
                      <a:endPar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Plant Location &amp; Country</a:t>
                      </a:r>
                      <a:endPar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End-Use</a:t>
                      </a:r>
                      <a:endPar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algn="ctr" fontAlgn="ct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Copper</a:t>
                      </a:r>
                    </a:p>
                    <a:p>
                      <a:pPr algn="ctr" fontAlgn="ct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Sulphate Consumption in 2020</a:t>
                      </a:r>
                      <a:endPar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Price (2020) USD / Kg</a:t>
                      </a:r>
                      <a:endPar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Supplier Details</a:t>
                      </a:r>
                      <a:endPar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ntact Detail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Product Specification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883795073"/>
                  </a:ext>
                </a:extLst>
              </a:tr>
              <a:tr h="186137">
                <a:tc vMerge="1">
                  <a:txBody>
                    <a:bodyPr/>
                    <a:lstStyle/>
                    <a:p>
                      <a:endParaRPr lang="en-IN"/>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a:t>
                      </a:r>
                      <a:r>
                        <a:rPr lang="en-US" sz="900" b="1" u="none" strike="noStrike" dirty="0" err="1">
                          <a:effectLst/>
                          <a:latin typeface="Verdana" panose="020B0604030504040204" pitchFamily="34" charset="0"/>
                          <a:ea typeface="Verdana" panose="020B0604030504040204" pitchFamily="34" charset="0"/>
                          <a:cs typeface="Verdana" panose="020B0604030504040204" pitchFamily="34" charset="0"/>
                        </a:rPr>
                        <a:t>Tonnes</a:t>
                      </a: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a:t>
                      </a:r>
                      <a:endPar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834966706"/>
                  </a:ext>
                </a:extLst>
              </a:tr>
              <a:tr h="586652">
                <a:tc>
                  <a:txBody>
                    <a:bodyPr/>
                    <a:lstStyle/>
                    <a:p>
                      <a:pPr algn="ctr" fontAlgn="t"/>
                      <a:r>
                        <a:rPr lang="en-US" sz="9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1.</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Agricultural Chemicals (M) </a:t>
                      </a:r>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Sdn</a:t>
                      </a:r>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 Bhd. (</a:t>
                      </a:r>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Acm</a:t>
                      </a:r>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fi-FI" sz="1000" u="none" strike="noStrike" dirty="0">
                          <a:effectLst/>
                          <a:latin typeface="Verdana" panose="020B0604030504040204" pitchFamily="34" charset="0"/>
                          <a:ea typeface="Verdana" panose="020B0604030504040204" pitchFamily="34" charset="0"/>
                          <a:cs typeface="Verdana" panose="020B0604030504040204" pitchFamily="34" charset="0"/>
                        </a:rPr>
                        <a:t> Pulau Pinang, Malaysia</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7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33</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Bigtrade</a:t>
                      </a:r>
                      <a:r>
                        <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Sdn</a:t>
                      </a:r>
                      <a:r>
                        <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 Bh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Nurul Nabila</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Executive</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604-390 7988</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BF5"/>
                    </a:solidFill>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3581976"/>
                  </a:ext>
                </a:extLst>
              </a:tr>
              <a:tr h="1140094">
                <a:tc>
                  <a:txBody>
                    <a:bodyPr/>
                    <a:lstStyle/>
                    <a:p>
                      <a:pPr algn="ctr" fontAlgn="t"/>
                      <a:r>
                        <a:rPr lang="en-US" sz="9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2.</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Biovista</a:t>
                      </a:r>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 Lifesciences </a:t>
                      </a:r>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Sdn</a:t>
                      </a:r>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 </a:t>
                      </a:r>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Bhd</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Kuala Lumpur,</a:t>
                      </a:r>
                      <a:br>
                        <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rPr>
                      </a:b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Malaysia</a:t>
                      </a:r>
                      <a:endParaRPr lang="en-US" sz="100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84</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03</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Biz Tech Enterprise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Nor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Syafiqah</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Abd Rashid</a:t>
                      </a: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Product Development Executive</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603 9102 3886</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886217"/>
                  </a:ext>
                </a:extLst>
              </a:tr>
              <a:tr h="1069679">
                <a:tc>
                  <a:txBody>
                    <a:bodyPr/>
                    <a:lstStyle/>
                    <a:p>
                      <a:pPr algn="ctr" fontAlgn="t"/>
                      <a:r>
                        <a:rPr lang="en-US" sz="9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3.</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Hextar</a:t>
                      </a:r>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 Group</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 Selangor ,Malaysia</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5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34</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1000" b="0" i="0" u="none" strike="noStrike"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Q&amp;v</a:t>
                      </a:r>
                      <a:r>
                        <a:rPr lang="fr-FR"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 Solution </a:t>
                      </a:r>
                      <a:r>
                        <a:rPr lang="fr-FR" sz="1000" b="0" i="0" u="none" strike="noStrike"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Sdn</a:t>
                      </a:r>
                      <a:r>
                        <a:rPr lang="fr-FR"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 </a:t>
                      </a:r>
                      <a:r>
                        <a:rPr lang="fr-FR" sz="1000" b="0" i="0" u="none" strike="noStrike"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Bhd</a:t>
                      </a:r>
                      <a:r>
                        <a:rPr lang="fr-FR"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dirty="0" err="1">
                          <a:latin typeface="Verdana" panose="020B0604030504040204" pitchFamily="34" charset="0"/>
                          <a:ea typeface="Verdana" panose="020B0604030504040204" pitchFamily="34" charset="0"/>
                          <a:cs typeface="Verdana" panose="020B0604030504040204" pitchFamily="34" charset="0"/>
                        </a:rPr>
                        <a:t>Y.Bhg</a:t>
                      </a:r>
                      <a:r>
                        <a:rPr lang="en-IN" sz="1000" dirty="0">
                          <a:latin typeface="Verdana" panose="020B0604030504040204" pitchFamily="34" charset="0"/>
                          <a:ea typeface="Verdana" panose="020B0604030504040204" pitchFamily="34" charset="0"/>
                          <a:cs typeface="Verdana" panose="020B0604030504040204" pitchFamily="34" charset="0"/>
                        </a:rPr>
                        <a:t> Dato’ Ong Choo Meng</a:t>
                      </a:r>
                    </a:p>
                    <a:p>
                      <a:pPr algn="ctr" fontAlgn="ctr"/>
                      <a:r>
                        <a:rPr lang="en-IN" sz="1000" dirty="0">
                          <a:latin typeface="Verdana" panose="020B0604030504040204" pitchFamily="34" charset="0"/>
                          <a:ea typeface="Verdana" panose="020B0604030504040204" pitchFamily="34" charset="0"/>
                          <a:cs typeface="Verdana" panose="020B0604030504040204" pitchFamily="34" charset="0"/>
                        </a:rPr>
                        <a:t>Executive Director</a:t>
                      </a:r>
                    </a:p>
                    <a:p>
                      <a:pPr algn="ctr" fontAlgn="ctr"/>
                      <a:r>
                        <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ntact:</a:t>
                      </a:r>
                      <a:r>
                        <a:rPr lang="en-IN" sz="1000" dirty="0">
                          <a:latin typeface="Verdana" panose="020B0604030504040204" pitchFamily="34" charset="0"/>
                          <a:ea typeface="Verdana" panose="020B0604030504040204" pitchFamily="34" charset="0"/>
                          <a:cs typeface="Verdana" panose="020B0604030504040204" pitchFamily="34" charset="0"/>
                        </a:rPr>
                        <a:t>+6(03) 3003 3333</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4687683"/>
                  </a:ext>
                </a:extLst>
              </a:tr>
              <a:tr h="1069679">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4.</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Nufarm</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Shah </a:t>
                      </a:r>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Alam</a:t>
                      </a:r>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 Malaysia</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57</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9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rgbClr val="333333"/>
                          </a:solidFill>
                          <a:effectLst/>
                          <a:latin typeface="Verdana" panose="020B0604030504040204" pitchFamily="34" charset="0"/>
                          <a:ea typeface="Verdana" panose="020B0604030504040204" pitchFamily="34" charset="0"/>
                          <a:cs typeface="Verdana" panose="020B0604030504040204" pitchFamily="34" charset="0"/>
                        </a:rPr>
                        <a:t>Rad </a:t>
                      </a:r>
                      <a:r>
                        <a:rPr lang="en-IN" sz="1000" b="0" i="0" u="none" strike="noStrike" dirty="0" err="1">
                          <a:solidFill>
                            <a:srgbClr val="333333"/>
                          </a:solidFill>
                          <a:effectLst/>
                          <a:latin typeface="Verdana" panose="020B0604030504040204" pitchFamily="34" charset="0"/>
                          <a:ea typeface="Verdana" panose="020B0604030504040204" pitchFamily="34" charset="0"/>
                          <a:cs typeface="Verdana" panose="020B0604030504040204" pitchFamily="34" charset="0"/>
                        </a:rPr>
                        <a:t>Winnners</a:t>
                      </a:r>
                      <a:r>
                        <a:rPr lang="en-IN" sz="1000" b="0" i="0" u="none" strike="noStrike" dirty="0">
                          <a:solidFill>
                            <a:srgbClr val="333333"/>
                          </a:solidFill>
                          <a:effectLst/>
                          <a:latin typeface="Verdana" panose="020B0604030504040204" pitchFamily="34" charset="0"/>
                          <a:ea typeface="Verdana" panose="020B0604030504040204" pitchFamily="34" charset="0"/>
                          <a:cs typeface="Verdana" panose="020B0604030504040204" pitchFamily="34" charset="0"/>
                        </a:rPr>
                        <a:t> &amp; </a:t>
                      </a:r>
                      <a:r>
                        <a:rPr lang="en-IN" sz="1000" b="0" i="0" u="none" strike="noStrike" dirty="0" err="1">
                          <a:solidFill>
                            <a:srgbClr val="333333"/>
                          </a:solidFill>
                          <a:effectLst/>
                          <a:latin typeface="Verdana" panose="020B0604030504040204" pitchFamily="34" charset="0"/>
                          <a:ea typeface="Verdana" panose="020B0604030504040204" pitchFamily="34" charset="0"/>
                          <a:cs typeface="Verdana" panose="020B0604030504040204" pitchFamily="34" charset="0"/>
                        </a:rPr>
                        <a:t>Shb</a:t>
                      </a:r>
                      <a:r>
                        <a:rPr lang="en-IN" sz="1000" b="0" i="0" u="none" strike="noStrike" dirty="0">
                          <a:solidFill>
                            <a:srgbClr val="333333"/>
                          </a:solidFill>
                          <a:effectLst/>
                          <a:latin typeface="Verdana" panose="020B0604030504040204" pitchFamily="34" charset="0"/>
                          <a:ea typeface="Verdana" panose="020B0604030504040204" pitchFamily="34" charset="0"/>
                          <a:cs typeface="Verdana" panose="020B0604030504040204" pitchFamily="34" charset="0"/>
                        </a:rPr>
                        <a:t> Chemicals </a:t>
                      </a:r>
                      <a:r>
                        <a:rPr lang="en-IN" sz="1000" b="0" i="0" u="none" strike="noStrike" dirty="0" err="1">
                          <a:solidFill>
                            <a:srgbClr val="333333"/>
                          </a:solidFill>
                          <a:effectLst/>
                          <a:latin typeface="Verdana" panose="020B0604030504040204" pitchFamily="34" charset="0"/>
                          <a:ea typeface="Verdana" panose="020B0604030504040204" pitchFamily="34" charset="0"/>
                          <a:cs typeface="Verdana" panose="020B0604030504040204" pitchFamily="34" charset="0"/>
                        </a:rPr>
                        <a:t>Sdn</a:t>
                      </a:r>
                      <a:r>
                        <a:rPr lang="en-IN" sz="1000" b="0" i="0" u="none" strike="noStrike" dirty="0">
                          <a:solidFill>
                            <a:srgbClr val="333333"/>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rgbClr val="333333"/>
                          </a:solidFill>
                          <a:effectLst/>
                          <a:latin typeface="Verdana" panose="020B0604030504040204" pitchFamily="34" charset="0"/>
                          <a:ea typeface="Verdana" panose="020B0604030504040204" pitchFamily="34" charset="0"/>
                          <a:cs typeface="Verdana" panose="020B0604030504040204" pitchFamily="34" charset="0"/>
                        </a:rPr>
                        <a:t>Bhd</a:t>
                      </a:r>
                      <a:endParaRPr lang="en-IN" sz="1000" b="0" i="0" u="none" strike="noStrike" dirty="0">
                        <a:solidFill>
                          <a:srgbClr val="333333"/>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ackie Boo Chen Long</a:t>
                      </a:r>
                    </a:p>
                    <a:p>
                      <a:pPr 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Marketing Executive</a:t>
                      </a:r>
                    </a:p>
                    <a:p>
                      <a:pPr 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 : +6017 6677 34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1988959"/>
                  </a:ext>
                </a:extLst>
              </a:tr>
              <a:tr h="1069679">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fr-FR" sz="1000" u="none" strike="noStrike" dirty="0" err="1">
                          <a:effectLst/>
                          <a:latin typeface="Verdana" panose="020B0604030504040204" pitchFamily="34" charset="0"/>
                          <a:ea typeface="Verdana" panose="020B0604030504040204" pitchFamily="34" charset="0"/>
                          <a:cs typeface="Verdana" panose="020B0604030504040204" pitchFamily="34" charset="0"/>
                        </a:rPr>
                        <a:t>Felcra</a:t>
                      </a:r>
                      <a:r>
                        <a:rPr lang="fr-FR" sz="1000" u="none" strike="noStrike" dirty="0">
                          <a:effectLst/>
                          <a:latin typeface="Verdana" panose="020B0604030504040204" pitchFamily="34" charset="0"/>
                          <a:ea typeface="Verdana" panose="020B0604030504040204" pitchFamily="34" charset="0"/>
                          <a:cs typeface="Verdana" panose="020B0604030504040204" pitchFamily="34" charset="0"/>
                        </a:rPr>
                        <a:t> Plantation Services </a:t>
                      </a:r>
                      <a:r>
                        <a:rPr lang="fr-FR" sz="1000" u="none" strike="noStrike" dirty="0" err="1">
                          <a:effectLst/>
                          <a:latin typeface="Verdana" panose="020B0604030504040204" pitchFamily="34" charset="0"/>
                          <a:ea typeface="Verdana" panose="020B0604030504040204" pitchFamily="34" charset="0"/>
                          <a:cs typeface="Verdana" panose="020B0604030504040204" pitchFamily="34" charset="0"/>
                        </a:rPr>
                        <a:t>Sdn</a:t>
                      </a:r>
                      <a:r>
                        <a:rPr lang="fr-FR" sz="1000" u="none" strike="noStrike" dirty="0">
                          <a:effectLst/>
                          <a:latin typeface="Verdana" panose="020B0604030504040204" pitchFamily="34" charset="0"/>
                          <a:ea typeface="Verdana" panose="020B0604030504040204" pitchFamily="34" charset="0"/>
                          <a:cs typeface="Verdana" panose="020B0604030504040204" pitchFamily="34" charset="0"/>
                        </a:rPr>
                        <a:t> </a:t>
                      </a:r>
                      <a:r>
                        <a:rPr lang="fr-FR" sz="1000" u="none" strike="noStrike" dirty="0" err="1">
                          <a:effectLst/>
                          <a:latin typeface="Verdana" panose="020B0604030504040204" pitchFamily="34" charset="0"/>
                          <a:ea typeface="Verdana" panose="020B0604030504040204" pitchFamily="34" charset="0"/>
                          <a:cs typeface="Verdana" panose="020B0604030504040204" pitchFamily="34" charset="0"/>
                        </a:rPr>
                        <a:t>Bhd</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Kuala Lumpur, Malaysia</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78</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09</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Biz Tech Enterprise </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Noor Wahida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Sulaiman</a:t>
                      </a:r>
                      <a:endPar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Finance Manager</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 :+6034 1455 000</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76836116"/>
                  </a:ext>
                </a:extLst>
              </a:tr>
            </a:tbl>
          </a:graphicData>
        </a:graphic>
      </p:graphicFrame>
      <p:sp>
        <p:nvSpPr>
          <p:cNvPr id="6" name="Title 1">
            <a:extLst>
              <a:ext uri="{FF2B5EF4-FFF2-40B4-BE49-F238E27FC236}">
                <a16:creationId xmlns:a16="http://schemas.microsoft.com/office/drawing/2014/main" id="{272691B6-E71A-4F8D-A458-C6799F768C0A}"/>
              </a:ext>
            </a:extLst>
          </p:cNvPr>
          <p:cNvSpPr txBox="1">
            <a:spLocks/>
          </p:cNvSpPr>
          <p:nvPr/>
        </p:nvSpPr>
        <p:spPr>
          <a:xfrm>
            <a:off x="222070" y="206680"/>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Customer Analysis</a:t>
            </a:r>
          </a:p>
        </p:txBody>
      </p:sp>
    </p:spTree>
    <p:extLst>
      <p:ext uri="{BB962C8B-B14F-4D97-AF65-F5344CB8AC3E}">
        <p14:creationId xmlns:p14="http://schemas.microsoft.com/office/powerpoint/2010/main" val="342714923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Placeholder 5" descr="A picture containing object, chessman, sky, table&#10;&#10;Description automatically generated">
            <a:extLst>
              <a:ext uri="{FF2B5EF4-FFF2-40B4-BE49-F238E27FC236}">
                <a16:creationId xmlns:a16="http://schemas.microsoft.com/office/drawing/2014/main" id="{2E2B938A-66EE-42EB-80DF-A439EE23CFE6}"/>
              </a:ext>
            </a:extLst>
          </p:cNvPr>
          <p:cNvPicPr>
            <a:picLocks noGrp="1" noChangeAspect="1"/>
          </p:cNvPicPr>
          <p:nvPr>
            <p:ph type="pic" idx="13"/>
          </p:nvPr>
        </p:nvPicPr>
        <p:blipFill rotWithShape="1">
          <a:blip r:embed="rId2">
            <a:extLst>
              <a:ext uri="{28A0092B-C50C-407E-A947-70E740481C1C}">
                <a14:useLocalDpi xmlns:a14="http://schemas.microsoft.com/office/drawing/2010/main" val="0"/>
              </a:ext>
            </a:extLst>
          </a:blip>
          <a:srcRect l="9403" r="1596" b="-1"/>
          <a:stretch/>
        </p:blipFill>
        <p:spPr>
          <a:xfrm>
            <a:off x="20" y="10"/>
            <a:ext cx="9143980" cy="6857990"/>
          </a:xfrm>
          <a:prstGeom prst="rect">
            <a:avLst/>
          </a:prstGeom>
        </p:spPr>
      </p:pic>
      <p:sp>
        <p:nvSpPr>
          <p:cNvPr id="11" name="Rectangle 10">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20142"/>
            <a:ext cx="9144000" cy="736551"/>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2">
            <a:extLst>
              <a:ext uri="{FF2B5EF4-FFF2-40B4-BE49-F238E27FC236}">
                <a16:creationId xmlns:a16="http://schemas.microsoft.com/office/drawing/2014/main" id="{F888F908-0425-448A-9F48-E1135DF27EBA}"/>
              </a:ext>
            </a:extLst>
          </p:cNvPr>
          <p:cNvSpPr txBox="1">
            <a:spLocks/>
          </p:cNvSpPr>
          <p:nvPr/>
        </p:nvSpPr>
        <p:spPr>
          <a:xfrm>
            <a:off x="392906" y="5317240"/>
            <a:ext cx="8408194" cy="744836"/>
          </a:xfrm>
          <a:prstGeom prst="rect">
            <a:avLst/>
          </a:prstGeom>
        </p:spPr>
        <p:txBody>
          <a:bodyPr vert="horz" lIns="91440" tIns="45720" rIns="91440" bIns="45720" rtlCol="0" anchor="ctr">
            <a:normAutofit/>
          </a:bodyPr>
          <a:lstStyle>
            <a:lvl1pPr marL="188595" indent="-188595" algn="l" defTabSz="754380" rtl="0" eaLnBrk="1" latinLnBrk="0" hangingPunct="1">
              <a:lnSpc>
                <a:spcPct val="90000"/>
              </a:lnSpc>
              <a:spcBef>
                <a:spcPts val="825"/>
              </a:spcBef>
              <a:buFont typeface="Arial" panose="020B0604020202020204" pitchFamily="34" charset="0"/>
              <a:buChar char="•"/>
              <a:defRPr sz="2310" kern="1200">
                <a:solidFill>
                  <a:schemeClr val="tx1"/>
                </a:solidFill>
                <a:latin typeface="+mn-lt"/>
                <a:ea typeface="+mn-ea"/>
                <a:cs typeface="+mn-cs"/>
              </a:defRPr>
            </a:lvl1pPr>
            <a:lvl2pPr marL="565785" indent="-188595" algn="l" defTabSz="754380" rtl="0" eaLnBrk="1" latinLnBrk="0" hangingPunct="1">
              <a:lnSpc>
                <a:spcPct val="90000"/>
              </a:lnSpc>
              <a:spcBef>
                <a:spcPts val="413"/>
              </a:spcBef>
              <a:buFont typeface="Arial" panose="020B0604020202020204" pitchFamily="34" charset="0"/>
              <a:buChar char="•"/>
              <a:defRPr sz="1980" kern="1200">
                <a:solidFill>
                  <a:schemeClr val="tx1"/>
                </a:solidFill>
                <a:latin typeface="+mn-lt"/>
                <a:ea typeface="+mn-ea"/>
                <a:cs typeface="+mn-cs"/>
              </a:defRPr>
            </a:lvl2pPr>
            <a:lvl3pPr marL="942975" indent="-188595" algn="l" defTabSz="754380" rtl="0" eaLnBrk="1" latinLnBrk="0" hangingPunct="1">
              <a:lnSpc>
                <a:spcPct val="90000"/>
              </a:lnSpc>
              <a:spcBef>
                <a:spcPts val="413"/>
              </a:spcBef>
              <a:buFont typeface="Arial" panose="020B0604020202020204" pitchFamily="34" charset="0"/>
              <a:buChar char="•"/>
              <a:defRPr sz="1650" kern="1200">
                <a:solidFill>
                  <a:schemeClr val="tx1"/>
                </a:solidFill>
                <a:latin typeface="+mn-lt"/>
                <a:ea typeface="+mn-ea"/>
                <a:cs typeface="+mn-cs"/>
              </a:defRPr>
            </a:lvl3pPr>
            <a:lvl4pPr marL="132016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4pPr>
            <a:lvl5pPr marL="169735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5pPr>
            <a:lvl6pPr marL="207454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6pPr>
            <a:lvl7pPr marL="245173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7pPr>
            <a:lvl8pPr marL="282892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8pPr>
            <a:lvl9pPr marL="320611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9pPr>
          </a:lstStyle>
          <a:p>
            <a:pPr marL="0" marR="0" lvl="0" indent="0" algn="ctr" defTabSz="914400" fontAlgn="auto">
              <a:spcBef>
                <a:spcPct val="0"/>
              </a:spcBef>
              <a:spcAft>
                <a:spcPts val="600"/>
              </a:spcAft>
              <a:buClrTx/>
              <a:buSzTx/>
              <a:buNone/>
              <a:tabLst/>
              <a:defRPr/>
            </a:pPr>
            <a:r>
              <a:rPr kumimoji="0" lang="en-US" sz="3100" b="1" i="0" u="none" strike="noStrike" cap="none" spc="-136" normalizeH="0" baseline="0" noProof="0">
                <a:ln>
                  <a:noFill/>
                </a:ln>
                <a:solidFill>
                  <a:schemeClr val="tx1">
                    <a:lumMod val="85000"/>
                    <a:lumOff val="15000"/>
                  </a:schemeClr>
                </a:solidFill>
                <a:effectLst>
                  <a:outerShdw blurRad="38100" dist="38100" dir="2700000" algn="tl">
                    <a:srgbClr val="000000">
                      <a:alpha val="43137"/>
                    </a:srgbClr>
                  </a:outerShdw>
                </a:effectLst>
                <a:uLnTx/>
                <a:uFillTx/>
                <a:latin typeface="+mj-lt"/>
                <a:ea typeface="+mj-ea"/>
                <a:cs typeface="+mj-cs"/>
              </a:rPr>
              <a:t>COMPETITIVE LANDSCAPE </a:t>
            </a:r>
          </a:p>
        </p:txBody>
      </p:sp>
      <p:cxnSp>
        <p:nvCxnSpPr>
          <p:cNvPr id="13" name="Straight Connector 12">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5241983"/>
            <a:ext cx="9144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34852"/>
            <a:ext cx="9144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62787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sosceles Triangle 6">
            <a:extLst>
              <a:ext uri="{FF2B5EF4-FFF2-40B4-BE49-F238E27FC236}">
                <a16:creationId xmlns:a16="http://schemas.microsoft.com/office/drawing/2014/main" id="{92A4D8EC-4FA6-41CA-B83C-1198AB45A186}"/>
              </a:ext>
            </a:extLst>
          </p:cNvPr>
          <p:cNvSpPr/>
          <p:nvPr/>
        </p:nvSpPr>
        <p:spPr>
          <a:xfrm flipV="1">
            <a:off x="90318" y="3384626"/>
            <a:ext cx="309732" cy="230832"/>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3DDE9E4E-8702-4501-978B-FF90B0A676E7}"/>
              </a:ext>
            </a:extLst>
          </p:cNvPr>
          <p:cNvSpPr/>
          <p:nvPr/>
        </p:nvSpPr>
        <p:spPr>
          <a:xfrm>
            <a:off x="110638" y="790609"/>
            <a:ext cx="8874210" cy="1994093"/>
          </a:xfrm>
          <a:prstGeom prst="rect">
            <a:avLst/>
          </a:prstGeom>
          <a:solidFill>
            <a:schemeClr val="tx2">
              <a:lumMod val="7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bg1"/>
              </a:solidFill>
              <a:latin typeface="Veradana"/>
            </a:endParaRPr>
          </a:p>
        </p:txBody>
      </p:sp>
      <p:grpSp>
        <p:nvGrpSpPr>
          <p:cNvPr id="22" name="Group 21">
            <a:extLst>
              <a:ext uri="{FF2B5EF4-FFF2-40B4-BE49-F238E27FC236}">
                <a16:creationId xmlns:a16="http://schemas.microsoft.com/office/drawing/2014/main" id="{906D63E4-3E06-4F56-90E7-89829F740FE6}"/>
              </a:ext>
            </a:extLst>
          </p:cNvPr>
          <p:cNvGrpSpPr/>
          <p:nvPr/>
        </p:nvGrpSpPr>
        <p:grpSpPr>
          <a:xfrm>
            <a:off x="7142785" y="3463087"/>
            <a:ext cx="1775803" cy="2870979"/>
            <a:chOff x="5527170" y="3549226"/>
            <a:chExt cx="3401888" cy="2870979"/>
          </a:xfrm>
        </p:grpSpPr>
        <p:sp>
          <p:nvSpPr>
            <p:cNvPr id="23" name="TextBox 22">
              <a:extLst>
                <a:ext uri="{FF2B5EF4-FFF2-40B4-BE49-F238E27FC236}">
                  <a16:creationId xmlns:a16="http://schemas.microsoft.com/office/drawing/2014/main" id="{000854CA-ED9F-47F6-B3F6-9C3B65AB8056}"/>
                </a:ext>
              </a:extLst>
            </p:cNvPr>
            <p:cNvSpPr txBox="1"/>
            <p:nvPr/>
          </p:nvSpPr>
          <p:spPr>
            <a:xfrm>
              <a:off x="5527170" y="3549226"/>
              <a:ext cx="3401888" cy="2870979"/>
            </a:xfrm>
            <a:prstGeom prst="rect">
              <a:avLst/>
            </a:prstGeom>
            <a:solidFill>
              <a:schemeClr val="bg1"/>
            </a:solidFill>
            <a:ln w="19050">
              <a:solidFill>
                <a:schemeClr val="tx2">
                  <a:lumMod val="75000"/>
                </a:schemeClr>
              </a:solidFill>
            </a:ln>
            <a:effectLst/>
          </p:spPr>
          <p:txBody>
            <a:bodyPr wrap="square" rtlCol="0">
              <a:spAutoFit/>
            </a:bodyPr>
            <a:lstStyle/>
            <a:p>
              <a:pPr algn="ctr">
                <a:lnSpc>
                  <a:spcPts val="2200"/>
                </a:lnSpc>
              </a:pPr>
              <a:endParaRPr lang="en-US" altLang="ko-KR"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p>
              <a:pPr algn="ctr">
                <a:lnSpc>
                  <a:spcPts val="2200"/>
                </a:lnSpc>
              </a:pPr>
              <a:endParaRPr lang="en-US" altLang="ko-KR"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p>
              <a:pPr algn="ctr">
                <a:lnSpc>
                  <a:spcPts val="2200"/>
                </a:lnSpc>
              </a:pPr>
              <a:r>
                <a:rPr lang="en-US" altLang="ko-KR" sz="900" b="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Review Period </a:t>
              </a:r>
            </a:p>
            <a:p>
              <a:pPr algn="ctr">
                <a:lnSpc>
                  <a:spcPts val="2200"/>
                </a:lnSpc>
              </a:pPr>
              <a:r>
                <a:rPr lang="en-US" altLang="ko-KR" sz="1050" b="1" dirty="0">
                  <a:solidFill>
                    <a:srgbClr val="1E5C61"/>
                  </a:solidFill>
                  <a:latin typeface="Verdana" panose="020B0604030504040204" pitchFamily="34" charset="0"/>
                  <a:ea typeface="Verdana" panose="020B0604030504040204" pitchFamily="34" charset="0"/>
                  <a:cs typeface="Verdana" panose="020B0604030504040204" pitchFamily="34" charset="0"/>
                </a:rPr>
                <a:t>2016 – 2019</a:t>
              </a:r>
            </a:p>
            <a:p>
              <a:pPr algn="ctr">
                <a:lnSpc>
                  <a:spcPts val="2200"/>
                </a:lnSpc>
              </a:pPr>
              <a:r>
                <a:rPr lang="en-US" altLang="ko-KR" sz="900" b="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Base Year </a:t>
              </a:r>
            </a:p>
            <a:p>
              <a:pPr algn="ctr">
                <a:lnSpc>
                  <a:spcPts val="2200"/>
                </a:lnSpc>
              </a:pPr>
              <a:r>
                <a:rPr lang="en-US" altLang="ko-KR" sz="1050" b="1" dirty="0">
                  <a:solidFill>
                    <a:srgbClr val="1E5C61"/>
                  </a:solidFill>
                  <a:latin typeface="Verdana" panose="020B0604030504040204" pitchFamily="34" charset="0"/>
                  <a:ea typeface="Verdana" panose="020B0604030504040204" pitchFamily="34" charset="0"/>
                  <a:cs typeface="Verdana" panose="020B0604030504040204" pitchFamily="34" charset="0"/>
                </a:rPr>
                <a:t>2020</a:t>
              </a:r>
            </a:p>
            <a:p>
              <a:pPr algn="ctr">
                <a:lnSpc>
                  <a:spcPts val="2200"/>
                </a:lnSpc>
              </a:pPr>
              <a:r>
                <a:rPr lang="en-US" altLang="ko-KR" sz="900" b="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Estimated Year</a:t>
              </a:r>
            </a:p>
            <a:p>
              <a:pPr algn="ctr">
                <a:lnSpc>
                  <a:spcPts val="2200"/>
                </a:lnSpc>
              </a:pPr>
              <a:r>
                <a:rPr lang="en-US" altLang="ko-KR" sz="1050" b="1" dirty="0">
                  <a:solidFill>
                    <a:srgbClr val="1E5C61"/>
                  </a:solidFill>
                  <a:latin typeface="Verdana" panose="020B0604030504040204" pitchFamily="34" charset="0"/>
                  <a:ea typeface="Verdana" panose="020B0604030504040204" pitchFamily="34" charset="0"/>
                  <a:cs typeface="Verdana" panose="020B0604030504040204" pitchFamily="34" charset="0"/>
                </a:rPr>
                <a:t>2021</a:t>
              </a:r>
            </a:p>
            <a:p>
              <a:pPr algn="ctr">
                <a:lnSpc>
                  <a:spcPts val="2200"/>
                </a:lnSpc>
              </a:pPr>
              <a:r>
                <a:rPr lang="en-US" altLang="ko-KR" sz="900" b="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Forecast Period </a:t>
              </a:r>
            </a:p>
            <a:p>
              <a:pPr algn="ctr">
                <a:lnSpc>
                  <a:spcPts val="2200"/>
                </a:lnSpc>
              </a:pPr>
              <a:r>
                <a:rPr lang="en-US" altLang="ko-KR" sz="1050" b="1" dirty="0">
                  <a:solidFill>
                    <a:srgbClr val="1E5C61"/>
                  </a:solidFill>
                  <a:latin typeface="Verdana" panose="020B0604030504040204" pitchFamily="34" charset="0"/>
                  <a:ea typeface="Verdana" panose="020B0604030504040204" pitchFamily="34" charset="0"/>
                  <a:cs typeface="Verdana" panose="020B0604030504040204" pitchFamily="34" charset="0"/>
                </a:rPr>
                <a:t>2022 – 2026</a:t>
              </a:r>
            </a:p>
          </p:txBody>
        </p:sp>
        <p:sp>
          <p:nvSpPr>
            <p:cNvPr id="24" name="Rectangle 23">
              <a:extLst>
                <a:ext uri="{FF2B5EF4-FFF2-40B4-BE49-F238E27FC236}">
                  <a16:creationId xmlns:a16="http://schemas.microsoft.com/office/drawing/2014/main" id="{755CFAAC-596D-4503-B88D-937A7EE98449}"/>
                </a:ext>
              </a:extLst>
            </p:cNvPr>
            <p:cNvSpPr/>
            <p:nvPr/>
          </p:nvSpPr>
          <p:spPr>
            <a:xfrm>
              <a:off x="6199414" y="3653101"/>
              <a:ext cx="2057400" cy="357824"/>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100" b="1" dirty="0">
                  <a:solidFill>
                    <a:schemeClr val="bg1"/>
                  </a:solidFill>
                  <a:latin typeface="Montserrat" panose="02000505000000020004" pitchFamily="2" charset="0"/>
                  <a:cs typeface="Arial" panose="020B0604020202020204" pitchFamily="34" charset="0"/>
                </a:rPr>
                <a:t>Year Range</a:t>
              </a:r>
            </a:p>
          </p:txBody>
        </p:sp>
      </p:grpSp>
      <p:grpSp>
        <p:nvGrpSpPr>
          <p:cNvPr id="77" name="Group 76">
            <a:extLst>
              <a:ext uri="{FF2B5EF4-FFF2-40B4-BE49-F238E27FC236}">
                <a16:creationId xmlns:a16="http://schemas.microsoft.com/office/drawing/2014/main" id="{4E46B482-FA4C-4433-A9CA-DE61BBFD18BE}"/>
              </a:ext>
            </a:extLst>
          </p:cNvPr>
          <p:cNvGrpSpPr/>
          <p:nvPr/>
        </p:nvGrpSpPr>
        <p:grpSpPr>
          <a:xfrm>
            <a:off x="189541" y="3210925"/>
            <a:ext cx="6833559" cy="3550333"/>
            <a:chOff x="329241" y="3318875"/>
            <a:chExt cx="6833559" cy="3550333"/>
          </a:xfrm>
        </p:grpSpPr>
        <p:sp>
          <p:nvSpPr>
            <p:cNvPr id="2" name="Rectangle 1">
              <a:extLst>
                <a:ext uri="{FF2B5EF4-FFF2-40B4-BE49-F238E27FC236}">
                  <a16:creationId xmlns:a16="http://schemas.microsoft.com/office/drawing/2014/main" id="{936A46EE-0030-4C5D-824E-5F6F96C9F0F7}"/>
                </a:ext>
              </a:extLst>
            </p:cNvPr>
            <p:cNvSpPr/>
            <p:nvPr/>
          </p:nvSpPr>
          <p:spPr>
            <a:xfrm>
              <a:off x="329241" y="3318875"/>
              <a:ext cx="6833559" cy="3451132"/>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TextBox 34">
              <a:extLst>
                <a:ext uri="{FF2B5EF4-FFF2-40B4-BE49-F238E27FC236}">
                  <a16:creationId xmlns:a16="http://schemas.microsoft.com/office/drawing/2014/main" id="{85A92658-3E00-4620-A22E-DDF7F50825FA}"/>
                </a:ext>
              </a:extLst>
            </p:cNvPr>
            <p:cNvSpPr txBox="1"/>
            <p:nvPr/>
          </p:nvSpPr>
          <p:spPr>
            <a:xfrm>
              <a:off x="5157658" y="3329353"/>
              <a:ext cx="1458308" cy="230832"/>
            </a:xfrm>
            <a:prstGeom prst="rect">
              <a:avLst/>
            </a:prstGeom>
            <a:noFill/>
          </p:spPr>
          <p:txBody>
            <a:bodyPr wrap="square" rtlCol="0">
              <a:spAutoFit/>
            </a:bodyPr>
            <a:lstStyle/>
            <a:p>
              <a:r>
                <a:rPr lang="en-US" sz="900" b="1"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D USE</a:t>
              </a:r>
            </a:p>
          </p:txBody>
        </p:sp>
        <p:sp>
          <p:nvSpPr>
            <p:cNvPr id="30" name="TextBox 29">
              <a:extLst>
                <a:ext uri="{FF2B5EF4-FFF2-40B4-BE49-F238E27FC236}">
                  <a16:creationId xmlns:a16="http://schemas.microsoft.com/office/drawing/2014/main" id="{B7533D78-C03B-4DFE-93D5-755A282BE028}"/>
                </a:ext>
              </a:extLst>
            </p:cNvPr>
            <p:cNvSpPr txBox="1"/>
            <p:nvPr/>
          </p:nvSpPr>
          <p:spPr>
            <a:xfrm>
              <a:off x="2717593" y="3337817"/>
              <a:ext cx="1558818" cy="230832"/>
            </a:xfrm>
            <a:prstGeom prst="rect">
              <a:avLst/>
            </a:prstGeom>
            <a:noFill/>
          </p:spPr>
          <p:txBody>
            <a:bodyPr wrap="square" rtlCol="0">
              <a:spAutoFit/>
            </a:bodyPr>
            <a:lstStyle/>
            <a:p>
              <a:r>
                <a:rPr lang="en-US" sz="900" b="1"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YPE</a:t>
              </a:r>
            </a:p>
          </p:txBody>
        </p:sp>
        <p:sp>
          <p:nvSpPr>
            <p:cNvPr id="31" name="TextBox 30">
              <a:extLst>
                <a:ext uri="{FF2B5EF4-FFF2-40B4-BE49-F238E27FC236}">
                  <a16:creationId xmlns:a16="http://schemas.microsoft.com/office/drawing/2014/main" id="{0013527F-1364-49A2-B32D-E08DE730E676}"/>
                </a:ext>
              </a:extLst>
            </p:cNvPr>
            <p:cNvSpPr txBox="1"/>
            <p:nvPr/>
          </p:nvSpPr>
          <p:spPr>
            <a:xfrm>
              <a:off x="2572358" y="3613858"/>
              <a:ext cx="2378770" cy="479811"/>
            </a:xfrm>
            <a:prstGeom prst="rect">
              <a:avLst/>
            </a:prstGeom>
            <a:noFill/>
          </p:spPr>
          <p:txBody>
            <a:bodyPr wrap="square" rtlCol="0">
              <a:spAutoFit/>
            </a:bodyPr>
            <a:lstStyle/>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Hydrous </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nhydrous</a:t>
              </a:r>
            </a:p>
          </p:txBody>
        </p:sp>
        <p:cxnSp>
          <p:nvCxnSpPr>
            <p:cNvPr id="32" name="Straight Connector 31">
              <a:extLst>
                <a:ext uri="{FF2B5EF4-FFF2-40B4-BE49-F238E27FC236}">
                  <a16:creationId xmlns:a16="http://schemas.microsoft.com/office/drawing/2014/main" id="{D1BED479-011C-4852-B12C-A39EE6EA621D}"/>
                </a:ext>
              </a:extLst>
            </p:cNvPr>
            <p:cNvCxnSpPr>
              <a:cxnSpLocks/>
            </p:cNvCxnSpPr>
            <p:nvPr/>
          </p:nvCxnSpPr>
          <p:spPr>
            <a:xfrm flipV="1">
              <a:off x="2705078" y="3569807"/>
              <a:ext cx="1737360" cy="2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06B21D77-4066-471C-BE24-EE02184360EA}"/>
                </a:ext>
              </a:extLst>
            </p:cNvPr>
            <p:cNvSpPr txBox="1"/>
            <p:nvPr/>
          </p:nvSpPr>
          <p:spPr>
            <a:xfrm>
              <a:off x="2738439" y="4378224"/>
              <a:ext cx="1458308" cy="230832"/>
            </a:xfrm>
            <a:prstGeom prst="rect">
              <a:avLst/>
            </a:prstGeom>
            <a:noFill/>
          </p:spPr>
          <p:txBody>
            <a:bodyPr wrap="square" rtlCol="0">
              <a:spAutoFit/>
            </a:bodyPr>
            <a:lstStyle/>
            <a:p>
              <a:r>
                <a:rPr lang="en-US" sz="900" b="1"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GRADE</a:t>
              </a:r>
            </a:p>
          </p:txBody>
        </p:sp>
        <p:sp>
          <p:nvSpPr>
            <p:cNvPr id="40" name="TextBox 39">
              <a:extLst>
                <a:ext uri="{FF2B5EF4-FFF2-40B4-BE49-F238E27FC236}">
                  <a16:creationId xmlns:a16="http://schemas.microsoft.com/office/drawing/2014/main" id="{CCCEED21-3338-422A-B942-E6BAD4E01D50}"/>
                </a:ext>
              </a:extLst>
            </p:cNvPr>
            <p:cNvSpPr txBox="1"/>
            <p:nvPr/>
          </p:nvSpPr>
          <p:spPr>
            <a:xfrm>
              <a:off x="2630632" y="4591424"/>
              <a:ext cx="1858513" cy="479811"/>
            </a:xfrm>
            <a:prstGeom prst="rect">
              <a:avLst/>
            </a:prstGeom>
            <a:noFill/>
          </p:spPr>
          <p:txBody>
            <a:bodyPr wrap="square" rtlCol="0">
              <a:spAutoFit/>
            </a:bodyPr>
            <a:lstStyle/>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ndustrial Grade</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Reagent Grade</a:t>
              </a:r>
            </a:p>
          </p:txBody>
        </p:sp>
        <p:sp>
          <p:nvSpPr>
            <p:cNvPr id="70" name="Rectangle 69">
              <a:extLst>
                <a:ext uri="{FF2B5EF4-FFF2-40B4-BE49-F238E27FC236}">
                  <a16:creationId xmlns:a16="http://schemas.microsoft.com/office/drawing/2014/main" id="{524F9E40-1125-4E7F-A937-B9134D32A682}"/>
                </a:ext>
              </a:extLst>
            </p:cNvPr>
            <p:cNvSpPr/>
            <p:nvPr/>
          </p:nvSpPr>
          <p:spPr>
            <a:xfrm>
              <a:off x="4851361" y="3463087"/>
              <a:ext cx="343235" cy="25843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2" name="Straight Connector 41">
              <a:extLst>
                <a:ext uri="{FF2B5EF4-FFF2-40B4-BE49-F238E27FC236}">
                  <a16:creationId xmlns:a16="http://schemas.microsoft.com/office/drawing/2014/main" id="{7FAF9601-F412-47B7-9983-4C505D431AA1}"/>
                </a:ext>
              </a:extLst>
            </p:cNvPr>
            <p:cNvCxnSpPr>
              <a:cxnSpLocks/>
            </p:cNvCxnSpPr>
            <p:nvPr/>
          </p:nvCxnSpPr>
          <p:spPr>
            <a:xfrm flipV="1">
              <a:off x="5218923" y="3572077"/>
              <a:ext cx="1645920" cy="2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C8419F2C-A82D-433C-852A-D3374B2B5995}"/>
                </a:ext>
              </a:extLst>
            </p:cNvPr>
            <p:cNvSpPr txBox="1"/>
            <p:nvPr/>
          </p:nvSpPr>
          <p:spPr>
            <a:xfrm>
              <a:off x="5018125" y="3511274"/>
              <a:ext cx="2094219" cy="1518557"/>
            </a:xfrm>
            <a:prstGeom prst="rect">
              <a:avLst/>
            </a:prstGeom>
            <a:noFill/>
          </p:spPr>
          <p:txBody>
            <a:bodyPr wrap="square" rtlCol="0">
              <a:spAutoFit/>
            </a:bodyPr>
            <a:lstStyle/>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griculture</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nimal Husbandry</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Healthcare</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ndustrial</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hemicals</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Leather and Textiles</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Others</a:t>
              </a:r>
            </a:p>
          </p:txBody>
        </p:sp>
        <p:cxnSp>
          <p:nvCxnSpPr>
            <p:cNvPr id="25" name="Straight Connector 24">
              <a:extLst>
                <a:ext uri="{FF2B5EF4-FFF2-40B4-BE49-F238E27FC236}">
                  <a16:creationId xmlns:a16="http://schemas.microsoft.com/office/drawing/2014/main" id="{8B709E4D-FF1F-4BE9-A416-EF307C1FD0FF}"/>
                </a:ext>
              </a:extLst>
            </p:cNvPr>
            <p:cNvCxnSpPr>
              <a:cxnSpLocks/>
            </p:cNvCxnSpPr>
            <p:nvPr/>
          </p:nvCxnSpPr>
          <p:spPr>
            <a:xfrm flipV="1">
              <a:off x="3461598" y="5538537"/>
              <a:ext cx="1737360" cy="2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EEF7A043-383D-44DE-AA81-818E7903F845}"/>
                </a:ext>
              </a:extLst>
            </p:cNvPr>
            <p:cNvSpPr txBox="1"/>
            <p:nvPr/>
          </p:nvSpPr>
          <p:spPr>
            <a:xfrm>
              <a:off x="3453104" y="5312019"/>
              <a:ext cx="1458308" cy="230832"/>
            </a:xfrm>
            <a:prstGeom prst="rect">
              <a:avLst/>
            </a:prstGeom>
            <a:noFill/>
          </p:spPr>
          <p:txBody>
            <a:bodyPr wrap="square" rtlCol="0">
              <a:spAutoFit/>
            </a:bodyPr>
            <a:lstStyle/>
            <a:p>
              <a:r>
                <a:rPr lang="en-US" sz="900" b="1"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OUNTRY</a:t>
              </a:r>
            </a:p>
          </p:txBody>
        </p:sp>
        <p:sp>
          <p:nvSpPr>
            <p:cNvPr id="27" name="TextBox 26">
              <a:extLst>
                <a:ext uri="{FF2B5EF4-FFF2-40B4-BE49-F238E27FC236}">
                  <a16:creationId xmlns:a16="http://schemas.microsoft.com/office/drawing/2014/main" id="{5D9DE818-9029-41AA-BD5D-8856BCBB6AB5}"/>
                </a:ext>
              </a:extLst>
            </p:cNvPr>
            <p:cNvSpPr txBox="1"/>
            <p:nvPr/>
          </p:nvSpPr>
          <p:spPr>
            <a:xfrm>
              <a:off x="3538158" y="5558400"/>
              <a:ext cx="1858513" cy="1310808"/>
            </a:xfrm>
            <a:prstGeom prst="rect">
              <a:avLst/>
            </a:prstGeom>
            <a:noFill/>
          </p:spPr>
          <p:txBody>
            <a:bodyPr wrap="square" rtlCol="0">
              <a:spAutoFit/>
            </a:bodyPr>
            <a:lstStyle/>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ndonesia</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Vietnam </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laysia</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hilippines</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hailand</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Rest of Southeast Asia</a:t>
              </a:r>
            </a:p>
          </p:txBody>
        </p:sp>
      </p:grpSp>
      <p:sp>
        <p:nvSpPr>
          <p:cNvPr id="4" name="Rectangle 3">
            <a:extLst>
              <a:ext uri="{FF2B5EF4-FFF2-40B4-BE49-F238E27FC236}">
                <a16:creationId xmlns:a16="http://schemas.microsoft.com/office/drawing/2014/main" id="{F9D79E48-8DC8-40FD-8AD9-AD984BB6B352}"/>
              </a:ext>
            </a:extLst>
          </p:cNvPr>
          <p:cNvSpPr/>
          <p:nvPr/>
        </p:nvSpPr>
        <p:spPr>
          <a:xfrm>
            <a:off x="34796" y="885625"/>
            <a:ext cx="297308" cy="1541496"/>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854A487D-364E-4305-BD6B-A8A03450B17A}"/>
              </a:ext>
            </a:extLst>
          </p:cNvPr>
          <p:cNvSpPr/>
          <p:nvPr/>
        </p:nvSpPr>
        <p:spPr>
          <a:xfrm>
            <a:off x="350823" y="752670"/>
            <a:ext cx="8514881" cy="1998624"/>
          </a:xfrm>
          <a:prstGeom prst="rect">
            <a:avLst/>
          </a:prstGeom>
        </p:spPr>
        <p:txBody>
          <a:bodyPr wrap="square">
            <a:spAutoFit/>
          </a:bodyPr>
          <a:lstStyle/>
          <a:p>
            <a:pPr algn="just">
              <a:lnSpc>
                <a:spcPct val="150000"/>
              </a:lnSpc>
            </a:pPr>
            <a:r>
              <a:rPr lang="en-US" sz="1050" dirty="0">
                <a:solidFill>
                  <a:schemeClr val="bg1"/>
                </a:solidFill>
                <a:latin typeface="Verdana" panose="020B0604030504040204" pitchFamily="34" charset="0"/>
                <a:ea typeface="Verdana" panose="020B0604030504040204" pitchFamily="34" charset="0"/>
                <a:cs typeface="Verdana" panose="020B0604030504040204" pitchFamily="34" charset="0"/>
              </a:rPr>
              <a:t>Copper sulphate or CuSO4 is an inorganic compound that combines copper and sulphate. In the liquid or powdered form, it is commonly called basic copper sulphate, tri–basic copper sulphate, or CP basic sulphate. In the solid form, a crystal shaped stone is formed which is commonly known as pentahydrate or blue stone or blue vitriol for its blue color. It is mostly used as a raw material in the solid form for producing other copper salts. Copper Sulphate has end use in major industries like agriculture, animal husbandry and pharmaceutical industry. Besides, it also finds extensive applications in several other fields like construction industry, chemical industry, and others. Due to its ideal properties, it is often used in the pharmaceutical industries as an anti-malaria agent, antiseptic and germicide against fungus infections. Copper sulphate (CuSO4 ) is the prime raw material in the preparation of </a:t>
            </a:r>
            <a:r>
              <a:rPr lang="en-US" sz="1050" dirty="0" err="1">
                <a:solidFill>
                  <a:schemeClr val="bg1"/>
                </a:solidFill>
                <a:latin typeface="Verdana" panose="020B0604030504040204" pitchFamily="34" charset="0"/>
                <a:ea typeface="Verdana" panose="020B0604030504040204" pitchFamily="34" charset="0"/>
                <a:cs typeface="Verdana" panose="020B0604030504040204" pitchFamily="34" charset="0"/>
              </a:rPr>
              <a:t>bordeaux</a:t>
            </a:r>
            <a:r>
              <a:rPr lang="en-US" sz="1050" dirty="0">
                <a:solidFill>
                  <a:schemeClr val="bg1"/>
                </a:solidFill>
                <a:latin typeface="Verdana" panose="020B0604030504040204" pitchFamily="34" charset="0"/>
                <a:ea typeface="Verdana" panose="020B0604030504040204" pitchFamily="34" charset="0"/>
                <a:cs typeface="Verdana" panose="020B0604030504040204" pitchFamily="34" charset="0"/>
              </a:rPr>
              <a:t> mixture </a:t>
            </a:r>
          </a:p>
        </p:txBody>
      </p:sp>
      <p:sp>
        <p:nvSpPr>
          <p:cNvPr id="18" name="Text Placeholder 5">
            <a:extLst>
              <a:ext uri="{FF2B5EF4-FFF2-40B4-BE49-F238E27FC236}">
                <a16:creationId xmlns:a16="http://schemas.microsoft.com/office/drawing/2014/main" id="{AA30CFDE-4404-4611-AD19-CEF4422F42E0}"/>
              </a:ext>
            </a:extLst>
          </p:cNvPr>
          <p:cNvSpPr txBox="1">
            <a:spLocks/>
          </p:cNvSpPr>
          <p:nvPr/>
        </p:nvSpPr>
        <p:spPr>
          <a:xfrm>
            <a:off x="90318" y="3016575"/>
            <a:ext cx="2277874" cy="368051"/>
          </a:xfrm>
          <a:prstGeom prst="rect">
            <a:avLst/>
          </a:prstGeom>
          <a:solidFill>
            <a:schemeClr val="tx2">
              <a:lumMod val="60000"/>
              <a:lumOff val="40000"/>
            </a:schemeClr>
          </a:solidFill>
          <a:ln>
            <a:noFill/>
          </a:ln>
          <a:effectLst/>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1200" b="1" kern="1200" spc="300">
                <a:solidFill>
                  <a:schemeClr val="bg2">
                    <a:lumMod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US" sz="1400" spc="0" dirty="0">
                <a:solidFill>
                  <a:schemeClr val="bg1"/>
                </a:solidFill>
                <a:latin typeface="Veradana"/>
              </a:rPr>
              <a:t>Market Segmentation</a:t>
            </a:r>
          </a:p>
        </p:txBody>
      </p:sp>
      <p:sp>
        <p:nvSpPr>
          <p:cNvPr id="29" name="Text Placeholder 5">
            <a:extLst>
              <a:ext uri="{FF2B5EF4-FFF2-40B4-BE49-F238E27FC236}">
                <a16:creationId xmlns:a16="http://schemas.microsoft.com/office/drawing/2014/main" id="{F2DA96F7-1836-4C7C-B3A2-524D73114087}"/>
              </a:ext>
            </a:extLst>
          </p:cNvPr>
          <p:cNvSpPr txBox="1">
            <a:spLocks/>
          </p:cNvSpPr>
          <p:nvPr/>
        </p:nvSpPr>
        <p:spPr>
          <a:xfrm>
            <a:off x="110638" y="164410"/>
            <a:ext cx="7863840" cy="514693"/>
          </a:xfrm>
          <a:prstGeom prst="rect">
            <a:avLst/>
          </a:prstGeom>
          <a:noFill/>
        </p:spPr>
        <p:txBody>
          <a:bodyPr vert="horz" wrap="square" lIns="91440" tIns="45720" rIns="91440" bIns="45720" rtlCol="0" anchor="ctr">
            <a:spAutoFit/>
          </a:bodyPr>
          <a:lstStyle>
            <a:defPPr>
              <a:defRPr lang="en-US"/>
            </a:defPPr>
            <a:lvl1pPr marR="0" lvl="0" indent="0" defTabSz="457200" fontAlgn="auto">
              <a:lnSpc>
                <a:spcPts val="1700"/>
              </a:lnSpc>
              <a:spcBef>
                <a:spcPct val="0"/>
              </a:spcBef>
              <a:spcAft>
                <a:spcPts val="0"/>
              </a:spcAft>
              <a:buClrTx/>
              <a:buSzTx/>
              <a:buFontTx/>
              <a:buNone/>
              <a:tabLst/>
              <a:defRPr kumimoji="0" sz="1400" b="1" i="0" u="none" strike="noStrike" cap="none" spc="0" normalizeH="0" baseline="0">
                <a:ln>
                  <a:noFill/>
                </a:ln>
                <a:solidFill>
                  <a:prstClr val="black"/>
                </a:solidFill>
                <a:effectLst/>
                <a:uLnTx/>
                <a:uFillTx/>
                <a:latin typeface="Arial" panose="020B0604020202020204" pitchFamily="34" charset="0"/>
                <a:ea typeface="+mj-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opper Sulphate</a:t>
            </a:r>
          </a:p>
          <a:p>
            <a:r>
              <a:rPr lang="en-US" dirty="0"/>
              <a:t>An Introduction &amp; Product Classification</a:t>
            </a:r>
          </a:p>
        </p:txBody>
      </p:sp>
      <p:cxnSp>
        <p:nvCxnSpPr>
          <p:cNvPr id="33" name="Straight Connector 32">
            <a:extLst>
              <a:ext uri="{FF2B5EF4-FFF2-40B4-BE49-F238E27FC236}">
                <a16:creationId xmlns:a16="http://schemas.microsoft.com/office/drawing/2014/main" id="{F3B581FF-2E3C-4220-ABDC-F86D4C24BBB8}"/>
              </a:ext>
            </a:extLst>
          </p:cNvPr>
          <p:cNvCxnSpPr>
            <a:cxnSpLocks/>
          </p:cNvCxnSpPr>
          <p:nvPr/>
        </p:nvCxnSpPr>
        <p:spPr>
          <a:xfrm flipV="1">
            <a:off x="2589650" y="4492777"/>
            <a:ext cx="1737360" cy="2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88360F20-0051-4098-8800-54E7AF0039EC}"/>
              </a:ext>
            </a:extLst>
          </p:cNvPr>
          <p:cNvPicPr>
            <a:picLocks noChangeAspect="1"/>
          </p:cNvPicPr>
          <p:nvPr/>
        </p:nvPicPr>
        <p:blipFill>
          <a:blip r:embed="rId2"/>
          <a:stretch>
            <a:fillRect/>
          </a:stretch>
        </p:blipFill>
        <p:spPr>
          <a:xfrm>
            <a:off x="258418" y="4121426"/>
            <a:ext cx="2133600" cy="1790907"/>
          </a:xfrm>
          <a:prstGeom prst="rect">
            <a:avLst/>
          </a:prstGeom>
          <a:ln>
            <a:noFill/>
          </a:ln>
          <a:effectLst>
            <a:softEdge rad="112500"/>
          </a:effectLst>
        </p:spPr>
      </p:pic>
    </p:spTree>
    <p:extLst>
      <p:ext uri="{BB962C8B-B14F-4D97-AF65-F5344CB8AC3E}">
        <p14:creationId xmlns:p14="http://schemas.microsoft.com/office/powerpoint/2010/main" val="191377913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CCB8C0E1-8C85-4EF3-9CBE-3C15871E39D8}"/>
              </a:ext>
            </a:extLst>
          </p:cNvPr>
          <p:cNvSpPr/>
          <p:nvPr/>
        </p:nvSpPr>
        <p:spPr>
          <a:xfrm>
            <a:off x="5523923" y="1305251"/>
            <a:ext cx="2930964" cy="2387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Key Product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pper Sulphate Pentahydrate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Benzoic Acid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sopropyl Alcohol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Fumaric Acid</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PBTC</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holine Chloride 60% Corn Cob</a:t>
            </a: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a:extLst>
              <a:ext uri="{FF2B5EF4-FFF2-40B4-BE49-F238E27FC236}">
                <a16:creationId xmlns:a16="http://schemas.microsoft.com/office/drawing/2014/main" id="{896F70A6-D878-4043-AEED-5DF40CC8B30D}"/>
              </a:ext>
            </a:extLst>
          </p:cNvPr>
          <p:cNvSpPr/>
          <p:nvPr/>
        </p:nvSpPr>
        <p:spPr>
          <a:xfrm>
            <a:off x="111247" y="1231569"/>
            <a:ext cx="4460753" cy="55015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Business Overview</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is a leading manufacturer of copper sulphate and is specialized in the supply of various industrial and specialty chemicals to different industries in Indonesia.</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has its headquarters in Singapore.</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has been serving chemicals for more than 50 years and has presence of around 15 years in Indonesia.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possesses a strong research &amp; development strength with technical research &amp; development center at municipal level.</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provides its products in different segments, i.e., for industry, for food, for chemical functions, for pharmacy and essential oils.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expanded its business fields to food and pharmaceuticals industries in 2012.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also expanded its business scope to tire division in 2014.</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n the 1990s, the company also expanded its business in various other countries in South-east Asia.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vides different chemicals for different end user industries like paint, coating &amp; ink, textile, adhesive, water treatment, oil &amp; gas, metal treatment and feed.</a:t>
            </a: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41" name="Rectangle 40">
            <a:extLst>
              <a:ext uri="{FF2B5EF4-FFF2-40B4-BE49-F238E27FC236}">
                <a16:creationId xmlns:a16="http://schemas.microsoft.com/office/drawing/2014/main" id="{684EA538-8FD1-451C-8E1C-8FCE891298A5}"/>
              </a:ext>
            </a:extLst>
          </p:cNvPr>
          <p:cNvSpPr/>
          <p:nvPr/>
        </p:nvSpPr>
        <p:spPr>
          <a:xfrm>
            <a:off x="143345" y="211462"/>
            <a:ext cx="3874846" cy="461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lnSpc>
                <a:spcPct val="90000"/>
              </a:lnSpc>
              <a:spcBef>
                <a:spcPts val="1000"/>
              </a:spcBef>
              <a:defRPr/>
            </a:pPr>
            <a:r>
              <a:rPr lang="en-US" sz="1400" b="1" dirty="0">
                <a:solidFill>
                  <a:sysClr val="windowText" lastClr="000000"/>
                </a:solidFill>
                <a:latin typeface="Arial" panose="020B0604020202020204" pitchFamily="34" charset="0"/>
                <a:cs typeface="Arial" panose="020B0604020202020204" pitchFamily="34" charset="0"/>
              </a:rPr>
              <a:t>Lam Seng Hang Indonesia. PT  </a:t>
            </a:r>
          </a:p>
        </p:txBody>
      </p:sp>
      <p:cxnSp>
        <p:nvCxnSpPr>
          <p:cNvPr id="15" name="Straight Connector 14">
            <a:extLst>
              <a:ext uri="{FF2B5EF4-FFF2-40B4-BE49-F238E27FC236}">
                <a16:creationId xmlns:a16="http://schemas.microsoft.com/office/drawing/2014/main" id="{C095BC8B-C86A-493A-BFED-CCEFC4CFE752}"/>
              </a:ext>
            </a:extLst>
          </p:cNvPr>
          <p:cNvCxnSpPr>
            <a:cxnSpLocks/>
          </p:cNvCxnSpPr>
          <p:nvPr/>
        </p:nvCxnSpPr>
        <p:spPr>
          <a:xfrm>
            <a:off x="5523923" y="2588313"/>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C213BE0-CCC8-4053-B4A6-383F119FFB82}"/>
              </a:ext>
            </a:extLst>
          </p:cNvPr>
          <p:cNvSpPr/>
          <p:nvPr/>
        </p:nvSpPr>
        <p:spPr>
          <a:xfrm>
            <a:off x="0" y="768609"/>
            <a:ext cx="9144000" cy="476655"/>
          </a:xfrm>
          <a:prstGeom prst="rect">
            <a:avLst/>
          </a:prstGeom>
          <a:solidFill>
            <a:srgbClr val="235B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dirty="0">
              <a:solidFill>
                <a:prstClr val="white"/>
              </a:solidFill>
              <a:latin typeface="Calibri" panose="020F0502020204030204"/>
            </a:endParaRPr>
          </a:p>
        </p:txBody>
      </p:sp>
      <p:sp>
        <p:nvSpPr>
          <p:cNvPr id="14" name="Rectangle 13">
            <a:extLst>
              <a:ext uri="{FF2B5EF4-FFF2-40B4-BE49-F238E27FC236}">
                <a16:creationId xmlns:a16="http://schemas.microsoft.com/office/drawing/2014/main" id="{103CB4B1-B615-4152-8D58-3761152E8BC6}"/>
              </a:ext>
            </a:extLst>
          </p:cNvPr>
          <p:cNvSpPr>
            <a:spLocks noChangeArrowheads="1"/>
          </p:cNvSpPr>
          <p:nvPr>
            <p:custDataLst>
              <p:tags r:id="rId1"/>
            </p:custDataLst>
          </p:nvPr>
        </p:nvSpPr>
        <p:spPr bwMode="auto">
          <a:xfrm>
            <a:off x="5665001" y="3557748"/>
            <a:ext cx="3082153" cy="669750"/>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KEY MANAGEMENT PERSONNEL</a:t>
            </a:r>
          </a:p>
          <a:p>
            <a:pPr marL="171450" indent="-171450" defTabSz="895350">
              <a:lnSpc>
                <a:spcPct val="150000"/>
              </a:lnSpc>
              <a:buSzPct val="120000"/>
              <a:buFont typeface="Arial" panose="020B0604020202020204" pitchFamily="34" charset="0"/>
              <a:buChar char="•"/>
              <a:defRPr/>
            </a:pPr>
            <a:r>
              <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Mr.</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Yue Huan Lee (Chairman &amp; CEO)</a:t>
            </a: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a:p>
            <a:pPr defTabSz="895350">
              <a:lnSpc>
                <a:spcPct val="150000"/>
              </a:lnSpc>
              <a:buSzPct val="120000"/>
              <a:defRPr/>
            </a:pP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20" name="Rectangle 30">
            <a:extLst>
              <a:ext uri="{FF2B5EF4-FFF2-40B4-BE49-F238E27FC236}">
                <a16:creationId xmlns:a16="http://schemas.microsoft.com/office/drawing/2014/main" id="{906F3204-7CA3-464B-B2C5-C3629769BA69}"/>
              </a:ext>
            </a:extLst>
          </p:cNvPr>
          <p:cNvSpPr/>
          <p:nvPr/>
        </p:nvSpPr>
        <p:spPr>
          <a:xfrm>
            <a:off x="4930112" y="5786813"/>
            <a:ext cx="657400" cy="497690"/>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rgbClr val="004D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defRPr/>
            </a:pPr>
            <a:endParaRPr lang="ko-KR" altLang="en-US" dirty="0">
              <a:solidFill>
                <a:prstClr val="white"/>
              </a:solidFill>
              <a:latin typeface="Calibri" panose="020F0502020204030204"/>
              <a:ea typeface="맑은 고딕" panose="020B0503020000020004" pitchFamily="34" charset="-127"/>
            </a:endParaRPr>
          </a:p>
        </p:txBody>
      </p:sp>
      <p:sp>
        <p:nvSpPr>
          <p:cNvPr id="21" name="Rectangle 20">
            <a:extLst>
              <a:ext uri="{FF2B5EF4-FFF2-40B4-BE49-F238E27FC236}">
                <a16:creationId xmlns:a16="http://schemas.microsoft.com/office/drawing/2014/main" id="{76EED92C-C6A3-4464-8E26-C188DE2FFDEB}"/>
              </a:ext>
            </a:extLst>
          </p:cNvPr>
          <p:cNvSpPr>
            <a:spLocks noChangeArrowheads="1"/>
          </p:cNvSpPr>
          <p:nvPr>
            <p:custDataLst>
              <p:tags r:id="rId2"/>
            </p:custDataLst>
          </p:nvPr>
        </p:nvSpPr>
        <p:spPr bwMode="auto">
          <a:xfrm>
            <a:off x="5661021" y="4343739"/>
            <a:ext cx="2189271" cy="173395"/>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COMPANY CONTACT ADDRESS</a:t>
            </a:r>
          </a:p>
        </p:txBody>
      </p:sp>
      <p:sp>
        <p:nvSpPr>
          <p:cNvPr id="22" name="Rectangle 21">
            <a:extLst>
              <a:ext uri="{FF2B5EF4-FFF2-40B4-BE49-F238E27FC236}">
                <a16:creationId xmlns:a16="http://schemas.microsoft.com/office/drawing/2014/main" id="{65FEB033-CD4D-4FC9-BC56-D6E0E9D1328A}"/>
              </a:ext>
            </a:extLst>
          </p:cNvPr>
          <p:cNvSpPr/>
          <p:nvPr/>
        </p:nvSpPr>
        <p:spPr>
          <a:xfrm>
            <a:off x="5661021" y="5445098"/>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fr-FR" sz="1000" dirty="0">
              <a:solidFill>
                <a:srgbClr val="E7E6E6">
                  <a:lumMod val="25000"/>
                </a:srgbClr>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3" name="Straight Connector 22">
            <a:extLst>
              <a:ext uri="{FF2B5EF4-FFF2-40B4-BE49-F238E27FC236}">
                <a16:creationId xmlns:a16="http://schemas.microsoft.com/office/drawing/2014/main" id="{3F1EF660-7D95-485B-AF49-C2AFAAE56896}"/>
              </a:ext>
            </a:extLst>
          </p:cNvPr>
          <p:cNvCxnSpPr>
            <a:cxnSpLocks/>
          </p:cNvCxnSpPr>
          <p:nvPr/>
        </p:nvCxnSpPr>
        <p:spPr>
          <a:xfrm>
            <a:off x="5523923" y="2581208"/>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B633E14-576C-4FE2-B529-A82B3A2F75FF}"/>
              </a:ext>
            </a:extLst>
          </p:cNvPr>
          <p:cNvSpPr txBox="1"/>
          <p:nvPr/>
        </p:nvSpPr>
        <p:spPr>
          <a:xfrm>
            <a:off x="5746783" y="6496941"/>
            <a:ext cx="2071999"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200">
              <a:defRPr/>
            </a:pPr>
            <a:r>
              <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Source: </a:t>
            </a:r>
            <a:r>
              <a:rPr lang="en-US"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http://lsh-indonesia.com/</a:t>
            </a:r>
            <a:endPar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endParaRPr>
          </a:p>
        </p:txBody>
      </p:sp>
      <p:sp>
        <p:nvSpPr>
          <p:cNvPr id="28" name="Rectangle 27">
            <a:extLst>
              <a:ext uri="{FF2B5EF4-FFF2-40B4-BE49-F238E27FC236}">
                <a16:creationId xmlns:a16="http://schemas.microsoft.com/office/drawing/2014/main" id="{A3A0F7DB-C452-4646-B3B6-9891696C6712}"/>
              </a:ext>
            </a:extLst>
          </p:cNvPr>
          <p:cNvSpPr/>
          <p:nvPr/>
        </p:nvSpPr>
        <p:spPr>
          <a:xfrm>
            <a:off x="5734530" y="4961005"/>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30" name="Rectangle 29">
            <a:extLst>
              <a:ext uri="{FF2B5EF4-FFF2-40B4-BE49-F238E27FC236}">
                <a16:creationId xmlns:a16="http://schemas.microsoft.com/office/drawing/2014/main" id="{BBC228FF-3743-4A1B-978F-133245807885}"/>
              </a:ext>
            </a:extLst>
          </p:cNvPr>
          <p:cNvSpPr/>
          <p:nvPr/>
        </p:nvSpPr>
        <p:spPr>
          <a:xfrm>
            <a:off x="5587512" y="4443763"/>
            <a:ext cx="3032503" cy="850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yber 2, Tower, Blok X5 No. 13, 12950 RT.7/RW.2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Kuninga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Timur Kota Jakarta Selatan DKI Jakarta ID 12950, Jl. H. R.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Rasuna</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Said, RT.1/RW.2,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Kuninga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Kuninga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Tim.,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Kecamata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Setiabudi</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Kota Jakarta Selatan, Daerah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Khusu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Ibukota</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Jakarta 12950, Indonesia</a:t>
            </a:r>
          </a:p>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ntact No: +62 21 29021438</a:t>
            </a:r>
            <a:endPar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pic>
        <p:nvPicPr>
          <p:cNvPr id="19" name="Picture 18">
            <a:extLst>
              <a:ext uri="{FF2B5EF4-FFF2-40B4-BE49-F238E27FC236}">
                <a16:creationId xmlns:a16="http://schemas.microsoft.com/office/drawing/2014/main" id="{C701554C-FE52-4A61-A435-CABDEBFB59FD}"/>
              </a:ext>
            </a:extLst>
          </p:cNvPr>
          <p:cNvPicPr>
            <a:picLocks noChangeAspect="1"/>
          </p:cNvPicPr>
          <p:nvPr/>
        </p:nvPicPr>
        <p:blipFill>
          <a:blip r:embed="rId4"/>
          <a:stretch>
            <a:fillRect/>
          </a:stretch>
        </p:blipFill>
        <p:spPr>
          <a:xfrm>
            <a:off x="3519006" y="211462"/>
            <a:ext cx="1739806" cy="461309"/>
          </a:xfrm>
          <a:prstGeom prst="rect">
            <a:avLst/>
          </a:prstGeom>
        </p:spPr>
      </p:pic>
    </p:spTree>
    <p:extLst>
      <p:ext uri="{BB962C8B-B14F-4D97-AF65-F5344CB8AC3E}">
        <p14:creationId xmlns:p14="http://schemas.microsoft.com/office/powerpoint/2010/main" val="251250860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CCB8C0E1-8C85-4EF3-9CBE-3C15871E39D8}"/>
              </a:ext>
            </a:extLst>
          </p:cNvPr>
          <p:cNvSpPr/>
          <p:nvPr/>
        </p:nvSpPr>
        <p:spPr>
          <a:xfrm>
            <a:off x="5523923" y="1305251"/>
            <a:ext cx="2930964" cy="2387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Key Product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pper Sulphate Pentahydrate </a:t>
            </a: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a:extLst>
              <a:ext uri="{FF2B5EF4-FFF2-40B4-BE49-F238E27FC236}">
                <a16:creationId xmlns:a16="http://schemas.microsoft.com/office/drawing/2014/main" id="{896F70A6-D878-4043-AEED-5DF40CC8B30D}"/>
              </a:ext>
            </a:extLst>
          </p:cNvPr>
          <p:cNvSpPr/>
          <p:nvPr/>
        </p:nvSpPr>
        <p:spPr>
          <a:xfrm>
            <a:off x="111247" y="1231569"/>
            <a:ext cx="4604921" cy="55015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8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Business Overview</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was established in 2006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Rojana</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Industrial Park, located in Ayutthaya Province, Thailand.</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is one of the leading manufacturers in copper sulphate with annual capacity of 6000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tonne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focuses on product development, production and service, quality, safety and customer satisfaction. </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s mission is to provide copper sulphate products with international quality standards and competitive prices.</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duces copper sulphate pentahydrate which has applications in fertilizers in plantation, animal feed additive, wood fungicides, soil improvement, fishery and shrimp goods. </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is certified with 	ISO 9001 : 2015, CODEX : GMP, and FAMI - QS.</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KCE Electronics Public Company Limited acquired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Chemtronic</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Technology Co. Ltd. on October 2, 2012, which holds around 94.75% of shares. </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vides copper sulphate with certain specifications like purity with greater than 98%,  and lead with maximum 50 ppm.</a:t>
            </a:r>
          </a:p>
          <a:p>
            <a:pPr marL="171450" indent="-171450" algn="just" defTabSz="457200">
              <a:lnSpc>
                <a:spcPct val="18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8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8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8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8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8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41" name="Rectangle 40">
            <a:extLst>
              <a:ext uri="{FF2B5EF4-FFF2-40B4-BE49-F238E27FC236}">
                <a16:creationId xmlns:a16="http://schemas.microsoft.com/office/drawing/2014/main" id="{684EA538-8FD1-451C-8E1C-8FCE891298A5}"/>
              </a:ext>
            </a:extLst>
          </p:cNvPr>
          <p:cNvSpPr/>
          <p:nvPr/>
        </p:nvSpPr>
        <p:spPr>
          <a:xfrm>
            <a:off x="143345" y="171706"/>
            <a:ext cx="3156446" cy="461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lnSpc>
                <a:spcPct val="90000"/>
              </a:lnSpc>
              <a:spcBef>
                <a:spcPts val="1000"/>
              </a:spcBef>
              <a:defRPr/>
            </a:pPr>
            <a:r>
              <a:rPr lang="en-US" sz="1400" b="1" dirty="0" err="1">
                <a:solidFill>
                  <a:sysClr val="windowText" lastClr="000000"/>
                </a:solidFill>
                <a:latin typeface="Arial" panose="020B0604020202020204" pitchFamily="34" charset="0"/>
                <a:cs typeface="Arial" panose="020B0604020202020204" pitchFamily="34" charset="0"/>
              </a:rPr>
              <a:t>Chemtronic</a:t>
            </a:r>
            <a:r>
              <a:rPr lang="en-US" sz="1400" b="1" dirty="0">
                <a:solidFill>
                  <a:sysClr val="windowText" lastClr="000000"/>
                </a:solidFill>
                <a:latin typeface="Arial" panose="020B0604020202020204" pitchFamily="34" charset="0"/>
                <a:cs typeface="Arial" panose="020B0604020202020204" pitchFamily="34" charset="0"/>
              </a:rPr>
              <a:t> Technology</a:t>
            </a:r>
          </a:p>
          <a:p>
            <a:pPr fontAlgn="base">
              <a:lnSpc>
                <a:spcPct val="90000"/>
              </a:lnSpc>
              <a:spcBef>
                <a:spcPts val="1000"/>
              </a:spcBef>
              <a:defRPr/>
            </a:pPr>
            <a:r>
              <a:rPr lang="en-US" sz="1400" b="1" dirty="0">
                <a:solidFill>
                  <a:sysClr val="windowText" lastClr="000000"/>
                </a:solidFill>
                <a:latin typeface="Arial" panose="020B0604020202020204" pitchFamily="34" charset="0"/>
                <a:cs typeface="Arial" panose="020B0604020202020204" pitchFamily="34" charset="0"/>
              </a:rPr>
              <a:t>(Thailand) </a:t>
            </a:r>
            <a:r>
              <a:rPr lang="en-US" sz="1400" b="1" dirty="0" err="1">
                <a:solidFill>
                  <a:sysClr val="windowText" lastClr="000000"/>
                </a:solidFill>
                <a:latin typeface="Arial" panose="020B0604020202020204" pitchFamily="34" charset="0"/>
                <a:cs typeface="Arial" panose="020B0604020202020204" pitchFamily="34" charset="0"/>
              </a:rPr>
              <a:t>Co.,Ltd</a:t>
            </a:r>
            <a:r>
              <a:rPr lang="en-US" sz="1400" b="1" dirty="0">
                <a:solidFill>
                  <a:sysClr val="windowText" lastClr="000000"/>
                </a:solidFill>
                <a:latin typeface="Arial" panose="020B0604020202020204" pitchFamily="34" charset="0"/>
                <a:cs typeface="Arial" panose="020B0604020202020204" pitchFamily="34" charset="0"/>
              </a:rPr>
              <a:t>.  </a:t>
            </a:r>
          </a:p>
        </p:txBody>
      </p:sp>
      <p:cxnSp>
        <p:nvCxnSpPr>
          <p:cNvPr id="15" name="Straight Connector 14">
            <a:extLst>
              <a:ext uri="{FF2B5EF4-FFF2-40B4-BE49-F238E27FC236}">
                <a16:creationId xmlns:a16="http://schemas.microsoft.com/office/drawing/2014/main" id="{C095BC8B-C86A-493A-BFED-CCEFC4CFE752}"/>
              </a:ext>
            </a:extLst>
          </p:cNvPr>
          <p:cNvCxnSpPr>
            <a:cxnSpLocks/>
          </p:cNvCxnSpPr>
          <p:nvPr/>
        </p:nvCxnSpPr>
        <p:spPr>
          <a:xfrm>
            <a:off x="5523923" y="2588313"/>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C213BE0-CCC8-4053-B4A6-383F119FFB82}"/>
              </a:ext>
            </a:extLst>
          </p:cNvPr>
          <p:cNvSpPr/>
          <p:nvPr/>
        </p:nvSpPr>
        <p:spPr>
          <a:xfrm>
            <a:off x="0" y="768609"/>
            <a:ext cx="9144000" cy="476655"/>
          </a:xfrm>
          <a:prstGeom prst="rect">
            <a:avLst/>
          </a:prstGeom>
          <a:solidFill>
            <a:srgbClr val="235B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dirty="0">
              <a:solidFill>
                <a:prstClr val="white"/>
              </a:solidFill>
              <a:latin typeface="Calibri" panose="020F0502020204030204"/>
            </a:endParaRPr>
          </a:p>
        </p:txBody>
      </p:sp>
      <p:sp>
        <p:nvSpPr>
          <p:cNvPr id="14" name="Rectangle 13">
            <a:extLst>
              <a:ext uri="{FF2B5EF4-FFF2-40B4-BE49-F238E27FC236}">
                <a16:creationId xmlns:a16="http://schemas.microsoft.com/office/drawing/2014/main" id="{103CB4B1-B615-4152-8D58-3761152E8BC6}"/>
              </a:ext>
            </a:extLst>
          </p:cNvPr>
          <p:cNvSpPr>
            <a:spLocks noChangeArrowheads="1"/>
          </p:cNvSpPr>
          <p:nvPr>
            <p:custDataLst>
              <p:tags r:id="rId1"/>
            </p:custDataLst>
          </p:nvPr>
        </p:nvSpPr>
        <p:spPr bwMode="auto">
          <a:xfrm>
            <a:off x="5665001" y="3557748"/>
            <a:ext cx="3082153" cy="669750"/>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KEY MANAGEMENT PERSONNEL</a:t>
            </a:r>
          </a:p>
          <a:p>
            <a:pPr marL="171450" indent="-171450" defTabSz="895350">
              <a:lnSpc>
                <a:spcPct val="150000"/>
              </a:lnSpc>
              <a:buSzPct val="120000"/>
              <a:buFont typeface="Arial" panose="020B0604020202020204" pitchFamily="34" charset="0"/>
              <a:buChar char="•"/>
              <a:defRPr/>
            </a:pPr>
            <a:r>
              <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Mr.</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Anastasios Papadopoulos (Chairman &amp; CEO)</a:t>
            </a: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a:p>
            <a:pPr defTabSz="895350">
              <a:lnSpc>
                <a:spcPct val="150000"/>
              </a:lnSpc>
              <a:buSzPct val="120000"/>
              <a:defRPr/>
            </a:pP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20" name="Rectangle 30">
            <a:extLst>
              <a:ext uri="{FF2B5EF4-FFF2-40B4-BE49-F238E27FC236}">
                <a16:creationId xmlns:a16="http://schemas.microsoft.com/office/drawing/2014/main" id="{906F3204-7CA3-464B-B2C5-C3629769BA69}"/>
              </a:ext>
            </a:extLst>
          </p:cNvPr>
          <p:cNvSpPr/>
          <p:nvPr/>
        </p:nvSpPr>
        <p:spPr>
          <a:xfrm>
            <a:off x="4893358" y="5250093"/>
            <a:ext cx="657400" cy="480051"/>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rgbClr val="004D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defRPr/>
            </a:pPr>
            <a:endParaRPr lang="ko-KR" altLang="en-US" dirty="0">
              <a:solidFill>
                <a:prstClr val="white"/>
              </a:solidFill>
              <a:latin typeface="Calibri" panose="020F0502020204030204"/>
              <a:ea typeface="맑은 고딕" panose="020B0503020000020004" pitchFamily="34" charset="-127"/>
            </a:endParaRPr>
          </a:p>
        </p:txBody>
      </p:sp>
      <p:sp>
        <p:nvSpPr>
          <p:cNvPr id="21" name="Rectangle 20">
            <a:extLst>
              <a:ext uri="{FF2B5EF4-FFF2-40B4-BE49-F238E27FC236}">
                <a16:creationId xmlns:a16="http://schemas.microsoft.com/office/drawing/2014/main" id="{76EED92C-C6A3-4464-8E26-C188DE2FFDEB}"/>
              </a:ext>
            </a:extLst>
          </p:cNvPr>
          <p:cNvSpPr>
            <a:spLocks noChangeArrowheads="1"/>
          </p:cNvSpPr>
          <p:nvPr>
            <p:custDataLst>
              <p:tags r:id="rId2"/>
            </p:custDataLst>
          </p:nvPr>
        </p:nvSpPr>
        <p:spPr bwMode="auto">
          <a:xfrm>
            <a:off x="5646965" y="5072657"/>
            <a:ext cx="2189271" cy="173395"/>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COMPANY CONTACT ADDRESS</a:t>
            </a:r>
          </a:p>
        </p:txBody>
      </p:sp>
      <p:sp>
        <p:nvSpPr>
          <p:cNvPr id="22" name="Rectangle 21">
            <a:extLst>
              <a:ext uri="{FF2B5EF4-FFF2-40B4-BE49-F238E27FC236}">
                <a16:creationId xmlns:a16="http://schemas.microsoft.com/office/drawing/2014/main" id="{65FEB033-CD4D-4FC9-BC56-D6E0E9D1328A}"/>
              </a:ext>
            </a:extLst>
          </p:cNvPr>
          <p:cNvSpPr/>
          <p:nvPr/>
        </p:nvSpPr>
        <p:spPr>
          <a:xfrm>
            <a:off x="5661021" y="5445098"/>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fr-FR" sz="1000" dirty="0">
              <a:solidFill>
                <a:srgbClr val="E7E6E6">
                  <a:lumMod val="25000"/>
                </a:srgbClr>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3" name="Straight Connector 22">
            <a:extLst>
              <a:ext uri="{FF2B5EF4-FFF2-40B4-BE49-F238E27FC236}">
                <a16:creationId xmlns:a16="http://schemas.microsoft.com/office/drawing/2014/main" id="{3F1EF660-7D95-485B-AF49-C2AFAAE56896}"/>
              </a:ext>
            </a:extLst>
          </p:cNvPr>
          <p:cNvCxnSpPr>
            <a:cxnSpLocks/>
          </p:cNvCxnSpPr>
          <p:nvPr/>
        </p:nvCxnSpPr>
        <p:spPr>
          <a:xfrm>
            <a:off x="5523923" y="2581208"/>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B633E14-576C-4FE2-B529-A82B3A2F75FF}"/>
              </a:ext>
            </a:extLst>
          </p:cNvPr>
          <p:cNvSpPr txBox="1"/>
          <p:nvPr/>
        </p:nvSpPr>
        <p:spPr>
          <a:xfrm>
            <a:off x="5746783" y="6496941"/>
            <a:ext cx="2602087"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200">
              <a:defRPr/>
            </a:pPr>
            <a:r>
              <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Source: </a:t>
            </a:r>
            <a:r>
              <a:rPr lang="en-US"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http://www.chemtronic-thai.com/</a:t>
            </a:r>
            <a:endPar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endParaRPr>
          </a:p>
        </p:txBody>
      </p:sp>
      <p:sp>
        <p:nvSpPr>
          <p:cNvPr id="28" name="Rectangle 27">
            <a:extLst>
              <a:ext uri="{FF2B5EF4-FFF2-40B4-BE49-F238E27FC236}">
                <a16:creationId xmlns:a16="http://schemas.microsoft.com/office/drawing/2014/main" id="{A3A0F7DB-C452-4646-B3B6-9891696C6712}"/>
              </a:ext>
            </a:extLst>
          </p:cNvPr>
          <p:cNvSpPr/>
          <p:nvPr/>
        </p:nvSpPr>
        <p:spPr>
          <a:xfrm>
            <a:off x="5734530" y="4961005"/>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30" name="Rectangle 29">
            <a:extLst>
              <a:ext uri="{FF2B5EF4-FFF2-40B4-BE49-F238E27FC236}">
                <a16:creationId xmlns:a16="http://schemas.microsoft.com/office/drawing/2014/main" id="{BBC228FF-3743-4A1B-978F-133245807885}"/>
              </a:ext>
            </a:extLst>
          </p:cNvPr>
          <p:cNvSpPr/>
          <p:nvPr/>
        </p:nvSpPr>
        <p:spPr>
          <a:xfrm>
            <a:off x="5587512" y="5304867"/>
            <a:ext cx="3032503" cy="850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28 1 Khan Ham,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Uthai</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Distric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Phra</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Nakhon Si Ayutthaya 13210, Thailand</a:t>
            </a:r>
          </a:p>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ntact No: +66 35 719 674</a:t>
            </a:r>
            <a:endPar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pic>
        <p:nvPicPr>
          <p:cNvPr id="3" name="Picture 2">
            <a:extLst>
              <a:ext uri="{FF2B5EF4-FFF2-40B4-BE49-F238E27FC236}">
                <a16:creationId xmlns:a16="http://schemas.microsoft.com/office/drawing/2014/main" id="{0A5F3CE3-DAE7-49D4-9D3E-756B9D984055}"/>
              </a:ext>
            </a:extLst>
          </p:cNvPr>
          <p:cNvPicPr>
            <a:picLocks noChangeAspect="1"/>
          </p:cNvPicPr>
          <p:nvPr/>
        </p:nvPicPr>
        <p:blipFill>
          <a:blip r:embed="rId4"/>
          <a:stretch>
            <a:fillRect/>
          </a:stretch>
        </p:blipFill>
        <p:spPr>
          <a:xfrm>
            <a:off x="3492500" y="216253"/>
            <a:ext cx="2533594" cy="381000"/>
          </a:xfrm>
          <a:prstGeom prst="rect">
            <a:avLst/>
          </a:prstGeom>
        </p:spPr>
      </p:pic>
    </p:spTree>
    <p:extLst>
      <p:ext uri="{BB962C8B-B14F-4D97-AF65-F5344CB8AC3E}">
        <p14:creationId xmlns:p14="http://schemas.microsoft.com/office/powerpoint/2010/main" val="37007420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CCB8C0E1-8C85-4EF3-9CBE-3C15871E39D8}"/>
              </a:ext>
            </a:extLst>
          </p:cNvPr>
          <p:cNvSpPr/>
          <p:nvPr/>
        </p:nvSpPr>
        <p:spPr>
          <a:xfrm>
            <a:off x="5523923" y="1305251"/>
            <a:ext cx="2930964" cy="2387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Key Product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pper Sulphate Pentahydrate </a:t>
            </a:r>
          </a:p>
          <a:p>
            <a:pPr marL="171450" indent="-171450" algn="just" defTabSz="457200">
              <a:lnSpc>
                <a:spcPct val="150000"/>
              </a:lnSpc>
              <a:buFont typeface="Arial" panose="020B0604020202020204" pitchFamily="34" charset="0"/>
              <a:buChar char="•"/>
              <a:defRPr/>
            </a:pP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Aluminium</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Sulphate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alcium Phosphate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Ferric Chloride, Solution</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Zinc Sulphate Monohydrate</a:t>
            </a:r>
          </a:p>
          <a:p>
            <a:pPr marL="171450" indent="-171450" algn="just" defTabSz="457200">
              <a:lnSpc>
                <a:spcPct val="150000"/>
              </a:lnSpc>
              <a:buFont typeface="Arial" panose="020B0604020202020204" pitchFamily="34" charset="0"/>
              <a:buChar char="•"/>
              <a:defRPr/>
            </a:pP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Gelatine</a:t>
            </a: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Konjac Gum</a:t>
            </a:r>
          </a:p>
          <a:p>
            <a:pPr marL="171450" indent="-171450" algn="just" defTabSz="457200">
              <a:lnSpc>
                <a:spcPct val="150000"/>
              </a:lnSpc>
              <a:buFont typeface="Arial" panose="020B0604020202020204" pitchFamily="34" charset="0"/>
              <a:buChar char="•"/>
              <a:defRPr/>
            </a:pP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Isomalt</a:t>
            </a: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llagen Hydrolysate</a:t>
            </a: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a:extLst>
              <a:ext uri="{FF2B5EF4-FFF2-40B4-BE49-F238E27FC236}">
                <a16:creationId xmlns:a16="http://schemas.microsoft.com/office/drawing/2014/main" id="{896F70A6-D878-4043-AEED-5DF40CC8B30D}"/>
              </a:ext>
            </a:extLst>
          </p:cNvPr>
          <p:cNvSpPr/>
          <p:nvPr/>
        </p:nvSpPr>
        <p:spPr>
          <a:xfrm>
            <a:off x="111247" y="1191813"/>
            <a:ext cx="4460753" cy="55015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Business Overview</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was established in August 1984 and has its headquarters in Taipei, Taiwan.</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is specialized in tariff barriers and in import/export.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provides complete business solutions to chemical manufacturers in Taiwan from importing chemical raw material from suppliers.</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has two divisions – Chemical and Food.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n 2002, the company established the food department with GELITA in extending the use of gelatin products into foods, drugs and supplements.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also began the distribution of Cargill’s raw materials for food and supplements which provides quality raw materials to foreign suppliers.</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produces various chemicals like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Aluminium</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Sulphate, Antimony Trioxide, Cobalt Oxide, Copper Sulphate Pentahydrate, Zinc Sulphate Heptahydrate, etc.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vides different chemicals for different end user industries like agriculture, livestock and poultry feed, water treatment, sewer treatment, chemicals, pigments, metals, wood preservatives, mining, fertilizers, etc.</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food division has different product lines, i.e., food ingredient, food additive, functional raw materials, etc. </a:t>
            </a: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41" name="Rectangle 40">
            <a:extLst>
              <a:ext uri="{FF2B5EF4-FFF2-40B4-BE49-F238E27FC236}">
                <a16:creationId xmlns:a16="http://schemas.microsoft.com/office/drawing/2014/main" id="{684EA538-8FD1-451C-8E1C-8FCE891298A5}"/>
              </a:ext>
            </a:extLst>
          </p:cNvPr>
          <p:cNvSpPr/>
          <p:nvPr/>
        </p:nvSpPr>
        <p:spPr>
          <a:xfrm>
            <a:off x="143345" y="211462"/>
            <a:ext cx="3874846" cy="461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lnSpc>
                <a:spcPct val="90000"/>
              </a:lnSpc>
              <a:spcBef>
                <a:spcPts val="1000"/>
              </a:spcBef>
              <a:defRPr/>
            </a:pPr>
            <a:r>
              <a:rPr lang="en-US" sz="1400" b="1" dirty="0" err="1">
                <a:solidFill>
                  <a:sysClr val="windowText" lastClr="000000"/>
                </a:solidFill>
                <a:latin typeface="Arial" panose="020B0604020202020204" pitchFamily="34" charset="0"/>
                <a:cs typeface="Arial" panose="020B0604020202020204" pitchFamily="34" charset="0"/>
              </a:rPr>
              <a:t>Buildmore</a:t>
            </a:r>
            <a:r>
              <a:rPr lang="en-US" sz="1400" b="1" dirty="0">
                <a:solidFill>
                  <a:sysClr val="windowText" lastClr="000000"/>
                </a:solidFill>
                <a:latin typeface="Arial" panose="020B0604020202020204" pitchFamily="34" charset="0"/>
                <a:cs typeface="Arial" panose="020B0604020202020204" pitchFamily="34" charset="0"/>
              </a:rPr>
              <a:t> Enterprise Co., Ltd.</a:t>
            </a:r>
          </a:p>
        </p:txBody>
      </p:sp>
      <p:cxnSp>
        <p:nvCxnSpPr>
          <p:cNvPr id="15" name="Straight Connector 14">
            <a:extLst>
              <a:ext uri="{FF2B5EF4-FFF2-40B4-BE49-F238E27FC236}">
                <a16:creationId xmlns:a16="http://schemas.microsoft.com/office/drawing/2014/main" id="{C095BC8B-C86A-493A-BFED-CCEFC4CFE752}"/>
              </a:ext>
            </a:extLst>
          </p:cNvPr>
          <p:cNvCxnSpPr>
            <a:cxnSpLocks/>
          </p:cNvCxnSpPr>
          <p:nvPr/>
        </p:nvCxnSpPr>
        <p:spPr>
          <a:xfrm>
            <a:off x="5523923" y="2588313"/>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C213BE0-CCC8-4053-B4A6-383F119FFB82}"/>
              </a:ext>
            </a:extLst>
          </p:cNvPr>
          <p:cNvSpPr/>
          <p:nvPr/>
        </p:nvSpPr>
        <p:spPr>
          <a:xfrm>
            <a:off x="0" y="768609"/>
            <a:ext cx="9144000" cy="476655"/>
          </a:xfrm>
          <a:prstGeom prst="rect">
            <a:avLst/>
          </a:prstGeom>
          <a:solidFill>
            <a:srgbClr val="235B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dirty="0">
              <a:solidFill>
                <a:prstClr val="white"/>
              </a:solidFill>
              <a:latin typeface="Calibri" panose="020F0502020204030204"/>
            </a:endParaRPr>
          </a:p>
        </p:txBody>
      </p:sp>
      <p:sp>
        <p:nvSpPr>
          <p:cNvPr id="14" name="Rectangle 13">
            <a:extLst>
              <a:ext uri="{FF2B5EF4-FFF2-40B4-BE49-F238E27FC236}">
                <a16:creationId xmlns:a16="http://schemas.microsoft.com/office/drawing/2014/main" id="{103CB4B1-B615-4152-8D58-3761152E8BC6}"/>
              </a:ext>
            </a:extLst>
          </p:cNvPr>
          <p:cNvSpPr>
            <a:spLocks noChangeArrowheads="1"/>
          </p:cNvSpPr>
          <p:nvPr>
            <p:custDataLst>
              <p:tags r:id="rId1"/>
            </p:custDataLst>
          </p:nvPr>
        </p:nvSpPr>
        <p:spPr bwMode="auto">
          <a:xfrm>
            <a:off x="5655736" y="4298663"/>
            <a:ext cx="3082153" cy="669750"/>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KEY MANAGEMENT PERSONNEL</a:t>
            </a:r>
          </a:p>
          <a:p>
            <a:pPr marL="171450" indent="-171450" defTabSz="895350">
              <a:lnSpc>
                <a:spcPct val="150000"/>
              </a:lnSpc>
              <a:buSzPct val="120000"/>
              <a:buFont typeface="Arial" panose="020B0604020202020204" pitchFamily="34" charset="0"/>
              <a:buChar char="•"/>
              <a:defRPr/>
            </a:pPr>
            <a:r>
              <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Mr.</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Yue Huan Lee (Chairman &amp; CEO)</a:t>
            </a: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a:p>
            <a:pPr defTabSz="895350">
              <a:lnSpc>
                <a:spcPct val="150000"/>
              </a:lnSpc>
              <a:buSzPct val="120000"/>
              <a:defRPr/>
            </a:pP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20" name="Rectangle 30">
            <a:extLst>
              <a:ext uri="{FF2B5EF4-FFF2-40B4-BE49-F238E27FC236}">
                <a16:creationId xmlns:a16="http://schemas.microsoft.com/office/drawing/2014/main" id="{906F3204-7CA3-464B-B2C5-C3629769BA69}"/>
              </a:ext>
            </a:extLst>
          </p:cNvPr>
          <p:cNvSpPr/>
          <p:nvPr/>
        </p:nvSpPr>
        <p:spPr>
          <a:xfrm>
            <a:off x="4930112" y="5786813"/>
            <a:ext cx="657400" cy="497690"/>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rgbClr val="004D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defRPr/>
            </a:pPr>
            <a:endParaRPr lang="ko-KR" altLang="en-US" dirty="0">
              <a:solidFill>
                <a:prstClr val="white"/>
              </a:solidFill>
              <a:latin typeface="Calibri" panose="020F0502020204030204"/>
              <a:ea typeface="맑은 고딕" panose="020B0503020000020004" pitchFamily="34" charset="-127"/>
            </a:endParaRPr>
          </a:p>
        </p:txBody>
      </p:sp>
      <p:sp>
        <p:nvSpPr>
          <p:cNvPr id="21" name="Rectangle 20">
            <a:extLst>
              <a:ext uri="{FF2B5EF4-FFF2-40B4-BE49-F238E27FC236}">
                <a16:creationId xmlns:a16="http://schemas.microsoft.com/office/drawing/2014/main" id="{76EED92C-C6A3-4464-8E26-C188DE2FFDEB}"/>
              </a:ext>
            </a:extLst>
          </p:cNvPr>
          <p:cNvSpPr>
            <a:spLocks noChangeArrowheads="1"/>
          </p:cNvSpPr>
          <p:nvPr>
            <p:custDataLst>
              <p:tags r:id="rId2"/>
            </p:custDataLst>
          </p:nvPr>
        </p:nvSpPr>
        <p:spPr bwMode="auto">
          <a:xfrm>
            <a:off x="5688146" y="5313413"/>
            <a:ext cx="2189271" cy="173395"/>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COMPANY CONTACT ADDRESS</a:t>
            </a:r>
          </a:p>
        </p:txBody>
      </p:sp>
      <p:sp>
        <p:nvSpPr>
          <p:cNvPr id="22" name="Rectangle 21">
            <a:extLst>
              <a:ext uri="{FF2B5EF4-FFF2-40B4-BE49-F238E27FC236}">
                <a16:creationId xmlns:a16="http://schemas.microsoft.com/office/drawing/2014/main" id="{65FEB033-CD4D-4FC9-BC56-D6E0E9D1328A}"/>
              </a:ext>
            </a:extLst>
          </p:cNvPr>
          <p:cNvSpPr/>
          <p:nvPr/>
        </p:nvSpPr>
        <p:spPr>
          <a:xfrm>
            <a:off x="5661021" y="5445098"/>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fr-FR" sz="1000" dirty="0">
              <a:solidFill>
                <a:srgbClr val="E7E6E6">
                  <a:lumMod val="25000"/>
                </a:srgbClr>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3" name="Straight Connector 22">
            <a:extLst>
              <a:ext uri="{FF2B5EF4-FFF2-40B4-BE49-F238E27FC236}">
                <a16:creationId xmlns:a16="http://schemas.microsoft.com/office/drawing/2014/main" id="{3F1EF660-7D95-485B-AF49-C2AFAAE56896}"/>
              </a:ext>
            </a:extLst>
          </p:cNvPr>
          <p:cNvCxnSpPr>
            <a:cxnSpLocks/>
          </p:cNvCxnSpPr>
          <p:nvPr/>
        </p:nvCxnSpPr>
        <p:spPr>
          <a:xfrm>
            <a:off x="5523923" y="2581208"/>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B633E14-576C-4FE2-B529-A82B3A2F75FF}"/>
              </a:ext>
            </a:extLst>
          </p:cNvPr>
          <p:cNvSpPr txBox="1"/>
          <p:nvPr/>
        </p:nvSpPr>
        <p:spPr>
          <a:xfrm>
            <a:off x="5746783" y="6496941"/>
            <a:ext cx="2071999"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200">
              <a:defRPr/>
            </a:pPr>
            <a:r>
              <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Source: </a:t>
            </a:r>
            <a:r>
              <a:rPr lang="en-US"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http://www.bm-group.tw/</a:t>
            </a:r>
            <a:endPar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endParaRPr>
          </a:p>
        </p:txBody>
      </p:sp>
      <p:sp>
        <p:nvSpPr>
          <p:cNvPr id="28" name="Rectangle 27">
            <a:extLst>
              <a:ext uri="{FF2B5EF4-FFF2-40B4-BE49-F238E27FC236}">
                <a16:creationId xmlns:a16="http://schemas.microsoft.com/office/drawing/2014/main" id="{A3A0F7DB-C452-4646-B3B6-9891696C6712}"/>
              </a:ext>
            </a:extLst>
          </p:cNvPr>
          <p:cNvSpPr/>
          <p:nvPr/>
        </p:nvSpPr>
        <p:spPr>
          <a:xfrm>
            <a:off x="5734530" y="4961005"/>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30" name="Rectangle 29">
            <a:extLst>
              <a:ext uri="{FF2B5EF4-FFF2-40B4-BE49-F238E27FC236}">
                <a16:creationId xmlns:a16="http://schemas.microsoft.com/office/drawing/2014/main" id="{BBC228FF-3743-4A1B-978F-133245807885}"/>
              </a:ext>
            </a:extLst>
          </p:cNvPr>
          <p:cNvSpPr/>
          <p:nvPr/>
        </p:nvSpPr>
        <p:spPr>
          <a:xfrm>
            <a:off x="5671320" y="5461891"/>
            <a:ext cx="3032503" cy="850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7F-2, No. 57, Fu-</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Hsing</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N. Rd., Taipei, Taiwan, R.O.C.</a:t>
            </a:r>
          </a:p>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ntact No: +886 -2- 2752－3137</a:t>
            </a:r>
            <a:endPar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pic>
        <p:nvPicPr>
          <p:cNvPr id="3" name="Picture 2">
            <a:extLst>
              <a:ext uri="{FF2B5EF4-FFF2-40B4-BE49-F238E27FC236}">
                <a16:creationId xmlns:a16="http://schemas.microsoft.com/office/drawing/2014/main" id="{109DB5F7-29A9-421B-90AE-5A444B523BD8}"/>
              </a:ext>
            </a:extLst>
          </p:cNvPr>
          <p:cNvPicPr>
            <a:picLocks noChangeAspect="1"/>
          </p:cNvPicPr>
          <p:nvPr/>
        </p:nvPicPr>
        <p:blipFill>
          <a:blip r:embed="rId4"/>
          <a:stretch>
            <a:fillRect/>
          </a:stretch>
        </p:blipFill>
        <p:spPr>
          <a:xfrm>
            <a:off x="3209925" y="151475"/>
            <a:ext cx="2724150" cy="514350"/>
          </a:xfrm>
          <a:prstGeom prst="rect">
            <a:avLst/>
          </a:prstGeom>
        </p:spPr>
      </p:pic>
    </p:spTree>
    <p:extLst>
      <p:ext uri="{BB962C8B-B14F-4D97-AF65-F5344CB8AC3E}">
        <p14:creationId xmlns:p14="http://schemas.microsoft.com/office/powerpoint/2010/main" val="153265933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CCB8C0E1-8C85-4EF3-9CBE-3C15871E39D8}"/>
              </a:ext>
            </a:extLst>
          </p:cNvPr>
          <p:cNvSpPr/>
          <p:nvPr/>
        </p:nvSpPr>
        <p:spPr>
          <a:xfrm>
            <a:off x="5417906" y="1503258"/>
            <a:ext cx="2930964" cy="2387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Key Product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pper Sulphate Pentahydrate </a:t>
            </a: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a:extLst>
              <a:ext uri="{FF2B5EF4-FFF2-40B4-BE49-F238E27FC236}">
                <a16:creationId xmlns:a16="http://schemas.microsoft.com/office/drawing/2014/main" id="{896F70A6-D878-4043-AEED-5DF40CC8B30D}"/>
              </a:ext>
            </a:extLst>
          </p:cNvPr>
          <p:cNvSpPr/>
          <p:nvPr/>
        </p:nvSpPr>
        <p:spPr>
          <a:xfrm>
            <a:off x="111247" y="1369238"/>
            <a:ext cx="4460753" cy="55015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Business Overview</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Fajar</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Zippindo</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PT was established in 1995 and has its headquarters in Tangerang, Indonesia.</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specializes in the manufacturing of Copper Sulphate.</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is currently having the annual production capacity of 1800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tonne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per year.</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vides copper sulphate with purity of 97 +/- 0.5%.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duces copper sulphate in two major grades – Industrial and Feed.</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provides the product in two forms- powder and crystalline.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duces copper sulphate for different applications like animal feed, fungicide, algicide, electroplating herbicide, as fertilizer and in industrial manufacturing.</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provides copper sulphate with specifications like Fe – 50 ppm, Pb – 30 ppm, As – 5 ppm, Cd – 5 ppm, Hg – 5 ppm, Cr – 5 ppm and Cu – 24.5% min purity.</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packing details of the product include 25 Kg/Bag or 1 MT/ Jumbo Bag.</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is committed to provide its customers with quality product and good partnership.</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s of 31 March, 2021, the company has 40 employees.</a:t>
            </a: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41" name="Rectangle 40">
            <a:extLst>
              <a:ext uri="{FF2B5EF4-FFF2-40B4-BE49-F238E27FC236}">
                <a16:creationId xmlns:a16="http://schemas.microsoft.com/office/drawing/2014/main" id="{684EA538-8FD1-451C-8E1C-8FCE891298A5}"/>
              </a:ext>
            </a:extLst>
          </p:cNvPr>
          <p:cNvSpPr/>
          <p:nvPr/>
        </p:nvSpPr>
        <p:spPr>
          <a:xfrm>
            <a:off x="143345" y="211462"/>
            <a:ext cx="3874846" cy="461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lnSpc>
                <a:spcPct val="90000"/>
              </a:lnSpc>
              <a:spcBef>
                <a:spcPts val="1000"/>
              </a:spcBef>
              <a:defRPr/>
            </a:pPr>
            <a:r>
              <a:rPr lang="en-US" sz="1400" b="1" dirty="0" err="1">
                <a:solidFill>
                  <a:sysClr val="windowText" lastClr="000000"/>
                </a:solidFill>
                <a:latin typeface="Arial" panose="020B0604020202020204" pitchFamily="34" charset="0"/>
                <a:cs typeface="Arial" panose="020B0604020202020204" pitchFamily="34" charset="0"/>
              </a:rPr>
              <a:t>Fajar</a:t>
            </a:r>
            <a:r>
              <a:rPr lang="en-US" sz="1400" b="1" dirty="0">
                <a:solidFill>
                  <a:sysClr val="windowText" lastClr="000000"/>
                </a:solidFill>
                <a:latin typeface="Arial" panose="020B0604020202020204" pitchFamily="34" charset="0"/>
                <a:cs typeface="Arial" panose="020B0604020202020204" pitchFamily="34" charset="0"/>
              </a:rPr>
              <a:t> </a:t>
            </a:r>
            <a:r>
              <a:rPr lang="en-US" sz="1400" b="1" dirty="0" err="1">
                <a:solidFill>
                  <a:sysClr val="windowText" lastClr="000000"/>
                </a:solidFill>
                <a:latin typeface="Arial" panose="020B0604020202020204" pitchFamily="34" charset="0"/>
                <a:cs typeface="Arial" panose="020B0604020202020204" pitchFamily="34" charset="0"/>
              </a:rPr>
              <a:t>Zippindo</a:t>
            </a:r>
            <a:r>
              <a:rPr lang="en-US" sz="1400" b="1" dirty="0">
                <a:solidFill>
                  <a:sysClr val="windowText" lastClr="000000"/>
                </a:solidFill>
                <a:latin typeface="Arial" panose="020B0604020202020204" pitchFamily="34" charset="0"/>
                <a:cs typeface="Arial" panose="020B0604020202020204" pitchFamily="34" charset="0"/>
              </a:rPr>
              <a:t>. PT</a:t>
            </a:r>
          </a:p>
        </p:txBody>
      </p:sp>
      <p:cxnSp>
        <p:nvCxnSpPr>
          <p:cNvPr id="15" name="Straight Connector 14">
            <a:extLst>
              <a:ext uri="{FF2B5EF4-FFF2-40B4-BE49-F238E27FC236}">
                <a16:creationId xmlns:a16="http://schemas.microsoft.com/office/drawing/2014/main" id="{C095BC8B-C86A-493A-BFED-CCEFC4CFE752}"/>
              </a:ext>
            </a:extLst>
          </p:cNvPr>
          <p:cNvCxnSpPr>
            <a:cxnSpLocks/>
          </p:cNvCxnSpPr>
          <p:nvPr/>
        </p:nvCxnSpPr>
        <p:spPr>
          <a:xfrm>
            <a:off x="5523923" y="2588313"/>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C213BE0-CCC8-4053-B4A6-383F119FFB82}"/>
              </a:ext>
            </a:extLst>
          </p:cNvPr>
          <p:cNvSpPr/>
          <p:nvPr/>
        </p:nvSpPr>
        <p:spPr>
          <a:xfrm>
            <a:off x="0" y="768609"/>
            <a:ext cx="9144000" cy="476655"/>
          </a:xfrm>
          <a:prstGeom prst="rect">
            <a:avLst/>
          </a:prstGeom>
          <a:solidFill>
            <a:srgbClr val="235B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dirty="0">
              <a:solidFill>
                <a:prstClr val="white"/>
              </a:solidFill>
              <a:latin typeface="Calibri" panose="020F0502020204030204"/>
            </a:endParaRPr>
          </a:p>
        </p:txBody>
      </p:sp>
      <p:sp>
        <p:nvSpPr>
          <p:cNvPr id="14" name="Rectangle 13">
            <a:extLst>
              <a:ext uri="{FF2B5EF4-FFF2-40B4-BE49-F238E27FC236}">
                <a16:creationId xmlns:a16="http://schemas.microsoft.com/office/drawing/2014/main" id="{103CB4B1-B615-4152-8D58-3761152E8BC6}"/>
              </a:ext>
            </a:extLst>
          </p:cNvPr>
          <p:cNvSpPr>
            <a:spLocks noChangeArrowheads="1"/>
          </p:cNvSpPr>
          <p:nvPr>
            <p:custDataLst>
              <p:tags r:id="rId1"/>
            </p:custDataLst>
          </p:nvPr>
        </p:nvSpPr>
        <p:spPr bwMode="auto">
          <a:xfrm>
            <a:off x="5587512" y="3186807"/>
            <a:ext cx="3082153" cy="669750"/>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KEY MANAGEMENT PERSONNEL</a:t>
            </a:r>
          </a:p>
          <a:p>
            <a:pPr marL="171450" indent="-171450" defTabSz="895350">
              <a:lnSpc>
                <a:spcPct val="150000"/>
              </a:lnSpc>
              <a:buSzPct val="120000"/>
              <a:buFont typeface="Arial" panose="020B0604020202020204" pitchFamily="34" charset="0"/>
              <a:buChar char="•"/>
              <a:defRPr/>
            </a:pPr>
            <a:r>
              <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Ms.</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a:t>
            </a:r>
            <a:r>
              <a:rPr lang="en-US" sz="1000" b="0" i="0" dirty="0" err="1">
                <a:solidFill>
                  <a:srgbClr val="202124"/>
                </a:solidFill>
                <a:effectLst/>
                <a:latin typeface="Verdana" panose="020B0604030504040204" pitchFamily="34" charset="0"/>
                <a:ea typeface="Verdana" panose="020B0604030504040204" pitchFamily="34" charset="0"/>
                <a:cs typeface="Verdana" panose="020B0604030504040204" pitchFamily="34" charset="0"/>
              </a:rPr>
              <a:t>Ruri</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a:t>
            </a:r>
            <a:r>
              <a:rPr lang="en-US" sz="1000" b="0" i="0" dirty="0" err="1">
                <a:solidFill>
                  <a:srgbClr val="202124"/>
                </a:solidFill>
                <a:effectLst/>
                <a:latin typeface="Verdana" panose="020B0604030504040204" pitchFamily="34" charset="0"/>
                <a:ea typeface="Verdana" panose="020B0604030504040204" pitchFamily="34" charset="0"/>
                <a:cs typeface="Verdana" panose="020B0604030504040204" pitchFamily="34" charset="0"/>
              </a:rPr>
              <a:t>Ruri</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Key Account Personnel)</a:t>
            </a: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a:p>
            <a:pPr defTabSz="895350">
              <a:lnSpc>
                <a:spcPct val="150000"/>
              </a:lnSpc>
              <a:buSzPct val="120000"/>
              <a:defRPr/>
            </a:pP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20" name="Rectangle 30">
            <a:extLst>
              <a:ext uri="{FF2B5EF4-FFF2-40B4-BE49-F238E27FC236}">
                <a16:creationId xmlns:a16="http://schemas.microsoft.com/office/drawing/2014/main" id="{906F3204-7CA3-464B-B2C5-C3629769BA69}"/>
              </a:ext>
            </a:extLst>
          </p:cNvPr>
          <p:cNvSpPr/>
          <p:nvPr/>
        </p:nvSpPr>
        <p:spPr>
          <a:xfrm>
            <a:off x="4930594" y="5028400"/>
            <a:ext cx="657400" cy="497690"/>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rgbClr val="004D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defRPr/>
            </a:pPr>
            <a:endParaRPr lang="ko-KR" altLang="en-US" dirty="0">
              <a:solidFill>
                <a:prstClr val="white"/>
              </a:solidFill>
              <a:latin typeface="Calibri" panose="020F0502020204030204"/>
              <a:ea typeface="맑은 고딕" panose="020B0503020000020004" pitchFamily="34" charset="-127"/>
            </a:endParaRPr>
          </a:p>
        </p:txBody>
      </p:sp>
      <p:sp>
        <p:nvSpPr>
          <p:cNvPr id="21" name="Rectangle 20">
            <a:extLst>
              <a:ext uri="{FF2B5EF4-FFF2-40B4-BE49-F238E27FC236}">
                <a16:creationId xmlns:a16="http://schemas.microsoft.com/office/drawing/2014/main" id="{76EED92C-C6A3-4464-8E26-C188DE2FFDEB}"/>
              </a:ext>
            </a:extLst>
          </p:cNvPr>
          <p:cNvSpPr>
            <a:spLocks noChangeArrowheads="1"/>
          </p:cNvSpPr>
          <p:nvPr>
            <p:custDataLst>
              <p:tags r:id="rId2"/>
            </p:custDataLst>
          </p:nvPr>
        </p:nvSpPr>
        <p:spPr bwMode="auto">
          <a:xfrm>
            <a:off x="5688146" y="4730499"/>
            <a:ext cx="2189271" cy="173395"/>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COMPANY CONTACT ADDRESS</a:t>
            </a:r>
          </a:p>
        </p:txBody>
      </p:sp>
      <p:sp>
        <p:nvSpPr>
          <p:cNvPr id="22" name="Rectangle 21">
            <a:extLst>
              <a:ext uri="{FF2B5EF4-FFF2-40B4-BE49-F238E27FC236}">
                <a16:creationId xmlns:a16="http://schemas.microsoft.com/office/drawing/2014/main" id="{65FEB033-CD4D-4FC9-BC56-D6E0E9D1328A}"/>
              </a:ext>
            </a:extLst>
          </p:cNvPr>
          <p:cNvSpPr/>
          <p:nvPr/>
        </p:nvSpPr>
        <p:spPr>
          <a:xfrm>
            <a:off x="5661021" y="5445098"/>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fr-FR" sz="1000" dirty="0">
              <a:solidFill>
                <a:srgbClr val="E7E6E6">
                  <a:lumMod val="25000"/>
                </a:srgbClr>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3" name="Straight Connector 22">
            <a:extLst>
              <a:ext uri="{FF2B5EF4-FFF2-40B4-BE49-F238E27FC236}">
                <a16:creationId xmlns:a16="http://schemas.microsoft.com/office/drawing/2014/main" id="{3F1EF660-7D95-485B-AF49-C2AFAAE56896}"/>
              </a:ext>
            </a:extLst>
          </p:cNvPr>
          <p:cNvCxnSpPr>
            <a:cxnSpLocks/>
          </p:cNvCxnSpPr>
          <p:nvPr/>
        </p:nvCxnSpPr>
        <p:spPr>
          <a:xfrm>
            <a:off x="5523923" y="2581208"/>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B633E14-576C-4FE2-B529-A82B3A2F75FF}"/>
              </a:ext>
            </a:extLst>
          </p:cNvPr>
          <p:cNvSpPr txBox="1"/>
          <p:nvPr/>
        </p:nvSpPr>
        <p:spPr>
          <a:xfrm>
            <a:off x="5481737" y="6289878"/>
            <a:ext cx="2602087"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200">
              <a:defRPr/>
            </a:pPr>
            <a:r>
              <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Source: </a:t>
            </a:r>
            <a:r>
              <a:rPr lang="en-US"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https://www.zippindo88.com/</a:t>
            </a:r>
            <a:endPar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endParaRPr>
          </a:p>
        </p:txBody>
      </p:sp>
      <p:sp>
        <p:nvSpPr>
          <p:cNvPr id="28" name="Rectangle 27">
            <a:extLst>
              <a:ext uri="{FF2B5EF4-FFF2-40B4-BE49-F238E27FC236}">
                <a16:creationId xmlns:a16="http://schemas.microsoft.com/office/drawing/2014/main" id="{A3A0F7DB-C452-4646-B3B6-9891696C6712}"/>
              </a:ext>
            </a:extLst>
          </p:cNvPr>
          <p:cNvSpPr/>
          <p:nvPr/>
        </p:nvSpPr>
        <p:spPr>
          <a:xfrm>
            <a:off x="5734530" y="4961005"/>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30" name="Rectangle 29">
            <a:extLst>
              <a:ext uri="{FF2B5EF4-FFF2-40B4-BE49-F238E27FC236}">
                <a16:creationId xmlns:a16="http://schemas.microsoft.com/office/drawing/2014/main" id="{BBC228FF-3743-4A1B-978F-133245807885}"/>
              </a:ext>
            </a:extLst>
          </p:cNvPr>
          <p:cNvSpPr/>
          <p:nvPr/>
        </p:nvSpPr>
        <p:spPr>
          <a:xfrm>
            <a:off x="5612336" y="4899096"/>
            <a:ext cx="3032503" cy="850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Jl.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Daa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Mogot</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Km 19/22,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Jurumudi</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Baru</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Benda, Batu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Ceper</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Jakarta, 15122, RT.7/RW.3,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Kalidere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West Jakarta City, Jakarta 11840, Indonesia</a:t>
            </a:r>
          </a:p>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ntact No: +62 21 5407234</a:t>
            </a:r>
            <a:endPar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pic>
        <p:nvPicPr>
          <p:cNvPr id="4" name="Picture 3">
            <a:extLst>
              <a:ext uri="{FF2B5EF4-FFF2-40B4-BE49-F238E27FC236}">
                <a16:creationId xmlns:a16="http://schemas.microsoft.com/office/drawing/2014/main" id="{9BE132B8-1EDD-45B9-BF36-70998DDFF1A6}"/>
              </a:ext>
            </a:extLst>
          </p:cNvPr>
          <p:cNvPicPr>
            <a:picLocks noChangeAspect="1"/>
          </p:cNvPicPr>
          <p:nvPr/>
        </p:nvPicPr>
        <p:blipFill>
          <a:blip r:embed="rId4"/>
          <a:stretch>
            <a:fillRect/>
          </a:stretch>
        </p:blipFill>
        <p:spPr>
          <a:xfrm>
            <a:off x="3392557" y="134797"/>
            <a:ext cx="1086677" cy="476656"/>
          </a:xfrm>
          <a:prstGeom prst="rect">
            <a:avLst/>
          </a:prstGeom>
        </p:spPr>
      </p:pic>
    </p:spTree>
    <p:extLst>
      <p:ext uri="{BB962C8B-B14F-4D97-AF65-F5344CB8AC3E}">
        <p14:creationId xmlns:p14="http://schemas.microsoft.com/office/powerpoint/2010/main" val="14841039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CCB8C0E1-8C85-4EF3-9CBE-3C15871E39D8}"/>
              </a:ext>
            </a:extLst>
          </p:cNvPr>
          <p:cNvSpPr/>
          <p:nvPr/>
        </p:nvSpPr>
        <p:spPr>
          <a:xfrm>
            <a:off x="5417906" y="1503258"/>
            <a:ext cx="2930964" cy="2387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Key Product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pper Sulphate Pentahydrate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Ferric Chloride</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Poly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Aluminium</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Chloride</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Ferrous Sulphate</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Ferrous Chloride</a:t>
            </a:r>
          </a:p>
          <a:p>
            <a:pPr algn="just" defTabSz="457200">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a:extLst>
              <a:ext uri="{FF2B5EF4-FFF2-40B4-BE49-F238E27FC236}">
                <a16:creationId xmlns:a16="http://schemas.microsoft.com/office/drawing/2014/main" id="{896F70A6-D878-4043-AEED-5DF40CC8B30D}"/>
              </a:ext>
            </a:extLst>
          </p:cNvPr>
          <p:cNvSpPr/>
          <p:nvPr/>
        </p:nvSpPr>
        <p:spPr>
          <a:xfrm>
            <a:off x="130168" y="1245264"/>
            <a:ext cx="4460753" cy="55015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Business Overview</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da-DK" sz="1000" dirty="0">
                <a:solidFill>
                  <a:prstClr val="black"/>
                </a:solidFill>
                <a:latin typeface="Verdana" panose="020B0604030504040204" pitchFamily="34" charset="0"/>
                <a:ea typeface="Verdana" panose="020B0604030504040204" pitchFamily="34" charset="0"/>
                <a:cs typeface="Verdana" panose="020B0604030504040204" pitchFamily="34" charset="0"/>
              </a:rPr>
              <a:t>JL Chemtonic Co., Ltd. </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was established in the year 2005 and has its headquarters in Thailand.</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is the largest manufacturer of Copper Sulphate Pentahydrate, Ferric Chloride, Ferrous Chloride, Poly Ammonium Chloride Liquid in Thailand.</a:t>
            </a:r>
          </a:p>
          <a:p>
            <a:pPr marL="171450" indent="-171450" algn="just" defTabSz="457200">
              <a:lnSpc>
                <a:spcPct val="19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is also the major supplier of Chlorine, </a:t>
            </a:r>
            <a:r>
              <a:rPr lang="en-US" sz="1000" dirty="0" err="1">
                <a:solidFill>
                  <a:schemeClr val="tx1"/>
                </a:solidFill>
                <a:latin typeface="Verdana" panose="020B0604030504040204" pitchFamily="34" charset="0"/>
                <a:ea typeface="Verdana" panose="020B0604030504040204" pitchFamily="34" charset="0"/>
                <a:cs typeface="Verdana" panose="020B0604030504040204" pitchFamily="34" charset="0"/>
              </a:rPr>
              <a:t>Sulphuric</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cid (98%, 70%, 50%, 35%), Hydrochloric Acid (18%, 35%), Caustic Soda Solution (32% and 50%) and other chemicals.</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products produced by the company are used in many different end user industries, including dairy farming, animal feed, water treatment as an aquatic algaecide, food and pharmaceutical processing and pool chemicals.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products produced by the company are used in various applications in different industries like plating and metal industry, auto parts industry, electronic industry, food and beverage industry, paper industry and many more.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supply ability of copper sulphate by the company is 1500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Tonne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per month.</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provides the products in 25 kg, 50 kg, or 1 MT net in PP woven bag with PE bag inner.	 </a:t>
            </a:r>
          </a:p>
          <a:p>
            <a:pPr algn="just" defTabSz="457200">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srgbClr val="FF0000"/>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41" name="Rectangle 40">
            <a:extLst>
              <a:ext uri="{FF2B5EF4-FFF2-40B4-BE49-F238E27FC236}">
                <a16:creationId xmlns:a16="http://schemas.microsoft.com/office/drawing/2014/main" id="{684EA538-8FD1-451C-8E1C-8FCE891298A5}"/>
              </a:ext>
            </a:extLst>
          </p:cNvPr>
          <p:cNvSpPr/>
          <p:nvPr/>
        </p:nvSpPr>
        <p:spPr>
          <a:xfrm>
            <a:off x="130168" y="217195"/>
            <a:ext cx="3874846" cy="461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lnSpc>
                <a:spcPct val="90000"/>
              </a:lnSpc>
              <a:spcBef>
                <a:spcPts val="1000"/>
              </a:spcBef>
              <a:defRPr/>
            </a:pPr>
            <a:r>
              <a:rPr lang="da-DK" sz="1400" b="1" dirty="0">
                <a:solidFill>
                  <a:sysClr val="windowText" lastClr="000000"/>
                </a:solidFill>
                <a:latin typeface="Arial" panose="020B0604020202020204" pitchFamily="34" charset="0"/>
                <a:cs typeface="Arial" panose="020B0604020202020204" pitchFamily="34" charset="0"/>
              </a:rPr>
              <a:t>JL Chemtonic Co., Ltd.</a:t>
            </a:r>
            <a:endParaRPr lang="en-US" sz="1400" b="1" dirty="0">
              <a:solidFill>
                <a:sysClr val="windowText" lastClr="000000"/>
              </a:solidFill>
              <a:latin typeface="Arial" panose="020B0604020202020204" pitchFamily="34" charset="0"/>
              <a:cs typeface="Arial" panose="020B0604020202020204" pitchFamily="34" charset="0"/>
            </a:endParaRPr>
          </a:p>
        </p:txBody>
      </p:sp>
      <p:cxnSp>
        <p:nvCxnSpPr>
          <p:cNvPr id="15" name="Straight Connector 14">
            <a:extLst>
              <a:ext uri="{FF2B5EF4-FFF2-40B4-BE49-F238E27FC236}">
                <a16:creationId xmlns:a16="http://schemas.microsoft.com/office/drawing/2014/main" id="{C095BC8B-C86A-493A-BFED-CCEFC4CFE752}"/>
              </a:ext>
            </a:extLst>
          </p:cNvPr>
          <p:cNvCxnSpPr>
            <a:cxnSpLocks/>
          </p:cNvCxnSpPr>
          <p:nvPr/>
        </p:nvCxnSpPr>
        <p:spPr>
          <a:xfrm>
            <a:off x="5523923" y="2588313"/>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C213BE0-CCC8-4053-B4A6-383F119FFB82}"/>
              </a:ext>
            </a:extLst>
          </p:cNvPr>
          <p:cNvSpPr/>
          <p:nvPr/>
        </p:nvSpPr>
        <p:spPr>
          <a:xfrm>
            <a:off x="0" y="768609"/>
            <a:ext cx="9144000" cy="476655"/>
          </a:xfrm>
          <a:prstGeom prst="rect">
            <a:avLst/>
          </a:prstGeom>
          <a:solidFill>
            <a:srgbClr val="235B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dirty="0">
              <a:solidFill>
                <a:prstClr val="white"/>
              </a:solidFill>
              <a:latin typeface="Calibri" panose="020F0502020204030204"/>
            </a:endParaRPr>
          </a:p>
        </p:txBody>
      </p:sp>
      <p:sp>
        <p:nvSpPr>
          <p:cNvPr id="20" name="Rectangle 30">
            <a:extLst>
              <a:ext uri="{FF2B5EF4-FFF2-40B4-BE49-F238E27FC236}">
                <a16:creationId xmlns:a16="http://schemas.microsoft.com/office/drawing/2014/main" id="{906F3204-7CA3-464B-B2C5-C3629769BA69}"/>
              </a:ext>
            </a:extLst>
          </p:cNvPr>
          <p:cNvSpPr/>
          <p:nvPr/>
        </p:nvSpPr>
        <p:spPr>
          <a:xfrm>
            <a:off x="4834025" y="5499831"/>
            <a:ext cx="657400" cy="497690"/>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rgbClr val="004D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defRPr/>
            </a:pPr>
            <a:endParaRPr lang="ko-KR" altLang="en-US" dirty="0">
              <a:solidFill>
                <a:prstClr val="white"/>
              </a:solidFill>
              <a:latin typeface="Calibri" panose="020F0502020204030204"/>
              <a:ea typeface="맑은 고딕" panose="020B0503020000020004" pitchFamily="34" charset="-127"/>
            </a:endParaRPr>
          </a:p>
        </p:txBody>
      </p:sp>
      <p:sp>
        <p:nvSpPr>
          <p:cNvPr id="21" name="Rectangle 20">
            <a:extLst>
              <a:ext uri="{FF2B5EF4-FFF2-40B4-BE49-F238E27FC236}">
                <a16:creationId xmlns:a16="http://schemas.microsoft.com/office/drawing/2014/main" id="{76EED92C-C6A3-4464-8E26-C188DE2FFDEB}"/>
              </a:ext>
            </a:extLst>
          </p:cNvPr>
          <p:cNvSpPr>
            <a:spLocks noChangeArrowheads="1"/>
          </p:cNvSpPr>
          <p:nvPr>
            <p:custDataLst>
              <p:tags r:id="rId1"/>
            </p:custDataLst>
          </p:nvPr>
        </p:nvSpPr>
        <p:spPr bwMode="auto">
          <a:xfrm>
            <a:off x="5573766" y="5038402"/>
            <a:ext cx="2189271" cy="173395"/>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COMPANY CONTACT ADDRESS</a:t>
            </a:r>
          </a:p>
        </p:txBody>
      </p:sp>
      <p:sp>
        <p:nvSpPr>
          <p:cNvPr id="22" name="Rectangle 21">
            <a:extLst>
              <a:ext uri="{FF2B5EF4-FFF2-40B4-BE49-F238E27FC236}">
                <a16:creationId xmlns:a16="http://schemas.microsoft.com/office/drawing/2014/main" id="{65FEB033-CD4D-4FC9-BC56-D6E0E9D1328A}"/>
              </a:ext>
            </a:extLst>
          </p:cNvPr>
          <p:cNvSpPr/>
          <p:nvPr/>
        </p:nvSpPr>
        <p:spPr>
          <a:xfrm>
            <a:off x="5661021" y="5445098"/>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fr-FR" sz="1000" dirty="0">
              <a:solidFill>
                <a:srgbClr val="E7E6E6">
                  <a:lumMod val="25000"/>
                </a:srgbClr>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3" name="Straight Connector 22">
            <a:extLst>
              <a:ext uri="{FF2B5EF4-FFF2-40B4-BE49-F238E27FC236}">
                <a16:creationId xmlns:a16="http://schemas.microsoft.com/office/drawing/2014/main" id="{3F1EF660-7D95-485B-AF49-C2AFAAE56896}"/>
              </a:ext>
            </a:extLst>
          </p:cNvPr>
          <p:cNvCxnSpPr>
            <a:cxnSpLocks/>
          </p:cNvCxnSpPr>
          <p:nvPr/>
        </p:nvCxnSpPr>
        <p:spPr>
          <a:xfrm>
            <a:off x="5523923" y="2581208"/>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B633E14-576C-4FE2-B529-A82B3A2F75FF}"/>
              </a:ext>
            </a:extLst>
          </p:cNvPr>
          <p:cNvSpPr txBox="1"/>
          <p:nvPr/>
        </p:nvSpPr>
        <p:spPr>
          <a:xfrm>
            <a:off x="6276967" y="6326586"/>
            <a:ext cx="2602087"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200">
              <a:defRPr/>
            </a:pPr>
            <a:r>
              <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Source: </a:t>
            </a:r>
            <a:r>
              <a:rPr lang="en-US"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http://www.jlchemtonic.com/</a:t>
            </a:r>
            <a:endPar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endParaRPr>
          </a:p>
        </p:txBody>
      </p:sp>
      <p:sp>
        <p:nvSpPr>
          <p:cNvPr id="28" name="Rectangle 27">
            <a:extLst>
              <a:ext uri="{FF2B5EF4-FFF2-40B4-BE49-F238E27FC236}">
                <a16:creationId xmlns:a16="http://schemas.microsoft.com/office/drawing/2014/main" id="{A3A0F7DB-C452-4646-B3B6-9891696C6712}"/>
              </a:ext>
            </a:extLst>
          </p:cNvPr>
          <p:cNvSpPr/>
          <p:nvPr/>
        </p:nvSpPr>
        <p:spPr>
          <a:xfrm>
            <a:off x="5734530" y="4961005"/>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30" name="Rectangle 29">
            <a:extLst>
              <a:ext uri="{FF2B5EF4-FFF2-40B4-BE49-F238E27FC236}">
                <a16:creationId xmlns:a16="http://schemas.microsoft.com/office/drawing/2014/main" id="{BBC228FF-3743-4A1B-978F-133245807885}"/>
              </a:ext>
            </a:extLst>
          </p:cNvPr>
          <p:cNvSpPr/>
          <p:nvPr/>
        </p:nvSpPr>
        <p:spPr>
          <a:xfrm>
            <a:off x="5552516" y="5278807"/>
            <a:ext cx="3032503" cy="9716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9/9 Moo 1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Chaimongkho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Dist</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Rd.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Tumbol</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Chaimongkho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Amphoe</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Mueang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Samut</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Sakho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Samut</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Sakho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74000, Thailand</a:t>
            </a:r>
          </a:p>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ntact No: 0-3488-1246-7</a:t>
            </a:r>
            <a:endPar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pic>
        <p:nvPicPr>
          <p:cNvPr id="6" name="Picture 5">
            <a:extLst>
              <a:ext uri="{FF2B5EF4-FFF2-40B4-BE49-F238E27FC236}">
                <a16:creationId xmlns:a16="http://schemas.microsoft.com/office/drawing/2014/main" id="{506A1914-A208-49C3-AFEE-91E65206C10B}"/>
              </a:ext>
            </a:extLst>
          </p:cNvPr>
          <p:cNvPicPr>
            <a:picLocks noChangeAspect="1"/>
          </p:cNvPicPr>
          <p:nvPr/>
        </p:nvPicPr>
        <p:blipFill>
          <a:blip r:embed="rId4"/>
          <a:stretch>
            <a:fillRect/>
          </a:stretch>
        </p:blipFill>
        <p:spPr>
          <a:xfrm>
            <a:off x="3604590" y="217195"/>
            <a:ext cx="1232453" cy="409575"/>
          </a:xfrm>
          <a:prstGeom prst="rect">
            <a:avLst/>
          </a:prstGeom>
        </p:spPr>
      </p:pic>
      <p:sp>
        <p:nvSpPr>
          <p:cNvPr id="17" name="Rectangle 16">
            <a:extLst>
              <a:ext uri="{FF2B5EF4-FFF2-40B4-BE49-F238E27FC236}">
                <a16:creationId xmlns:a16="http://schemas.microsoft.com/office/drawing/2014/main" id="{BDB03D97-16DE-46F6-B4F1-2D4BC12C8C75}"/>
              </a:ext>
            </a:extLst>
          </p:cNvPr>
          <p:cNvSpPr>
            <a:spLocks noChangeArrowheads="1"/>
          </p:cNvSpPr>
          <p:nvPr>
            <p:custDataLst>
              <p:tags r:id="rId2"/>
            </p:custDataLst>
          </p:nvPr>
        </p:nvSpPr>
        <p:spPr bwMode="auto">
          <a:xfrm>
            <a:off x="5502866" y="3520827"/>
            <a:ext cx="3082153" cy="669750"/>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KEY MANAGEMENT PERSONNEL</a:t>
            </a:r>
          </a:p>
          <a:p>
            <a:pPr marL="171450" indent="-171450" defTabSz="895350">
              <a:lnSpc>
                <a:spcPct val="150000"/>
              </a:lnSpc>
              <a:buSzPct val="120000"/>
              <a:buFont typeface="Arial" panose="020B0604020202020204" pitchFamily="34" charset="0"/>
              <a:buChar char="•"/>
              <a:defRPr/>
            </a:pPr>
            <a:r>
              <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Ms.</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a:t>
            </a:r>
            <a:r>
              <a:rPr lang="en-US" sz="1000" dirty="0">
                <a:solidFill>
                  <a:srgbClr val="202124"/>
                </a:solidFill>
                <a:latin typeface="Verdana" panose="020B0604030504040204" pitchFamily="34" charset="0"/>
                <a:ea typeface="Verdana" panose="020B0604030504040204" pitchFamily="34" charset="0"/>
                <a:cs typeface="Verdana" panose="020B0604030504040204" pitchFamily="34" charset="0"/>
              </a:rPr>
              <a:t>Chatchai </a:t>
            </a:r>
            <a:r>
              <a:rPr lang="en-US" sz="1000" dirty="0" err="1">
                <a:solidFill>
                  <a:srgbClr val="202124"/>
                </a:solidFill>
                <a:latin typeface="Verdana" panose="020B0604030504040204" pitchFamily="34" charset="0"/>
                <a:ea typeface="Verdana" panose="020B0604030504040204" pitchFamily="34" charset="0"/>
                <a:cs typeface="Verdana" panose="020B0604030504040204" pitchFamily="34" charset="0"/>
              </a:rPr>
              <a:t>Jeenpitak</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Marketing Manager)</a:t>
            </a: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a:p>
            <a:pPr defTabSz="895350">
              <a:lnSpc>
                <a:spcPct val="150000"/>
              </a:lnSpc>
              <a:buSzPct val="120000"/>
              <a:defRPr/>
            </a:pP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06350384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CCB8C0E1-8C85-4EF3-9CBE-3C15871E39D8}"/>
              </a:ext>
            </a:extLst>
          </p:cNvPr>
          <p:cNvSpPr/>
          <p:nvPr/>
        </p:nvSpPr>
        <p:spPr>
          <a:xfrm>
            <a:off x="5417906" y="1503258"/>
            <a:ext cx="2930964" cy="2387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Key Product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pper Sulphate Pentahydrate </a:t>
            </a:r>
          </a:p>
          <a:p>
            <a:pPr algn="just" defTabSz="457200">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a:extLst>
              <a:ext uri="{FF2B5EF4-FFF2-40B4-BE49-F238E27FC236}">
                <a16:creationId xmlns:a16="http://schemas.microsoft.com/office/drawing/2014/main" id="{896F70A6-D878-4043-AEED-5DF40CC8B30D}"/>
              </a:ext>
            </a:extLst>
          </p:cNvPr>
          <p:cNvSpPr/>
          <p:nvPr/>
        </p:nvSpPr>
        <p:spPr>
          <a:xfrm>
            <a:off x="111247" y="1320063"/>
            <a:ext cx="4460753" cy="55015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Business Overview</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fr-FR"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Resilient</a:t>
            </a:r>
            <a:r>
              <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rPr>
              <a:t> Mix </a:t>
            </a:r>
            <a:r>
              <a:rPr lang="fr-FR"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Sdn</a:t>
            </a:r>
            <a:r>
              <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fr-FR"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Bhd</a:t>
            </a:r>
            <a:r>
              <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was established in 2005.</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is in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Juru</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Industrial Park, Penang, West Malaysia.</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has a full facility to produce copper sulphate from pure copper metal.</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usually produces two grades of Copper sulphate- feed and industrial grade.</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ccording to different grades produced, the product is used in various applications such as mineral additives, wood preservatives, agriculture, electroplating and as a catalyst in chemical industry.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is capable of producing 5000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tonne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per annum of copper sulphate.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pper sulphate produced by the company has excellent quality, which provides free flowing crystal powder, extended shelf life and full dryness which allows its usage as a dietary supplement in animal feed and poultry farm industries.</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vides the product in 25 kg UN approved bags on shrink wrapped pallets of 1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tonne</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vides copper sulphate with 98% purity with Iron content 100 ppm, Lead 20 ppm, and Nickel 20 ppm.</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has a full facility to produce, reprocess, and distribute all grades of copper sulphate.</a:t>
            </a: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41" name="Rectangle 40">
            <a:extLst>
              <a:ext uri="{FF2B5EF4-FFF2-40B4-BE49-F238E27FC236}">
                <a16:creationId xmlns:a16="http://schemas.microsoft.com/office/drawing/2014/main" id="{684EA538-8FD1-451C-8E1C-8FCE891298A5}"/>
              </a:ext>
            </a:extLst>
          </p:cNvPr>
          <p:cNvSpPr/>
          <p:nvPr/>
        </p:nvSpPr>
        <p:spPr>
          <a:xfrm>
            <a:off x="111248" y="245312"/>
            <a:ext cx="3003014" cy="461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lnSpc>
                <a:spcPct val="90000"/>
              </a:lnSpc>
              <a:spcBef>
                <a:spcPts val="1000"/>
              </a:spcBef>
              <a:defRPr/>
            </a:pPr>
            <a:r>
              <a:rPr lang="en-US" sz="1400" b="1" dirty="0">
                <a:solidFill>
                  <a:sysClr val="windowText" lastClr="000000"/>
                </a:solidFill>
                <a:latin typeface="Arial" panose="020B0604020202020204" pitchFamily="34" charset="0"/>
                <a:cs typeface="Arial" panose="020B0604020202020204" pitchFamily="34" charset="0"/>
              </a:rPr>
              <a:t>Resilient Mix </a:t>
            </a:r>
            <a:r>
              <a:rPr lang="en-US" sz="1400" b="1" dirty="0" err="1">
                <a:solidFill>
                  <a:sysClr val="windowText" lastClr="000000"/>
                </a:solidFill>
                <a:latin typeface="Arial" panose="020B0604020202020204" pitchFamily="34" charset="0"/>
                <a:cs typeface="Arial" panose="020B0604020202020204" pitchFamily="34" charset="0"/>
              </a:rPr>
              <a:t>Sdn</a:t>
            </a:r>
            <a:r>
              <a:rPr lang="en-US" sz="1400" b="1" dirty="0">
                <a:solidFill>
                  <a:sysClr val="windowText" lastClr="000000"/>
                </a:solidFill>
                <a:latin typeface="Arial" panose="020B0604020202020204" pitchFamily="34" charset="0"/>
                <a:cs typeface="Arial" panose="020B0604020202020204" pitchFamily="34" charset="0"/>
              </a:rPr>
              <a:t>. </a:t>
            </a:r>
            <a:r>
              <a:rPr lang="en-US" sz="1400" b="1" dirty="0" err="1">
                <a:solidFill>
                  <a:sysClr val="windowText" lastClr="000000"/>
                </a:solidFill>
                <a:latin typeface="Arial" panose="020B0604020202020204" pitchFamily="34" charset="0"/>
                <a:cs typeface="Arial" panose="020B0604020202020204" pitchFamily="34" charset="0"/>
              </a:rPr>
              <a:t>Bhd</a:t>
            </a:r>
            <a:endParaRPr lang="en-US" sz="1400" b="1" dirty="0">
              <a:solidFill>
                <a:sysClr val="windowText" lastClr="000000"/>
              </a:solidFill>
              <a:latin typeface="Arial" panose="020B0604020202020204" pitchFamily="34" charset="0"/>
              <a:cs typeface="Arial" panose="020B0604020202020204" pitchFamily="34" charset="0"/>
            </a:endParaRPr>
          </a:p>
        </p:txBody>
      </p:sp>
      <p:cxnSp>
        <p:nvCxnSpPr>
          <p:cNvPr id="15" name="Straight Connector 14">
            <a:extLst>
              <a:ext uri="{FF2B5EF4-FFF2-40B4-BE49-F238E27FC236}">
                <a16:creationId xmlns:a16="http://schemas.microsoft.com/office/drawing/2014/main" id="{C095BC8B-C86A-493A-BFED-CCEFC4CFE752}"/>
              </a:ext>
            </a:extLst>
          </p:cNvPr>
          <p:cNvCxnSpPr>
            <a:cxnSpLocks/>
          </p:cNvCxnSpPr>
          <p:nvPr/>
        </p:nvCxnSpPr>
        <p:spPr>
          <a:xfrm>
            <a:off x="5523923" y="2588313"/>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C213BE0-CCC8-4053-B4A6-383F119FFB82}"/>
              </a:ext>
            </a:extLst>
          </p:cNvPr>
          <p:cNvSpPr/>
          <p:nvPr/>
        </p:nvSpPr>
        <p:spPr>
          <a:xfrm>
            <a:off x="0" y="768609"/>
            <a:ext cx="9144000" cy="476655"/>
          </a:xfrm>
          <a:prstGeom prst="rect">
            <a:avLst/>
          </a:prstGeom>
          <a:solidFill>
            <a:srgbClr val="235B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dirty="0">
              <a:solidFill>
                <a:prstClr val="white"/>
              </a:solidFill>
              <a:latin typeface="Calibri" panose="020F0502020204030204"/>
            </a:endParaRPr>
          </a:p>
        </p:txBody>
      </p:sp>
      <p:sp>
        <p:nvSpPr>
          <p:cNvPr id="20" name="Rectangle 30">
            <a:extLst>
              <a:ext uri="{FF2B5EF4-FFF2-40B4-BE49-F238E27FC236}">
                <a16:creationId xmlns:a16="http://schemas.microsoft.com/office/drawing/2014/main" id="{906F3204-7CA3-464B-B2C5-C3629769BA69}"/>
              </a:ext>
            </a:extLst>
          </p:cNvPr>
          <p:cNvSpPr/>
          <p:nvPr/>
        </p:nvSpPr>
        <p:spPr>
          <a:xfrm>
            <a:off x="5008194" y="5445098"/>
            <a:ext cx="657400" cy="497690"/>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rgbClr val="004D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defRPr/>
            </a:pPr>
            <a:endParaRPr lang="ko-KR" altLang="en-US" dirty="0">
              <a:solidFill>
                <a:prstClr val="white"/>
              </a:solidFill>
              <a:latin typeface="Calibri" panose="020F0502020204030204"/>
              <a:ea typeface="맑은 고딕" panose="020B0503020000020004" pitchFamily="34" charset="-127"/>
            </a:endParaRPr>
          </a:p>
        </p:txBody>
      </p:sp>
      <p:sp>
        <p:nvSpPr>
          <p:cNvPr id="21" name="Rectangle 20">
            <a:extLst>
              <a:ext uri="{FF2B5EF4-FFF2-40B4-BE49-F238E27FC236}">
                <a16:creationId xmlns:a16="http://schemas.microsoft.com/office/drawing/2014/main" id="{76EED92C-C6A3-4464-8E26-C188DE2FFDEB}"/>
              </a:ext>
            </a:extLst>
          </p:cNvPr>
          <p:cNvSpPr>
            <a:spLocks noChangeArrowheads="1"/>
          </p:cNvSpPr>
          <p:nvPr>
            <p:custDataLst>
              <p:tags r:id="rId1"/>
            </p:custDataLst>
          </p:nvPr>
        </p:nvSpPr>
        <p:spPr bwMode="auto">
          <a:xfrm>
            <a:off x="5734530" y="5136973"/>
            <a:ext cx="2189271" cy="173395"/>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COMPANY CONTACT ADDRESS</a:t>
            </a:r>
          </a:p>
        </p:txBody>
      </p:sp>
      <p:sp>
        <p:nvSpPr>
          <p:cNvPr id="22" name="Rectangle 21">
            <a:extLst>
              <a:ext uri="{FF2B5EF4-FFF2-40B4-BE49-F238E27FC236}">
                <a16:creationId xmlns:a16="http://schemas.microsoft.com/office/drawing/2014/main" id="{65FEB033-CD4D-4FC9-BC56-D6E0E9D1328A}"/>
              </a:ext>
            </a:extLst>
          </p:cNvPr>
          <p:cNvSpPr/>
          <p:nvPr/>
        </p:nvSpPr>
        <p:spPr>
          <a:xfrm>
            <a:off x="5661021" y="5445098"/>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fr-FR" sz="1000" dirty="0">
              <a:solidFill>
                <a:srgbClr val="E7E6E6">
                  <a:lumMod val="25000"/>
                </a:srgbClr>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3" name="Straight Connector 22">
            <a:extLst>
              <a:ext uri="{FF2B5EF4-FFF2-40B4-BE49-F238E27FC236}">
                <a16:creationId xmlns:a16="http://schemas.microsoft.com/office/drawing/2014/main" id="{3F1EF660-7D95-485B-AF49-C2AFAAE56896}"/>
              </a:ext>
            </a:extLst>
          </p:cNvPr>
          <p:cNvCxnSpPr>
            <a:cxnSpLocks/>
          </p:cNvCxnSpPr>
          <p:nvPr/>
        </p:nvCxnSpPr>
        <p:spPr>
          <a:xfrm>
            <a:off x="5523923" y="2581208"/>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B633E14-576C-4FE2-B529-A82B3A2F75FF}"/>
              </a:ext>
            </a:extLst>
          </p:cNvPr>
          <p:cNvSpPr txBox="1"/>
          <p:nvPr/>
        </p:nvSpPr>
        <p:spPr>
          <a:xfrm>
            <a:off x="6101789" y="6365256"/>
            <a:ext cx="2930964"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200">
              <a:defRPr/>
            </a:pPr>
            <a:r>
              <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Source: </a:t>
            </a:r>
            <a:r>
              <a:rPr lang="en-US"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https://www.remixsb.com</a:t>
            </a:r>
            <a:endPar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endParaRPr>
          </a:p>
        </p:txBody>
      </p:sp>
      <p:sp>
        <p:nvSpPr>
          <p:cNvPr id="28" name="Rectangle 27">
            <a:extLst>
              <a:ext uri="{FF2B5EF4-FFF2-40B4-BE49-F238E27FC236}">
                <a16:creationId xmlns:a16="http://schemas.microsoft.com/office/drawing/2014/main" id="{A3A0F7DB-C452-4646-B3B6-9891696C6712}"/>
              </a:ext>
            </a:extLst>
          </p:cNvPr>
          <p:cNvSpPr/>
          <p:nvPr/>
        </p:nvSpPr>
        <p:spPr>
          <a:xfrm>
            <a:off x="5734530" y="4961005"/>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30" name="Rectangle 29">
            <a:extLst>
              <a:ext uri="{FF2B5EF4-FFF2-40B4-BE49-F238E27FC236}">
                <a16:creationId xmlns:a16="http://schemas.microsoft.com/office/drawing/2014/main" id="{BBC228FF-3743-4A1B-978F-133245807885}"/>
              </a:ext>
            </a:extLst>
          </p:cNvPr>
          <p:cNvSpPr/>
          <p:nvPr/>
        </p:nvSpPr>
        <p:spPr>
          <a:xfrm>
            <a:off x="5661021" y="5338125"/>
            <a:ext cx="3032503" cy="9716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81 &amp; 83, Jalan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Industri</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Beringi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aman Perindustrian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Beringi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14000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Juru</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S.P.T., Penang, Malaysia</a:t>
            </a:r>
          </a:p>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ntact No: +604 5024 282 </a:t>
            </a:r>
            <a:endPar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pic>
        <p:nvPicPr>
          <p:cNvPr id="3" name="Picture 2">
            <a:extLst>
              <a:ext uri="{FF2B5EF4-FFF2-40B4-BE49-F238E27FC236}">
                <a16:creationId xmlns:a16="http://schemas.microsoft.com/office/drawing/2014/main" id="{4343C9D6-0483-4CE4-90C9-FEBF945611B9}"/>
              </a:ext>
            </a:extLst>
          </p:cNvPr>
          <p:cNvPicPr>
            <a:picLocks noChangeAspect="1"/>
          </p:cNvPicPr>
          <p:nvPr/>
        </p:nvPicPr>
        <p:blipFill>
          <a:blip r:embed="rId4"/>
          <a:stretch>
            <a:fillRect/>
          </a:stretch>
        </p:blipFill>
        <p:spPr>
          <a:xfrm>
            <a:off x="3438172" y="204698"/>
            <a:ext cx="1619250" cy="478849"/>
          </a:xfrm>
          <a:prstGeom prst="rect">
            <a:avLst/>
          </a:prstGeom>
        </p:spPr>
      </p:pic>
      <p:sp>
        <p:nvSpPr>
          <p:cNvPr id="17" name="Rectangle 16">
            <a:extLst>
              <a:ext uri="{FF2B5EF4-FFF2-40B4-BE49-F238E27FC236}">
                <a16:creationId xmlns:a16="http://schemas.microsoft.com/office/drawing/2014/main" id="{BE01E311-1362-4981-A63D-B3851C050621}"/>
              </a:ext>
            </a:extLst>
          </p:cNvPr>
          <p:cNvSpPr>
            <a:spLocks noChangeArrowheads="1"/>
          </p:cNvSpPr>
          <p:nvPr>
            <p:custDataLst>
              <p:tags r:id="rId2"/>
            </p:custDataLst>
          </p:nvPr>
        </p:nvSpPr>
        <p:spPr bwMode="auto">
          <a:xfrm>
            <a:off x="5502866" y="3520827"/>
            <a:ext cx="3082153" cy="669750"/>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KEY MANAGEMENT PERSONNEL</a:t>
            </a:r>
          </a:p>
          <a:p>
            <a:pPr marL="171450" indent="-171450" defTabSz="895350">
              <a:lnSpc>
                <a:spcPct val="150000"/>
              </a:lnSpc>
              <a:buSzPct val="120000"/>
              <a:buFont typeface="Arial" panose="020B0604020202020204" pitchFamily="34" charset="0"/>
              <a:buChar char="•"/>
              <a:defRPr/>
            </a:pPr>
            <a:r>
              <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Mr.</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A </a:t>
            </a:r>
            <a:r>
              <a:rPr lang="en-US" sz="1000" b="0" i="0" dirty="0" err="1">
                <a:solidFill>
                  <a:srgbClr val="202124"/>
                </a:solidFill>
                <a:effectLst/>
                <a:latin typeface="Verdana" panose="020B0604030504040204" pitchFamily="34" charset="0"/>
                <a:ea typeface="Verdana" panose="020B0604030504040204" pitchFamily="34" charset="0"/>
                <a:cs typeface="Verdana" panose="020B0604030504040204" pitchFamily="34" charset="0"/>
              </a:rPr>
              <a:t>Shahjan</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a:t>
            </a:r>
            <a:r>
              <a:rPr lang="en-US" sz="1000" b="0" i="0" dirty="0" err="1">
                <a:solidFill>
                  <a:srgbClr val="202124"/>
                </a:solidFill>
                <a:effectLst/>
                <a:latin typeface="Verdana" panose="020B0604030504040204" pitchFamily="34" charset="0"/>
                <a:ea typeface="Verdana" panose="020B0604030504040204" pitchFamily="34" charset="0"/>
                <a:cs typeface="Verdana" panose="020B0604030504040204" pitchFamily="34" charset="0"/>
              </a:rPr>
              <a:t>Savli</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Copper – Regiona</a:t>
            </a:r>
            <a:r>
              <a:rPr lang="en-US" sz="1000" dirty="0">
                <a:solidFill>
                  <a:srgbClr val="202124"/>
                </a:solidFill>
                <a:latin typeface="Verdana" panose="020B0604030504040204" pitchFamily="34" charset="0"/>
                <a:ea typeface="Verdana" panose="020B0604030504040204" pitchFamily="34" charset="0"/>
                <a:cs typeface="Verdana" panose="020B0604030504040204" pitchFamily="34" charset="0"/>
              </a:rPr>
              <a:t>l Manager)</a:t>
            </a: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a:p>
            <a:pPr defTabSz="895350">
              <a:lnSpc>
                <a:spcPct val="150000"/>
              </a:lnSpc>
              <a:buSzPct val="120000"/>
              <a:defRPr/>
            </a:pP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23968557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1F2CFB-CF27-4F9F-9511-C16DC59734B4}"/>
              </a:ext>
            </a:extLst>
          </p:cNvPr>
          <p:cNvPicPr>
            <a:picLocks noChangeAspect="1"/>
          </p:cNvPicPr>
          <p:nvPr/>
        </p:nvPicPr>
        <p:blipFill>
          <a:blip r:embed="rId2"/>
          <a:stretch>
            <a:fillRect/>
          </a:stretch>
        </p:blipFill>
        <p:spPr>
          <a:xfrm>
            <a:off x="0" y="0"/>
            <a:ext cx="9144000" cy="6858000"/>
          </a:xfrm>
          <a:prstGeom prst="rect">
            <a:avLst/>
          </a:prstGeom>
        </p:spPr>
      </p:pic>
      <p:sp>
        <p:nvSpPr>
          <p:cNvPr id="4" name="Rectangle 1">
            <a:extLst>
              <a:ext uri="{FF2B5EF4-FFF2-40B4-BE49-F238E27FC236}">
                <a16:creationId xmlns:a16="http://schemas.microsoft.com/office/drawing/2014/main" id="{EFE2042B-74BB-4ADF-9533-A946439057F0}"/>
              </a:ext>
            </a:extLst>
          </p:cNvPr>
          <p:cNvSpPr/>
          <p:nvPr/>
        </p:nvSpPr>
        <p:spPr>
          <a:xfrm>
            <a:off x="-2" y="754379"/>
            <a:ext cx="6096002" cy="1008160"/>
          </a:xfrm>
          <a:custGeom>
            <a:avLst/>
            <a:gdLst>
              <a:gd name="connsiteX0" fmla="*/ 0 w 6032500"/>
              <a:gd name="connsiteY0" fmla="*/ 0 h 1083212"/>
              <a:gd name="connsiteX1" fmla="*/ 6032500 w 6032500"/>
              <a:gd name="connsiteY1" fmla="*/ 0 h 1083212"/>
              <a:gd name="connsiteX2" fmla="*/ 6032500 w 6032500"/>
              <a:gd name="connsiteY2" fmla="*/ 1083212 h 1083212"/>
              <a:gd name="connsiteX3" fmla="*/ 0 w 6032500"/>
              <a:gd name="connsiteY3" fmla="*/ 1083212 h 1083212"/>
              <a:gd name="connsiteX4" fmla="*/ 0 w 6032500"/>
              <a:gd name="connsiteY4" fmla="*/ 0 h 1083212"/>
              <a:gd name="connsiteX0" fmla="*/ 0 w 6032500"/>
              <a:gd name="connsiteY0" fmla="*/ 0 h 1083212"/>
              <a:gd name="connsiteX1" fmla="*/ 6032500 w 6032500"/>
              <a:gd name="connsiteY1" fmla="*/ 0 h 1083212"/>
              <a:gd name="connsiteX2" fmla="*/ 5526063 w 6032500"/>
              <a:gd name="connsiteY2" fmla="*/ 1083212 h 1083212"/>
              <a:gd name="connsiteX3" fmla="*/ 0 w 6032500"/>
              <a:gd name="connsiteY3" fmla="*/ 1083212 h 1083212"/>
              <a:gd name="connsiteX4" fmla="*/ 0 w 6032500"/>
              <a:gd name="connsiteY4" fmla="*/ 0 h 108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0" h="1083212">
                <a:moveTo>
                  <a:pt x="0" y="0"/>
                </a:moveTo>
                <a:lnTo>
                  <a:pt x="6032500" y="0"/>
                </a:lnTo>
                <a:lnTo>
                  <a:pt x="5526063" y="1083212"/>
                </a:lnTo>
                <a:lnTo>
                  <a:pt x="0" y="1083212"/>
                </a:lnTo>
                <a:lnTo>
                  <a:pt x="0" y="0"/>
                </a:lnTo>
                <a:close/>
              </a:path>
            </a:pathLst>
          </a:custGeom>
          <a:solidFill>
            <a:sysClr val="window" lastClr="FFFFFF"/>
          </a:solidFill>
          <a:ln w="12700" cap="flat" cmpd="sng" algn="ctr">
            <a:noFill/>
            <a:prstDash val="solid"/>
            <a:miter lim="800000"/>
          </a:ln>
          <a:effectLst>
            <a:innerShdw blurRad="76200" dist="76200" dir="18900000">
              <a:prstClr val="black">
                <a:alpha val="46000"/>
              </a:prstClr>
            </a:innerShdw>
          </a:effectLst>
        </p:spPr>
        <p:txBody>
          <a:bodyPr rtlCol="0" anchor="ct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IN"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rPr>
              <a:t>Strategic Recommendations</a:t>
            </a:r>
            <a:endParaRPr kumimoji="0" lang="en-US"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19800535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EA833C6-59A9-4418-9E58-26649F3E9697}"/>
              </a:ext>
            </a:extLst>
          </p:cNvPr>
          <p:cNvSpPr/>
          <p:nvPr/>
        </p:nvSpPr>
        <p:spPr>
          <a:xfrm>
            <a:off x="146426" y="319836"/>
            <a:ext cx="8752722" cy="296684"/>
          </a:xfrm>
          <a:prstGeom prst="rect">
            <a:avLst/>
          </a:prstGeom>
          <a:noFill/>
        </p:spPr>
        <p:txBody>
          <a:bodyPr wrap="square" rtlCol="0" anchor="t">
            <a:spAutoFit/>
          </a:bodyPr>
          <a:lstStyle/>
          <a:p>
            <a:pPr lvl="0">
              <a:lnSpc>
                <a:spcPts val="1700"/>
              </a:lnSpc>
              <a:spcBef>
                <a:spcPct val="0"/>
              </a:spcBef>
              <a:defRPr/>
            </a:pPr>
            <a:r>
              <a:rPr lang="en-IN" sz="1400" b="1" dirty="0">
                <a:solidFill>
                  <a:prstClr val="black"/>
                </a:solidFill>
                <a:latin typeface="Arial" panose="020B0604020202020204" pitchFamily="34" charset="0"/>
                <a:cs typeface="Arial" panose="020B0604020202020204" pitchFamily="34" charset="0"/>
              </a:rPr>
              <a:t>Emphasize on Feed Grade</a:t>
            </a:r>
          </a:p>
        </p:txBody>
      </p:sp>
      <p:grpSp>
        <p:nvGrpSpPr>
          <p:cNvPr id="14" name="Group 13">
            <a:extLst>
              <a:ext uri="{FF2B5EF4-FFF2-40B4-BE49-F238E27FC236}">
                <a16:creationId xmlns:a16="http://schemas.microsoft.com/office/drawing/2014/main" id="{A7A16E20-48B7-4924-B36A-FFA6260CAB8C}"/>
              </a:ext>
            </a:extLst>
          </p:cNvPr>
          <p:cNvGrpSpPr/>
          <p:nvPr/>
        </p:nvGrpSpPr>
        <p:grpSpPr>
          <a:xfrm>
            <a:off x="539141" y="908050"/>
            <a:ext cx="3153789" cy="5508380"/>
            <a:chOff x="477304" y="877532"/>
            <a:chExt cx="3153789" cy="5508380"/>
          </a:xfrm>
        </p:grpSpPr>
        <p:sp>
          <p:nvSpPr>
            <p:cNvPr id="15" name="object 11">
              <a:extLst>
                <a:ext uri="{FF2B5EF4-FFF2-40B4-BE49-F238E27FC236}">
                  <a16:creationId xmlns:a16="http://schemas.microsoft.com/office/drawing/2014/main" id="{8BA165B1-D17C-4F25-B8D3-3C896CF62AFF}"/>
                </a:ext>
              </a:extLst>
            </p:cNvPr>
            <p:cNvSpPr/>
            <p:nvPr/>
          </p:nvSpPr>
          <p:spPr>
            <a:xfrm>
              <a:off x="477304" y="1573403"/>
              <a:ext cx="3153789" cy="481250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object 12">
              <a:extLst>
                <a:ext uri="{FF2B5EF4-FFF2-40B4-BE49-F238E27FC236}">
                  <a16:creationId xmlns:a16="http://schemas.microsoft.com/office/drawing/2014/main" id="{919A3A27-BC81-49F8-8042-07E2330E9282}"/>
                </a:ext>
              </a:extLst>
            </p:cNvPr>
            <p:cNvSpPr/>
            <p:nvPr/>
          </p:nvSpPr>
          <p:spPr>
            <a:xfrm>
              <a:off x="1732757" y="877532"/>
              <a:ext cx="692555" cy="695871"/>
            </a:xfrm>
            <a:custGeom>
              <a:avLst/>
              <a:gdLst/>
              <a:ahLst/>
              <a:cxnLst/>
              <a:rect l="l" t="t" r="r" b="b"/>
              <a:pathLst>
                <a:path w="486410" h="486410">
                  <a:moveTo>
                    <a:pt x="242912" y="0"/>
                  </a:moveTo>
                  <a:lnTo>
                    <a:pt x="193955" y="4934"/>
                  </a:lnTo>
                  <a:lnTo>
                    <a:pt x="148357" y="19088"/>
                  </a:lnTo>
                  <a:lnTo>
                    <a:pt x="107095" y="41484"/>
                  </a:lnTo>
                  <a:lnTo>
                    <a:pt x="71145" y="71145"/>
                  </a:lnTo>
                  <a:lnTo>
                    <a:pt x="41484" y="107095"/>
                  </a:lnTo>
                  <a:lnTo>
                    <a:pt x="19088" y="148357"/>
                  </a:lnTo>
                  <a:lnTo>
                    <a:pt x="4934" y="193955"/>
                  </a:lnTo>
                  <a:lnTo>
                    <a:pt x="0" y="242912"/>
                  </a:lnTo>
                  <a:lnTo>
                    <a:pt x="4934" y="291866"/>
                  </a:lnTo>
                  <a:lnTo>
                    <a:pt x="19088" y="337462"/>
                  </a:lnTo>
                  <a:lnTo>
                    <a:pt x="41484" y="378724"/>
                  </a:lnTo>
                  <a:lnTo>
                    <a:pt x="71145" y="414675"/>
                  </a:lnTo>
                  <a:lnTo>
                    <a:pt x="107095" y="444338"/>
                  </a:lnTo>
                  <a:lnTo>
                    <a:pt x="148357" y="466735"/>
                  </a:lnTo>
                  <a:lnTo>
                    <a:pt x="193955" y="480890"/>
                  </a:lnTo>
                  <a:lnTo>
                    <a:pt x="242912" y="485825"/>
                  </a:lnTo>
                  <a:lnTo>
                    <a:pt x="291870" y="480890"/>
                  </a:lnTo>
                  <a:lnTo>
                    <a:pt x="337469" y="466735"/>
                  </a:lnTo>
                  <a:lnTo>
                    <a:pt x="378734" y="444338"/>
                  </a:lnTo>
                  <a:lnTo>
                    <a:pt x="414686" y="414675"/>
                  </a:lnTo>
                  <a:lnTo>
                    <a:pt x="444350" y="378724"/>
                  </a:lnTo>
                  <a:lnTo>
                    <a:pt x="466748" y="337462"/>
                  </a:lnTo>
                  <a:lnTo>
                    <a:pt x="480903" y="291866"/>
                  </a:lnTo>
                  <a:lnTo>
                    <a:pt x="485838" y="242912"/>
                  </a:lnTo>
                  <a:lnTo>
                    <a:pt x="480903" y="193955"/>
                  </a:lnTo>
                  <a:lnTo>
                    <a:pt x="466748" y="148357"/>
                  </a:lnTo>
                  <a:lnTo>
                    <a:pt x="444350" y="107095"/>
                  </a:lnTo>
                  <a:lnTo>
                    <a:pt x="414686" y="71145"/>
                  </a:lnTo>
                  <a:lnTo>
                    <a:pt x="378734" y="41484"/>
                  </a:lnTo>
                  <a:lnTo>
                    <a:pt x="337469" y="19088"/>
                  </a:lnTo>
                  <a:lnTo>
                    <a:pt x="291870" y="4934"/>
                  </a:lnTo>
                  <a:lnTo>
                    <a:pt x="242912" y="0"/>
                  </a:lnTo>
                  <a:close/>
                </a:path>
              </a:pathLst>
            </a:custGeom>
            <a:solidFill>
              <a:srgbClr val="6E2178"/>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 name="TextBox 16">
            <a:extLst>
              <a:ext uri="{FF2B5EF4-FFF2-40B4-BE49-F238E27FC236}">
                <a16:creationId xmlns:a16="http://schemas.microsoft.com/office/drawing/2014/main" id="{9E1B7548-DA96-47DF-A97F-4F46B4B14660}"/>
              </a:ext>
            </a:extLst>
          </p:cNvPr>
          <p:cNvSpPr txBox="1"/>
          <p:nvPr/>
        </p:nvSpPr>
        <p:spPr>
          <a:xfrm>
            <a:off x="3748343" y="725354"/>
            <a:ext cx="4862257" cy="5428089"/>
          </a:xfrm>
          <a:prstGeom prst="rect">
            <a:avLst/>
          </a:prstGeom>
          <a:noFill/>
        </p:spPr>
        <p:txBody>
          <a:bodyPr wrap="square" rtlCol="0">
            <a:spAutoFit/>
          </a:bodyPr>
          <a:lstStyle/>
          <a:p>
            <a:pPr marL="171450" lvl="0" indent="-171450" algn="just">
              <a:lnSpc>
                <a:spcPct val="200000"/>
              </a:lnSpc>
              <a:spcBef>
                <a:spcPts val="600"/>
              </a:spcBef>
              <a:buFont typeface="Wingdings" panose="05000000000000000000" pitchFamily="2" charset="2"/>
              <a:buChar char="Ø"/>
              <a:defRPr/>
            </a:pP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The demand for Feed Grade Copper Sulphate, consumed in high volumes in animal husbandry, is anticipated to expand at a highest CAGR of 6.08% during the forecast period. Whereas, the major demand comes from the agricultural sector across South-east Asia which is estimated to hold nearly 42% share in value terms, as of 2020. This dominance is attributed to high consumption of copper sulphate being employed in fungicides, herbicides, fertilizers, etc. to protect crops against </a:t>
            </a:r>
            <a:r>
              <a:rPr lang="en-IN"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mold</a:t>
            </a: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 algae, bacteria, etc. Additionally, it provides essential nutrients to plants. </a:t>
            </a:r>
          </a:p>
          <a:p>
            <a:pPr marL="171450" lvl="0" indent="-171450" algn="just">
              <a:lnSpc>
                <a:spcPct val="200000"/>
              </a:lnSpc>
              <a:spcBef>
                <a:spcPts val="600"/>
              </a:spcBef>
              <a:buFont typeface="Wingdings" panose="05000000000000000000" pitchFamily="2" charset="2"/>
              <a:buChar char="Ø"/>
              <a:defRPr/>
            </a:pP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Copper sulphate has substantial uses in animal husbandry owing to its antimicrobial properties and its ability to promote the nutritional </a:t>
            </a:r>
            <a:r>
              <a:rPr lang="en-IN" sz="1000" dirty="0">
                <a:latin typeface="Verdana" panose="020B0604030504040204" pitchFamily="34" charset="0"/>
                <a:ea typeface="Verdana" panose="020B0604030504040204" pitchFamily="34" charset="0"/>
                <a:cs typeface="Verdana" panose="020B0604030504040204" pitchFamily="34" charset="0"/>
              </a:rPr>
              <a:t>growth and treat copper deficiencies in animals. The region is </a:t>
            </a: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experiencing a huge demand for meat, mainly poultry and pork, which is further anticipated to increase manifold in the coming years. </a:t>
            </a:r>
          </a:p>
          <a:p>
            <a:pPr marL="171450" lvl="0" indent="-171450" algn="just">
              <a:lnSpc>
                <a:spcPct val="200000"/>
              </a:lnSpc>
              <a:spcBef>
                <a:spcPts val="600"/>
              </a:spcBef>
              <a:buFont typeface="Wingdings" panose="05000000000000000000" pitchFamily="2" charset="2"/>
              <a:buChar char="Ø"/>
              <a:defRPr/>
            </a:pP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Thus, sulphur fertilizer companies are recommended to focus on the production of feed grade copper sulphate during the forthcoming years in order to maintain strong presence in the market.</a:t>
            </a:r>
          </a:p>
        </p:txBody>
      </p:sp>
    </p:spTree>
    <p:extLst>
      <p:ext uri="{BB962C8B-B14F-4D97-AF65-F5344CB8AC3E}">
        <p14:creationId xmlns:p14="http://schemas.microsoft.com/office/powerpoint/2010/main" val="76200978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4435F82-34E9-4533-AD8C-7E03CA0F28E5}"/>
              </a:ext>
            </a:extLst>
          </p:cNvPr>
          <p:cNvSpPr/>
          <p:nvPr/>
        </p:nvSpPr>
        <p:spPr>
          <a:xfrm>
            <a:off x="-349409" y="322364"/>
            <a:ext cx="8752722" cy="296684"/>
          </a:xfrm>
          <a:prstGeom prst="rect">
            <a:avLst/>
          </a:prstGeom>
          <a:noFill/>
        </p:spPr>
        <p:txBody>
          <a:bodyPr wrap="square" rtlCol="0" anchor="t">
            <a:spAutoFit/>
          </a:bodyPr>
          <a:lstStyle/>
          <a:p>
            <a:pPr lvl="1">
              <a:lnSpc>
                <a:spcPts val="1700"/>
              </a:lnSpc>
              <a:spcBef>
                <a:spcPct val="0"/>
              </a:spcBef>
              <a:defRPr/>
            </a:pPr>
            <a:r>
              <a:rPr lang="en-IN" sz="1400" b="1" dirty="0">
                <a:solidFill>
                  <a:prstClr val="black"/>
                </a:solidFill>
                <a:latin typeface="Arial" panose="020B0604020202020204" pitchFamily="34" charset="0"/>
                <a:cs typeface="Arial" panose="020B0604020202020204" pitchFamily="34" charset="0"/>
              </a:rPr>
              <a:t>Target Country – Indonesia</a:t>
            </a:r>
          </a:p>
        </p:txBody>
      </p:sp>
      <p:sp>
        <p:nvSpPr>
          <p:cNvPr id="8" name="TextBox 7">
            <a:extLst>
              <a:ext uri="{FF2B5EF4-FFF2-40B4-BE49-F238E27FC236}">
                <a16:creationId xmlns:a16="http://schemas.microsoft.com/office/drawing/2014/main" id="{9BC0F0CF-752D-41EB-AA1C-BAB6A65E5FB4}"/>
              </a:ext>
            </a:extLst>
          </p:cNvPr>
          <p:cNvSpPr txBox="1"/>
          <p:nvPr/>
        </p:nvSpPr>
        <p:spPr>
          <a:xfrm>
            <a:off x="3843743" y="676431"/>
            <a:ext cx="4678840" cy="6053260"/>
          </a:xfrm>
          <a:prstGeom prst="rect">
            <a:avLst/>
          </a:prstGeom>
          <a:noFill/>
        </p:spPr>
        <p:txBody>
          <a:bodyPr wrap="square" rtlCol="0">
            <a:spAutoFit/>
          </a:bodyPr>
          <a:lstStyle/>
          <a:p>
            <a:pPr marL="171450" lvl="0" indent="-171450" algn="just">
              <a:lnSpc>
                <a:spcPts val="2100"/>
              </a:lnSpc>
              <a:spcBef>
                <a:spcPts val="600"/>
              </a:spcBef>
              <a:buFont typeface="Wingdings" panose="05000000000000000000" pitchFamily="2" charset="2"/>
              <a:buChar char="Ø"/>
              <a:defRPr/>
            </a:pP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Indonesia dominated the South-east Asian copper sulphate market with a share of 41.72%, in volume terms, in 2020. High availability of arable land in the country has made it one of the leading crop producers and food exporters in the region, thereby generating huge demand for fertilizers, fungicides, etc. in the country to ensure maximum yield. Despite having a smaller workforce, the agricultural sector in Indonesia holds significant share across the region. </a:t>
            </a:r>
          </a:p>
          <a:p>
            <a:pPr marL="171450" lvl="0" indent="-171450" algn="just">
              <a:lnSpc>
                <a:spcPts val="2100"/>
              </a:lnSpc>
              <a:spcBef>
                <a:spcPts val="600"/>
              </a:spcBef>
              <a:buFont typeface="Wingdings" panose="05000000000000000000" pitchFamily="2" charset="2"/>
              <a:buChar char="Ø"/>
              <a:defRPr/>
            </a:pP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Currently, Indonesia is importing large volume of copper sulphate following the growing demand and have easy access to the exporting countries like China and Japan. Also, shifting preference for customized diets and eating patterns have generated demand for protein meals in the country. A significant growth in the per capita meat consumption across Indonesia has been witnessed in the past few years followed by the increase in income across the country. This generates the demand for copper sulphate which is used widely across animal feed to fortify food as well as prevent </a:t>
            </a:r>
            <a:r>
              <a:rPr lang="en-IN"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mold</a:t>
            </a: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 growth. These factors have resulted in increased demand for copper sulphate in the country backed by surging animal husbandry across the country. Hence, sulphur fertilizer companies are recommended to increase their focus on Indonesia in order to tap the emerging opportunities in the market.</a:t>
            </a:r>
          </a:p>
        </p:txBody>
      </p:sp>
      <p:grpSp>
        <p:nvGrpSpPr>
          <p:cNvPr id="9" name="Group 8">
            <a:extLst>
              <a:ext uri="{FF2B5EF4-FFF2-40B4-BE49-F238E27FC236}">
                <a16:creationId xmlns:a16="http://schemas.microsoft.com/office/drawing/2014/main" id="{58541898-7919-4299-8297-607E167A9BBC}"/>
              </a:ext>
            </a:extLst>
          </p:cNvPr>
          <p:cNvGrpSpPr/>
          <p:nvPr/>
        </p:nvGrpSpPr>
        <p:grpSpPr>
          <a:xfrm>
            <a:off x="568409" y="908050"/>
            <a:ext cx="3153789" cy="5508380"/>
            <a:chOff x="477304" y="877532"/>
            <a:chExt cx="3153789" cy="5508380"/>
          </a:xfrm>
        </p:grpSpPr>
        <p:sp>
          <p:nvSpPr>
            <p:cNvPr id="10" name="object 11">
              <a:extLst>
                <a:ext uri="{FF2B5EF4-FFF2-40B4-BE49-F238E27FC236}">
                  <a16:creationId xmlns:a16="http://schemas.microsoft.com/office/drawing/2014/main" id="{A229C819-9044-423A-AE55-F7B747520F62}"/>
                </a:ext>
              </a:extLst>
            </p:cNvPr>
            <p:cNvSpPr/>
            <p:nvPr/>
          </p:nvSpPr>
          <p:spPr>
            <a:xfrm>
              <a:off x="477304" y="1573403"/>
              <a:ext cx="3153789" cy="481250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object 12">
              <a:extLst>
                <a:ext uri="{FF2B5EF4-FFF2-40B4-BE49-F238E27FC236}">
                  <a16:creationId xmlns:a16="http://schemas.microsoft.com/office/drawing/2014/main" id="{6CD2A152-0C3D-4F93-9B67-A28E5B8971FA}"/>
                </a:ext>
              </a:extLst>
            </p:cNvPr>
            <p:cNvSpPr/>
            <p:nvPr/>
          </p:nvSpPr>
          <p:spPr>
            <a:xfrm>
              <a:off x="1732757" y="877532"/>
              <a:ext cx="692555" cy="695871"/>
            </a:xfrm>
            <a:custGeom>
              <a:avLst/>
              <a:gdLst/>
              <a:ahLst/>
              <a:cxnLst/>
              <a:rect l="l" t="t" r="r" b="b"/>
              <a:pathLst>
                <a:path w="486410" h="486410">
                  <a:moveTo>
                    <a:pt x="242912" y="0"/>
                  </a:moveTo>
                  <a:lnTo>
                    <a:pt x="193955" y="4934"/>
                  </a:lnTo>
                  <a:lnTo>
                    <a:pt x="148357" y="19088"/>
                  </a:lnTo>
                  <a:lnTo>
                    <a:pt x="107095" y="41484"/>
                  </a:lnTo>
                  <a:lnTo>
                    <a:pt x="71145" y="71145"/>
                  </a:lnTo>
                  <a:lnTo>
                    <a:pt x="41484" y="107095"/>
                  </a:lnTo>
                  <a:lnTo>
                    <a:pt x="19088" y="148357"/>
                  </a:lnTo>
                  <a:lnTo>
                    <a:pt x="4934" y="193955"/>
                  </a:lnTo>
                  <a:lnTo>
                    <a:pt x="0" y="242912"/>
                  </a:lnTo>
                  <a:lnTo>
                    <a:pt x="4934" y="291866"/>
                  </a:lnTo>
                  <a:lnTo>
                    <a:pt x="19088" y="337462"/>
                  </a:lnTo>
                  <a:lnTo>
                    <a:pt x="41484" y="378724"/>
                  </a:lnTo>
                  <a:lnTo>
                    <a:pt x="71145" y="414675"/>
                  </a:lnTo>
                  <a:lnTo>
                    <a:pt x="107095" y="444338"/>
                  </a:lnTo>
                  <a:lnTo>
                    <a:pt x="148357" y="466735"/>
                  </a:lnTo>
                  <a:lnTo>
                    <a:pt x="193955" y="480890"/>
                  </a:lnTo>
                  <a:lnTo>
                    <a:pt x="242912" y="485825"/>
                  </a:lnTo>
                  <a:lnTo>
                    <a:pt x="291870" y="480890"/>
                  </a:lnTo>
                  <a:lnTo>
                    <a:pt x="337469" y="466735"/>
                  </a:lnTo>
                  <a:lnTo>
                    <a:pt x="378734" y="444338"/>
                  </a:lnTo>
                  <a:lnTo>
                    <a:pt x="414686" y="414675"/>
                  </a:lnTo>
                  <a:lnTo>
                    <a:pt x="444350" y="378724"/>
                  </a:lnTo>
                  <a:lnTo>
                    <a:pt x="466748" y="337462"/>
                  </a:lnTo>
                  <a:lnTo>
                    <a:pt x="480903" y="291866"/>
                  </a:lnTo>
                  <a:lnTo>
                    <a:pt x="485838" y="242912"/>
                  </a:lnTo>
                  <a:lnTo>
                    <a:pt x="480903" y="193955"/>
                  </a:lnTo>
                  <a:lnTo>
                    <a:pt x="466748" y="148357"/>
                  </a:lnTo>
                  <a:lnTo>
                    <a:pt x="444350" y="107095"/>
                  </a:lnTo>
                  <a:lnTo>
                    <a:pt x="414686" y="71145"/>
                  </a:lnTo>
                  <a:lnTo>
                    <a:pt x="378734" y="41484"/>
                  </a:lnTo>
                  <a:lnTo>
                    <a:pt x="337469" y="19088"/>
                  </a:lnTo>
                  <a:lnTo>
                    <a:pt x="291870" y="4934"/>
                  </a:lnTo>
                  <a:lnTo>
                    <a:pt x="242912" y="0"/>
                  </a:lnTo>
                  <a:close/>
                </a:path>
              </a:pathLst>
            </a:custGeom>
            <a:solidFill>
              <a:srgbClr val="6E2178"/>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23021121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4435F82-34E9-4533-AD8C-7E03CA0F28E5}"/>
              </a:ext>
            </a:extLst>
          </p:cNvPr>
          <p:cNvSpPr/>
          <p:nvPr/>
        </p:nvSpPr>
        <p:spPr>
          <a:xfrm>
            <a:off x="-349409" y="322364"/>
            <a:ext cx="8752722" cy="296684"/>
          </a:xfrm>
          <a:prstGeom prst="rect">
            <a:avLst/>
          </a:prstGeom>
          <a:noFill/>
        </p:spPr>
        <p:txBody>
          <a:bodyPr wrap="square" rtlCol="0" anchor="t">
            <a:spAutoFit/>
          </a:bodyPr>
          <a:lstStyle/>
          <a:p>
            <a:pPr lvl="1">
              <a:lnSpc>
                <a:spcPts val="1700"/>
              </a:lnSpc>
              <a:spcBef>
                <a:spcPct val="0"/>
              </a:spcBef>
              <a:defRPr/>
            </a:pPr>
            <a:r>
              <a:rPr lang="en-IN" sz="1400" b="1" dirty="0">
                <a:solidFill>
                  <a:prstClr val="black"/>
                </a:solidFill>
                <a:latin typeface="Arial" panose="020B0604020202020204" pitchFamily="34" charset="0"/>
                <a:cs typeface="Arial" panose="020B0604020202020204" pitchFamily="34" charset="0"/>
              </a:rPr>
              <a:t>Focus on Export Market</a:t>
            </a:r>
          </a:p>
        </p:txBody>
      </p:sp>
      <p:sp>
        <p:nvSpPr>
          <p:cNvPr id="8" name="TextBox 7">
            <a:extLst>
              <a:ext uri="{FF2B5EF4-FFF2-40B4-BE49-F238E27FC236}">
                <a16:creationId xmlns:a16="http://schemas.microsoft.com/office/drawing/2014/main" id="{9BC0F0CF-752D-41EB-AA1C-BAB6A65E5FB4}"/>
              </a:ext>
            </a:extLst>
          </p:cNvPr>
          <p:cNvSpPr txBox="1"/>
          <p:nvPr/>
        </p:nvSpPr>
        <p:spPr>
          <a:xfrm>
            <a:off x="0" y="676431"/>
            <a:ext cx="8522583" cy="1936749"/>
          </a:xfrm>
          <a:prstGeom prst="rect">
            <a:avLst/>
          </a:prstGeom>
          <a:noFill/>
        </p:spPr>
        <p:txBody>
          <a:bodyPr wrap="square" rtlCol="0">
            <a:spAutoFit/>
          </a:bodyPr>
          <a:lstStyle/>
          <a:p>
            <a:pPr marL="171450" lvl="0" indent="-171450" algn="just">
              <a:lnSpc>
                <a:spcPts val="2100"/>
              </a:lnSpc>
              <a:spcBef>
                <a:spcPts val="600"/>
              </a:spcBef>
              <a:buFont typeface="Wingdings" panose="05000000000000000000" pitchFamily="2" charset="2"/>
              <a:buChar char="Ø"/>
              <a:defRPr/>
            </a:pP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Major European and North American countries are in deficit of Copper Sulphate. USA, Australia, Canada, Germany, and Poland constituted around 110 thousand tonnes by volume copper sulphate import in 2020. Major European and North American countries have extensive usage of Copper Sulphate from Paints &amp; Coatings, Fibre Industry, etc. European Union and American Standards both have allowed Copper Sulphate’s usage in major pesticides. Presence of Copper Mines and lower operation cost in major South-east Asian countries have a major potential for export in these developed countries. Companies operating in the South-east Asian Copper Sulphate market can target below mentioned countries for better margin and increase their geographical presence in Western parts of the globe.</a:t>
            </a:r>
          </a:p>
        </p:txBody>
      </p:sp>
      <p:grpSp>
        <p:nvGrpSpPr>
          <p:cNvPr id="12" name="Group 11">
            <a:extLst>
              <a:ext uri="{FF2B5EF4-FFF2-40B4-BE49-F238E27FC236}">
                <a16:creationId xmlns:a16="http://schemas.microsoft.com/office/drawing/2014/main" id="{D952355D-089C-40D5-859B-1A0D3BAC9EE6}"/>
              </a:ext>
            </a:extLst>
          </p:cNvPr>
          <p:cNvGrpSpPr/>
          <p:nvPr/>
        </p:nvGrpSpPr>
        <p:grpSpPr>
          <a:xfrm>
            <a:off x="639626" y="2676939"/>
            <a:ext cx="7539174" cy="3592375"/>
            <a:chOff x="639626" y="1256265"/>
            <a:chExt cx="7539174" cy="4549223"/>
          </a:xfrm>
        </p:grpSpPr>
        <p:sp>
          <p:nvSpPr>
            <p:cNvPr id="13" name="Freeform 4">
              <a:extLst>
                <a:ext uri="{FF2B5EF4-FFF2-40B4-BE49-F238E27FC236}">
                  <a16:creationId xmlns:a16="http://schemas.microsoft.com/office/drawing/2014/main" id="{CA055439-D597-48C0-8226-3CF6C5ACB86B}"/>
                </a:ext>
              </a:extLst>
            </p:cNvPr>
            <p:cNvSpPr>
              <a:spLocks/>
            </p:cNvSpPr>
            <p:nvPr>
              <p:custDataLst>
                <p:tags r:id="rId1"/>
              </p:custDataLst>
            </p:nvPr>
          </p:nvSpPr>
          <p:spPr bwMode="auto">
            <a:xfrm>
              <a:off x="2519363" y="5741988"/>
              <a:ext cx="33337" cy="57150"/>
            </a:xfrm>
            <a:custGeom>
              <a:avLst/>
              <a:gdLst>
                <a:gd name="T0" fmla="*/ 0 w 73"/>
                <a:gd name="T1" fmla="*/ 0 h 20"/>
                <a:gd name="T2" fmla="*/ 208699 w 73"/>
                <a:gd name="T3" fmla="*/ 40827960 h 20"/>
                <a:gd name="T4" fmla="*/ 834338 w 73"/>
                <a:gd name="T5" fmla="*/ 81653063 h 20"/>
                <a:gd name="T6" fmla="*/ 1668220 w 73"/>
                <a:gd name="T7" fmla="*/ 114314288 h 20"/>
                <a:gd name="T8" fmla="*/ 2711257 w 73"/>
                <a:gd name="T9" fmla="*/ 163306125 h 20"/>
                <a:gd name="T10" fmla="*/ 3336897 w 73"/>
                <a:gd name="T11" fmla="*/ 138811635 h 20"/>
                <a:gd name="T12" fmla="*/ 3962536 w 73"/>
                <a:gd name="T13" fmla="*/ 106150410 h 20"/>
                <a:gd name="T14" fmla="*/ 4796418 w 73"/>
                <a:gd name="T15" fmla="*/ 89819798 h 20"/>
                <a:gd name="T16" fmla="*/ 5630756 w 73"/>
                <a:gd name="T17" fmla="*/ 81653063 h 20"/>
                <a:gd name="T18" fmla="*/ 7507675 w 73"/>
                <a:gd name="T19" fmla="*/ 65322450 h 20"/>
                <a:gd name="T20" fmla="*/ 9593293 w 73"/>
                <a:gd name="T21" fmla="*/ 57158573 h 20"/>
                <a:gd name="T22" fmla="*/ 11261513 w 73"/>
                <a:gd name="T23" fmla="*/ 57158573 h 20"/>
                <a:gd name="T24" fmla="*/ 13138431 w 73"/>
                <a:gd name="T25" fmla="*/ 48991838 h 20"/>
                <a:gd name="T26" fmla="*/ 13764071 w 73"/>
                <a:gd name="T27" fmla="*/ 40827960 h 20"/>
                <a:gd name="T28" fmla="*/ 14389711 w 73"/>
                <a:gd name="T29" fmla="*/ 32661225 h 20"/>
                <a:gd name="T30" fmla="*/ 14807108 w 73"/>
                <a:gd name="T31" fmla="*/ 16330613 h 20"/>
                <a:gd name="T32" fmla="*/ 15224049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4" name="Freeform 5">
              <a:extLst>
                <a:ext uri="{FF2B5EF4-FFF2-40B4-BE49-F238E27FC236}">
                  <a16:creationId xmlns:a16="http://schemas.microsoft.com/office/drawing/2014/main" id="{3D83EB57-0109-4B65-9F37-66AAFACA4EA5}"/>
                </a:ext>
              </a:extLst>
            </p:cNvPr>
            <p:cNvSpPr>
              <a:spLocks/>
            </p:cNvSpPr>
            <p:nvPr>
              <p:custDataLst>
                <p:tags r:id="rId2"/>
              </p:custDataLst>
            </p:nvPr>
          </p:nvSpPr>
          <p:spPr bwMode="auto">
            <a:xfrm>
              <a:off x="677863" y="1843088"/>
              <a:ext cx="784225" cy="446087"/>
            </a:xfrm>
            <a:custGeom>
              <a:avLst/>
              <a:gdLst>
                <a:gd name="T0" fmla="*/ 262457292 w 1808"/>
                <a:gd name="T1" fmla="*/ 222267807 h 850"/>
                <a:gd name="T2" fmla="*/ 262269043 w 1808"/>
                <a:gd name="T3" fmla="*/ 207394708 h 850"/>
                <a:gd name="T4" fmla="*/ 258318423 w 1808"/>
                <a:gd name="T5" fmla="*/ 178475086 h 850"/>
                <a:gd name="T6" fmla="*/ 248911193 w 1808"/>
                <a:gd name="T7" fmla="*/ 176547461 h 850"/>
                <a:gd name="T8" fmla="*/ 237810592 w 1808"/>
                <a:gd name="T9" fmla="*/ 175996411 h 850"/>
                <a:gd name="T10" fmla="*/ 213352575 w 1808"/>
                <a:gd name="T11" fmla="*/ 160297262 h 850"/>
                <a:gd name="T12" fmla="*/ 183061451 w 1808"/>
                <a:gd name="T13" fmla="*/ 147903363 h 850"/>
                <a:gd name="T14" fmla="*/ 177417460 w 1808"/>
                <a:gd name="T15" fmla="*/ 138814189 h 850"/>
                <a:gd name="T16" fmla="*/ 169515352 w 1808"/>
                <a:gd name="T17" fmla="*/ 142119438 h 850"/>
                <a:gd name="T18" fmla="*/ 159732058 w 1808"/>
                <a:gd name="T19" fmla="*/ 156992012 h 850"/>
                <a:gd name="T20" fmla="*/ 126995436 w 1808"/>
                <a:gd name="T21" fmla="*/ 170488011 h 850"/>
                <a:gd name="T22" fmla="*/ 127559748 w 1808"/>
                <a:gd name="T23" fmla="*/ 159195687 h 850"/>
                <a:gd name="T24" fmla="*/ 135650105 w 1808"/>
                <a:gd name="T25" fmla="*/ 150933088 h 850"/>
                <a:gd name="T26" fmla="*/ 147879330 w 1808"/>
                <a:gd name="T27" fmla="*/ 150106513 h 850"/>
                <a:gd name="T28" fmla="*/ 136214417 w 1808"/>
                <a:gd name="T29" fmla="*/ 145424163 h 850"/>
                <a:gd name="T30" fmla="*/ 108745722 w 1808"/>
                <a:gd name="T31" fmla="*/ 162225412 h 850"/>
                <a:gd name="T32" fmla="*/ 102913482 w 1808"/>
                <a:gd name="T33" fmla="*/ 172140636 h 850"/>
                <a:gd name="T34" fmla="*/ 98962428 w 1808"/>
                <a:gd name="T35" fmla="*/ 179026135 h 850"/>
                <a:gd name="T36" fmla="*/ 85039832 w 1808"/>
                <a:gd name="T37" fmla="*/ 180127710 h 850"/>
                <a:gd name="T38" fmla="*/ 72058046 w 1808"/>
                <a:gd name="T39" fmla="*/ 193348184 h 850"/>
                <a:gd name="T40" fmla="*/ 47411780 w 1808"/>
                <a:gd name="T41" fmla="*/ 206568658 h 850"/>
                <a:gd name="T42" fmla="*/ 19754836 w 1808"/>
                <a:gd name="T43" fmla="*/ 222267807 h 850"/>
                <a:gd name="T44" fmla="*/ 752561 w 1808"/>
                <a:gd name="T45" fmla="*/ 223920432 h 850"/>
                <a:gd name="T46" fmla="*/ 2634181 w 1808"/>
                <a:gd name="T47" fmla="*/ 217310457 h 850"/>
                <a:gd name="T48" fmla="*/ 23894139 w 1808"/>
                <a:gd name="T49" fmla="*/ 209598383 h 850"/>
                <a:gd name="T50" fmla="*/ 49857278 w 1808"/>
                <a:gd name="T51" fmla="*/ 191695559 h 850"/>
                <a:gd name="T52" fmla="*/ 56442512 w 1808"/>
                <a:gd name="T53" fmla="*/ 172416161 h 850"/>
                <a:gd name="T54" fmla="*/ 47599595 w 1808"/>
                <a:gd name="T55" fmla="*/ 180954285 h 850"/>
                <a:gd name="T56" fmla="*/ 28221256 w 1808"/>
                <a:gd name="T57" fmla="*/ 177097986 h 850"/>
                <a:gd name="T58" fmla="*/ 32360125 w 1808"/>
                <a:gd name="T59" fmla="*/ 168009336 h 850"/>
                <a:gd name="T60" fmla="*/ 45154097 w 1808"/>
                <a:gd name="T61" fmla="*/ 150657563 h 850"/>
                <a:gd name="T62" fmla="*/ 28597320 w 1808"/>
                <a:gd name="T63" fmla="*/ 158369112 h 850"/>
                <a:gd name="T64" fmla="*/ 26904383 w 1808"/>
                <a:gd name="T65" fmla="*/ 147627838 h 850"/>
                <a:gd name="T66" fmla="*/ 65096748 w 1808"/>
                <a:gd name="T67" fmla="*/ 104661691 h 850"/>
                <a:gd name="T68" fmla="*/ 83534710 w 1808"/>
                <a:gd name="T69" fmla="*/ 105212216 h 850"/>
                <a:gd name="T70" fmla="*/ 107052351 w 1808"/>
                <a:gd name="T71" fmla="*/ 96123042 h 850"/>
                <a:gd name="T72" fmla="*/ 111379903 w 1808"/>
                <a:gd name="T73" fmla="*/ 84280193 h 850"/>
                <a:gd name="T74" fmla="*/ 95199623 w 1808"/>
                <a:gd name="T75" fmla="*/ 91165693 h 850"/>
                <a:gd name="T76" fmla="*/ 82406085 w 1808"/>
                <a:gd name="T77" fmla="*/ 87584918 h 850"/>
                <a:gd name="T78" fmla="*/ 88802637 w 1808"/>
                <a:gd name="T79" fmla="*/ 79046794 h 850"/>
                <a:gd name="T80" fmla="*/ 133768485 w 1808"/>
                <a:gd name="T81" fmla="*/ 65551320 h 850"/>
                <a:gd name="T82" fmla="*/ 140918032 w 1808"/>
                <a:gd name="T83" fmla="*/ 57839245 h 850"/>
                <a:gd name="T84" fmla="*/ 128688807 w 1808"/>
                <a:gd name="T85" fmla="*/ 48474546 h 850"/>
                <a:gd name="T86" fmla="*/ 139036413 w 1808"/>
                <a:gd name="T87" fmla="*/ 30021198 h 850"/>
                <a:gd name="T88" fmla="*/ 185883880 w 1808"/>
                <a:gd name="T89" fmla="*/ 7436549 h 850"/>
                <a:gd name="T90" fmla="*/ 217679693 w 1808"/>
                <a:gd name="T91" fmla="*/ 2478675 h 850"/>
                <a:gd name="T92" fmla="*/ 240256524 w 1808"/>
                <a:gd name="T93" fmla="*/ 551050 h 850"/>
                <a:gd name="T94" fmla="*/ 254743433 w 1808"/>
                <a:gd name="T95" fmla="*/ 2754200 h 850"/>
                <a:gd name="T96" fmla="*/ 285222372 w 1808"/>
                <a:gd name="T97" fmla="*/ 9364699 h 850"/>
                <a:gd name="T98" fmla="*/ 331317279 w 1808"/>
                <a:gd name="T99" fmla="*/ 11292324 h 850"/>
                <a:gd name="T100" fmla="*/ 242138144 w 1808"/>
                <a:gd name="T101" fmla="*/ 148729413 h 850"/>
                <a:gd name="T102" fmla="*/ 248534696 w 1808"/>
                <a:gd name="T103" fmla="*/ 157267537 h 850"/>
                <a:gd name="T104" fmla="*/ 249663754 w 1808"/>
                <a:gd name="T105" fmla="*/ 165530137 h 850"/>
                <a:gd name="T106" fmla="*/ 260011360 w 1808"/>
                <a:gd name="T107" fmla="*/ 164979611 h 850"/>
                <a:gd name="T108" fmla="*/ 268854278 w 1808"/>
                <a:gd name="T109" fmla="*/ 158920162 h 850"/>
                <a:gd name="T110" fmla="*/ 277508513 w 1808"/>
                <a:gd name="T111" fmla="*/ 183708485 h 850"/>
                <a:gd name="T112" fmla="*/ 275063015 w 1808"/>
                <a:gd name="T113" fmla="*/ 194449759 h 850"/>
                <a:gd name="T114" fmla="*/ 272617083 w 1808"/>
                <a:gd name="T115" fmla="*/ 204365508 h 850"/>
                <a:gd name="T116" fmla="*/ 277885010 w 1808"/>
                <a:gd name="T117" fmla="*/ 215657832 h 850"/>
                <a:gd name="T118" fmla="*/ 277885010 w 1808"/>
                <a:gd name="T119" fmla="*/ 223369382 h 850"/>
                <a:gd name="T120" fmla="*/ 268289532 w 1808"/>
                <a:gd name="T121" fmla="*/ 233560131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 name="Freeform 6">
              <a:extLst>
                <a:ext uri="{FF2B5EF4-FFF2-40B4-BE49-F238E27FC236}">
                  <a16:creationId xmlns:a16="http://schemas.microsoft.com/office/drawing/2014/main" id="{0AF9917B-AD01-4751-9B92-72A8467E8520}"/>
                </a:ext>
              </a:extLst>
            </p:cNvPr>
            <p:cNvSpPr>
              <a:spLocks/>
            </p:cNvSpPr>
            <p:nvPr>
              <p:custDataLst>
                <p:tags r:id="rId3"/>
              </p:custDataLst>
            </p:nvPr>
          </p:nvSpPr>
          <p:spPr bwMode="auto">
            <a:xfrm>
              <a:off x="1138238" y="2392777"/>
              <a:ext cx="1381125" cy="769937"/>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accent6"/>
            </a:solidFill>
            <a:ln w="9525" cmpd="sng">
              <a:solidFill>
                <a:srgbClr val="FFFFFF"/>
              </a:solidFill>
              <a:prstDash val="solid"/>
              <a:round/>
              <a:headEnd/>
              <a:tailEnd/>
            </a:ln>
          </p:spPr>
          <p:txBody>
            <a:bodyPr/>
            <a:lstStyle/>
            <a:p>
              <a:pPr eaLnBrk="1" hangingPunct="1">
                <a:defRPr/>
              </a:pPr>
              <a:endParaRPr lang="en-US"/>
            </a:p>
          </p:txBody>
        </p:sp>
        <p:sp>
          <p:nvSpPr>
            <p:cNvPr id="16" name="Freeform 7">
              <a:extLst>
                <a:ext uri="{FF2B5EF4-FFF2-40B4-BE49-F238E27FC236}">
                  <a16:creationId xmlns:a16="http://schemas.microsoft.com/office/drawing/2014/main" id="{22AB448E-D517-487E-91DE-53F4AAE64443}"/>
                </a:ext>
              </a:extLst>
            </p:cNvPr>
            <p:cNvSpPr>
              <a:spLocks/>
            </p:cNvSpPr>
            <p:nvPr>
              <p:custDataLst>
                <p:tags r:id="rId4"/>
              </p:custDataLst>
            </p:nvPr>
          </p:nvSpPr>
          <p:spPr bwMode="auto">
            <a:xfrm>
              <a:off x="1971675" y="4010025"/>
              <a:ext cx="339725" cy="590550"/>
            </a:xfrm>
            <a:custGeom>
              <a:avLst/>
              <a:gdLst>
                <a:gd name="T0" fmla="*/ 109469015 w 784"/>
                <a:gd name="T1" fmla="*/ 75923370 h 1128"/>
                <a:gd name="T2" fmla="*/ 103084871 w 784"/>
                <a:gd name="T3" fmla="*/ 80856661 h 1128"/>
                <a:gd name="T4" fmla="*/ 90879904 w 784"/>
                <a:gd name="T5" fmla="*/ 106073355 h 1128"/>
                <a:gd name="T6" fmla="*/ 87312358 w 784"/>
                <a:gd name="T7" fmla="*/ 125259948 h 1128"/>
                <a:gd name="T8" fmla="*/ 90316585 w 784"/>
                <a:gd name="T9" fmla="*/ 143075397 h 1128"/>
                <a:gd name="T10" fmla="*/ 99517326 w 784"/>
                <a:gd name="T11" fmla="*/ 161988179 h 1128"/>
                <a:gd name="T12" fmla="*/ 108718067 w 784"/>
                <a:gd name="T13" fmla="*/ 168840234 h 1128"/>
                <a:gd name="T14" fmla="*/ 117355488 w 784"/>
                <a:gd name="T15" fmla="*/ 164454563 h 1128"/>
                <a:gd name="T16" fmla="*/ 122800621 w 784"/>
                <a:gd name="T17" fmla="*/ 178981674 h 1128"/>
                <a:gd name="T18" fmla="*/ 126180538 w 784"/>
                <a:gd name="T19" fmla="*/ 187204350 h 1128"/>
                <a:gd name="T20" fmla="*/ 134066578 w 784"/>
                <a:gd name="T21" fmla="*/ 188300637 h 1128"/>
                <a:gd name="T22" fmla="*/ 140638784 w 784"/>
                <a:gd name="T23" fmla="*/ 195153216 h 1128"/>
                <a:gd name="T24" fmla="*/ 144581587 w 784"/>
                <a:gd name="T25" fmla="*/ 207212896 h 1128"/>
                <a:gd name="T26" fmla="*/ 142892062 w 784"/>
                <a:gd name="T27" fmla="*/ 216531859 h 1128"/>
                <a:gd name="T28" fmla="*/ 142704000 w 784"/>
                <a:gd name="T29" fmla="*/ 226125155 h 1128"/>
                <a:gd name="T30" fmla="*/ 144957278 w 784"/>
                <a:gd name="T31" fmla="*/ 241748553 h 1128"/>
                <a:gd name="T32" fmla="*/ 142328742 w 784"/>
                <a:gd name="T33" fmla="*/ 255453187 h 1128"/>
                <a:gd name="T34" fmla="*/ 144581587 w 784"/>
                <a:gd name="T35" fmla="*/ 272446682 h 1128"/>
                <a:gd name="T36" fmla="*/ 143267319 w 784"/>
                <a:gd name="T37" fmla="*/ 288892034 h 1128"/>
                <a:gd name="T38" fmla="*/ 129748084 w 784"/>
                <a:gd name="T39" fmla="*/ 307530483 h 1128"/>
                <a:gd name="T40" fmla="*/ 121673982 w 784"/>
                <a:gd name="T41" fmla="*/ 302322858 h 1128"/>
                <a:gd name="T42" fmla="*/ 113036561 w 784"/>
                <a:gd name="T43" fmla="*/ 289440178 h 1128"/>
                <a:gd name="T44" fmla="*/ 86936667 w 784"/>
                <a:gd name="T45" fmla="*/ 273542969 h 1128"/>
                <a:gd name="T46" fmla="*/ 79801576 w 784"/>
                <a:gd name="T47" fmla="*/ 265046484 h 1128"/>
                <a:gd name="T48" fmla="*/ 62151475 w 784"/>
                <a:gd name="T49" fmla="*/ 245037414 h 1128"/>
                <a:gd name="T50" fmla="*/ 59710569 w 784"/>
                <a:gd name="T51" fmla="*/ 237637215 h 1128"/>
                <a:gd name="T52" fmla="*/ 61588156 w 784"/>
                <a:gd name="T53" fmla="*/ 223384438 h 1128"/>
                <a:gd name="T54" fmla="*/ 54453064 w 784"/>
                <a:gd name="T55" fmla="*/ 213242998 h 1128"/>
                <a:gd name="T56" fmla="*/ 48632240 w 784"/>
                <a:gd name="T57" fmla="*/ 204197845 h 1128"/>
                <a:gd name="T58" fmla="*/ 45627581 w 784"/>
                <a:gd name="T59" fmla="*/ 188848780 h 1128"/>
                <a:gd name="T60" fmla="*/ 28728429 w 784"/>
                <a:gd name="T61" fmla="*/ 145268494 h 1128"/>
                <a:gd name="T62" fmla="*/ 22532347 w 784"/>
                <a:gd name="T63" fmla="*/ 133482624 h 1128"/>
                <a:gd name="T64" fmla="*/ 16899152 w 784"/>
                <a:gd name="T65" fmla="*/ 118407369 h 1128"/>
                <a:gd name="T66" fmla="*/ 4130865 w 784"/>
                <a:gd name="T67" fmla="*/ 108814073 h 1128"/>
                <a:gd name="T68" fmla="*/ 0 w 784"/>
                <a:gd name="T69" fmla="*/ 99495110 h 1128"/>
                <a:gd name="T70" fmla="*/ 2440907 w 784"/>
                <a:gd name="T71" fmla="*/ 75649036 h 1128"/>
                <a:gd name="T72" fmla="*/ 5257504 w 784"/>
                <a:gd name="T73" fmla="*/ 67426360 h 1128"/>
                <a:gd name="T74" fmla="*/ 13519235 w 784"/>
                <a:gd name="T75" fmla="*/ 60848115 h 1128"/>
                <a:gd name="T76" fmla="*/ 17838162 w 784"/>
                <a:gd name="T77" fmla="*/ 74552749 h 1128"/>
                <a:gd name="T78" fmla="*/ 29667439 w 784"/>
                <a:gd name="T79" fmla="*/ 84146045 h 1128"/>
                <a:gd name="T80" fmla="*/ 34549253 w 784"/>
                <a:gd name="T81" fmla="*/ 74278939 h 1128"/>
                <a:gd name="T82" fmla="*/ 37741541 w 784"/>
                <a:gd name="T83" fmla="*/ 61670592 h 1128"/>
                <a:gd name="T84" fmla="*/ 50697456 w 784"/>
                <a:gd name="T85" fmla="*/ 46595337 h 1128"/>
                <a:gd name="T86" fmla="*/ 64592382 w 784"/>
                <a:gd name="T87" fmla="*/ 32890703 h 1128"/>
                <a:gd name="T88" fmla="*/ 67033289 w 784"/>
                <a:gd name="T89" fmla="*/ 19186593 h 1128"/>
                <a:gd name="T90" fmla="*/ 65155702 w 784"/>
                <a:gd name="T91" fmla="*/ 1370620 h 1128"/>
                <a:gd name="T92" fmla="*/ 79238256 w 784"/>
                <a:gd name="T93" fmla="*/ 14526588 h 1128"/>
                <a:gd name="T94" fmla="*/ 87688049 w 784"/>
                <a:gd name="T95" fmla="*/ 29327509 h 1128"/>
                <a:gd name="T96" fmla="*/ 95010769 w 784"/>
                <a:gd name="T97" fmla="*/ 42210189 h 1128"/>
                <a:gd name="T98" fmla="*/ 105338149 w 784"/>
                <a:gd name="T99" fmla="*/ 43032143 h 1128"/>
                <a:gd name="T100" fmla="*/ 115853158 w 784"/>
                <a:gd name="T101" fmla="*/ 40839569 h 1128"/>
                <a:gd name="T102" fmla="*/ 120172086 w 784"/>
                <a:gd name="T103" fmla="*/ 42758333 h 1128"/>
                <a:gd name="T104" fmla="*/ 122800621 w 784"/>
                <a:gd name="T105" fmla="*/ 52899773 h 1128"/>
                <a:gd name="T106" fmla="*/ 117730745 w 784"/>
                <a:gd name="T107" fmla="*/ 57559254 h 1128"/>
                <a:gd name="T108" fmla="*/ 117730745 w 784"/>
                <a:gd name="T109" fmla="*/ 65781930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 name="Freeform 8">
              <a:extLst>
                <a:ext uri="{FF2B5EF4-FFF2-40B4-BE49-F238E27FC236}">
                  <a16:creationId xmlns:a16="http://schemas.microsoft.com/office/drawing/2014/main" id="{CA675C86-9B05-4569-8D4C-6A475BE4A20C}"/>
                </a:ext>
              </a:extLst>
            </p:cNvPr>
            <p:cNvSpPr>
              <a:spLocks/>
            </p:cNvSpPr>
            <p:nvPr>
              <p:custDataLst>
                <p:tags r:id="rId5"/>
              </p:custDataLst>
            </p:nvPr>
          </p:nvSpPr>
          <p:spPr bwMode="auto">
            <a:xfrm>
              <a:off x="2271713" y="4573588"/>
              <a:ext cx="261937" cy="1130300"/>
            </a:xfrm>
            <a:custGeom>
              <a:avLst/>
              <a:gdLst>
                <a:gd name="T0" fmla="*/ 80198714 w 598"/>
                <a:gd name="T1" fmla="*/ 554435196 h 2158"/>
                <a:gd name="T2" fmla="*/ 65616971 w 598"/>
                <a:gd name="T3" fmla="*/ 536328921 h 2158"/>
                <a:gd name="T4" fmla="*/ 65041410 w 598"/>
                <a:gd name="T5" fmla="*/ 519319949 h 2158"/>
                <a:gd name="T6" fmla="*/ 66192969 w 598"/>
                <a:gd name="T7" fmla="*/ 505603408 h 2158"/>
                <a:gd name="T8" fmla="*/ 69454479 w 598"/>
                <a:gd name="T9" fmla="*/ 491337953 h 2158"/>
                <a:gd name="T10" fmla="*/ 67919651 w 598"/>
                <a:gd name="T11" fmla="*/ 477346431 h 2158"/>
                <a:gd name="T12" fmla="*/ 63698435 w 598"/>
                <a:gd name="T13" fmla="*/ 461709218 h 2158"/>
                <a:gd name="T14" fmla="*/ 58134683 w 598"/>
                <a:gd name="T15" fmla="*/ 433727222 h 2158"/>
                <a:gd name="T16" fmla="*/ 43361086 w 598"/>
                <a:gd name="T17" fmla="*/ 400532123 h 2158"/>
                <a:gd name="T18" fmla="*/ 39523578 w 598"/>
                <a:gd name="T19" fmla="*/ 378859485 h 2158"/>
                <a:gd name="T20" fmla="*/ 41634404 w 598"/>
                <a:gd name="T21" fmla="*/ 356364001 h 2158"/>
                <a:gd name="T22" fmla="*/ 39907723 w 598"/>
                <a:gd name="T23" fmla="*/ 338806116 h 2158"/>
                <a:gd name="T24" fmla="*/ 35494654 w 598"/>
                <a:gd name="T25" fmla="*/ 319602539 h 2158"/>
                <a:gd name="T26" fmla="*/ 40483283 w 598"/>
                <a:gd name="T27" fmla="*/ 308080602 h 2158"/>
                <a:gd name="T28" fmla="*/ 37413189 w 598"/>
                <a:gd name="T29" fmla="*/ 296832598 h 2158"/>
                <a:gd name="T30" fmla="*/ 40483283 w 598"/>
                <a:gd name="T31" fmla="*/ 281195385 h 2158"/>
                <a:gd name="T32" fmla="*/ 40291430 w 598"/>
                <a:gd name="T33" fmla="*/ 272416966 h 2158"/>
                <a:gd name="T34" fmla="*/ 35878361 w 598"/>
                <a:gd name="T35" fmla="*/ 254310691 h 2158"/>
                <a:gd name="T36" fmla="*/ 26093393 w 598"/>
                <a:gd name="T37" fmla="*/ 233735355 h 2158"/>
                <a:gd name="T38" fmla="*/ 25709686 w 598"/>
                <a:gd name="T39" fmla="*/ 188195474 h 2158"/>
                <a:gd name="T40" fmla="*/ 35110947 w 598"/>
                <a:gd name="T41" fmla="*/ 160212954 h 2158"/>
                <a:gd name="T42" fmla="*/ 36262068 w 598"/>
                <a:gd name="T43" fmla="*/ 143203982 h 2158"/>
                <a:gd name="T44" fmla="*/ 30697878 w 598"/>
                <a:gd name="T45" fmla="*/ 125920553 h 2158"/>
                <a:gd name="T46" fmla="*/ 34919093 w 598"/>
                <a:gd name="T47" fmla="*/ 111380642 h 2158"/>
                <a:gd name="T48" fmla="*/ 43936647 w 598"/>
                <a:gd name="T49" fmla="*/ 94920583 h 2158"/>
                <a:gd name="T50" fmla="*/ 38372456 w 598"/>
                <a:gd name="T51" fmla="*/ 84495948 h 2158"/>
                <a:gd name="T52" fmla="*/ 28395635 w 598"/>
                <a:gd name="T53" fmla="*/ 60902638 h 2158"/>
                <a:gd name="T54" fmla="*/ 24750418 w 598"/>
                <a:gd name="T55" fmla="*/ 34292401 h 2158"/>
                <a:gd name="T56" fmla="*/ 17459547 w 598"/>
                <a:gd name="T57" fmla="*/ 10150702 h 2158"/>
                <a:gd name="T58" fmla="*/ 0 w 598"/>
                <a:gd name="T59" fmla="*/ 12070850 h 2158"/>
                <a:gd name="T60" fmla="*/ 5947897 w 598"/>
                <a:gd name="T61" fmla="*/ 54867213 h 2158"/>
                <a:gd name="T62" fmla="*/ 8058286 w 598"/>
                <a:gd name="T63" fmla="*/ 83398646 h 2158"/>
                <a:gd name="T64" fmla="*/ 5180483 w 598"/>
                <a:gd name="T65" fmla="*/ 102602223 h 2158"/>
                <a:gd name="T66" fmla="*/ 9976821 w 598"/>
                <a:gd name="T67" fmla="*/ 143752895 h 2158"/>
                <a:gd name="T68" fmla="*/ 8825700 w 598"/>
                <a:gd name="T69" fmla="*/ 178044772 h 2158"/>
                <a:gd name="T70" fmla="*/ 6907165 w 598"/>
                <a:gd name="T71" fmla="*/ 196973893 h 2158"/>
                <a:gd name="T72" fmla="*/ 9976821 w 598"/>
                <a:gd name="T73" fmla="*/ 210416501 h 2158"/>
                <a:gd name="T74" fmla="*/ 12279063 w 598"/>
                <a:gd name="T75" fmla="*/ 238947410 h 2158"/>
                <a:gd name="T76" fmla="*/ 15541011 w 598"/>
                <a:gd name="T77" fmla="*/ 250469871 h 2158"/>
                <a:gd name="T78" fmla="*/ 14006183 w 598"/>
                <a:gd name="T79" fmla="*/ 286682420 h 2158"/>
                <a:gd name="T80" fmla="*/ 12087210 w 598"/>
                <a:gd name="T81" fmla="*/ 316036175 h 2158"/>
                <a:gd name="T82" fmla="*/ 7674579 w 598"/>
                <a:gd name="T83" fmla="*/ 325912420 h 2158"/>
                <a:gd name="T84" fmla="*/ 11511649 w 598"/>
                <a:gd name="T85" fmla="*/ 345115997 h 2158"/>
                <a:gd name="T86" fmla="*/ 20337349 w 598"/>
                <a:gd name="T87" fmla="*/ 368434851 h 2158"/>
                <a:gd name="T88" fmla="*/ 17843254 w 598"/>
                <a:gd name="T89" fmla="*/ 382974762 h 2158"/>
                <a:gd name="T90" fmla="*/ 20337349 w 598"/>
                <a:gd name="T91" fmla="*/ 397514673 h 2158"/>
                <a:gd name="T92" fmla="*/ 31465730 w 598"/>
                <a:gd name="T93" fmla="*/ 402452795 h 2158"/>
                <a:gd name="T94" fmla="*/ 40099576 w 598"/>
                <a:gd name="T95" fmla="*/ 444700246 h 2158"/>
                <a:gd name="T96" fmla="*/ 43552940 w 598"/>
                <a:gd name="T97" fmla="*/ 468841945 h 2158"/>
                <a:gd name="T98" fmla="*/ 28971196 w 598"/>
                <a:gd name="T99" fmla="*/ 479815493 h 2158"/>
                <a:gd name="T100" fmla="*/ 39715869 w 598"/>
                <a:gd name="T101" fmla="*/ 487222676 h 2158"/>
                <a:gd name="T102" fmla="*/ 47965571 w 598"/>
                <a:gd name="T103" fmla="*/ 499293526 h 2158"/>
                <a:gd name="T104" fmla="*/ 52762347 w 598"/>
                <a:gd name="T105" fmla="*/ 513284524 h 2158"/>
                <a:gd name="T106" fmla="*/ 59093951 w 598"/>
                <a:gd name="T107" fmla="*/ 537975137 h 2158"/>
                <a:gd name="T108" fmla="*/ 68878918 w 598"/>
                <a:gd name="T109" fmla="*/ 552240591 h 2158"/>
                <a:gd name="T110" fmla="*/ 75402376 w 598"/>
                <a:gd name="T111" fmla="*/ 561842380 h 2158"/>
                <a:gd name="T112" fmla="*/ 81349835 w 598"/>
                <a:gd name="T113" fmla="*/ 568975107 h 2158"/>
                <a:gd name="T114" fmla="*/ 89216268 w 598"/>
                <a:gd name="T115" fmla="*/ 578851352 h 2158"/>
                <a:gd name="T116" fmla="*/ 99576796 w 598"/>
                <a:gd name="T117" fmla="*/ 587081382 h 2158"/>
                <a:gd name="T118" fmla="*/ 103222451 w 598"/>
                <a:gd name="T119" fmla="*/ 590099356 h 2158"/>
                <a:gd name="T120" fmla="*/ 112431858 w 598"/>
                <a:gd name="T121" fmla="*/ 575559445 h 2158"/>
                <a:gd name="T122" fmla="*/ 113391126 w 598"/>
                <a:gd name="T123" fmla="*/ 568152261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 name="Freeform 9">
              <a:extLst>
                <a:ext uri="{FF2B5EF4-FFF2-40B4-BE49-F238E27FC236}">
                  <a16:creationId xmlns:a16="http://schemas.microsoft.com/office/drawing/2014/main" id="{3C82E397-1B9C-4B81-AE89-8D6DBE43F7E0}"/>
                </a:ext>
              </a:extLst>
            </p:cNvPr>
            <p:cNvSpPr>
              <a:spLocks/>
            </p:cNvSpPr>
            <p:nvPr>
              <p:custDataLst>
                <p:tags r:id="rId6"/>
              </p:custDataLst>
            </p:nvPr>
          </p:nvSpPr>
          <p:spPr bwMode="auto">
            <a:xfrm>
              <a:off x="2176463" y="3856038"/>
              <a:ext cx="966787" cy="1203325"/>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eaLnBrk="1" hangingPunct="1">
                <a:defRPr/>
              </a:pPr>
              <a:endParaRPr lang="en-US"/>
            </a:p>
          </p:txBody>
        </p:sp>
        <p:sp>
          <p:nvSpPr>
            <p:cNvPr id="19" name="Freeform 10">
              <a:extLst>
                <a:ext uri="{FF2B5EF4-FFF2-40B4-BE49-F238E27FC236}">
                  <a16:creationId xmlns:a16="http://schemas.microsoft.com/office/drawing/2014/main" id="{183FFD26-CA99-42C2-BDD6-B3DF7FF3D65A}"/>
                </a:ext>
              </a:extLst>
            </p:cNvPr>
            <p:cNvSpPr>
              <a:spLocks/>
            </p:cNvSpPr>
            <p:nvPr>
              <p:custDataLst>
                <p:tags r:id="rId7"/>
              </p:custDataLst>
            </p:nvPr>
          </p:nvSpPr>
          <p:spPr bwMode="auto">
            <a:xfrm>
              <a:off x="4289425" y="2801938"/>
              <a:ext cx="69850" cy="49212"/>
            </a:xfrm>
            <a:custGeom>
              <a:avLst/>
              <a:gdLst>
                <a:gd name="T0" fmla="*/ 17693309 w 161"/>
                <a:gd name="T1" fmla="*/ 0 h 93"/>
                <a:gd name="T2" fmla="*/ 20140228 w 161"/>
                <a:gd name="T3" fmla="*/ 5040364 h 93"/>
                <a:gd name="T4" fmla="*/ 21081251 w 161"/>
                <a:gd name="T5" fmla="*/ 3360242 h 93"/>
                <a:gd name="T6" fmla="*/ 22022707 w 161"/>
                <a:gd name="T7" fmla="*/ 2239985 h 93"/>
                <a:gd name="T8" fmla="*/ 22963730 w 161"/>
                <a:gd name="T9" fmla="*/ 1400189 h 93"/>
                <a:gd name="T10" fmla="*/ 23904752 w 161"/>
                <a:gd name="T11" fmla="*/ 840325 h 93"/>
                <a:gd name="T12" fmla="*/ 25787232 w 161"/>
                <a:gd name="T13" fmla="*/ 279932 h 93"/>
                <a:gd name="T14" fmla="*/ 27857568 w 161"/>
                <a:gd name="T15" fmla="*/ 0 h 93"/>
                <a:gd name="T16" fmla="*/ 28422008 w 161"/>
                <a:gd name="T17" fmla="*/ 0 h 93"/>
                <a:gd name="T18" fmla="*/ 30304488 w 161"/>
                <a:gd name="T19" fmla="*/ 0 h 93"/>
                <a:gd name="T20" fmla="*/ 30304488 w 161"/>
                <a:gd name="T21" fmla="*/ 25762212 h 93"/>
                <a:gd name="T22" fmla="*/ 29175174 w 161"/>
                <a:gd name="T23" fmla="*/ 26042144 h 93"/>
                <a:gd name="T24" fmla="*/ 28234151 w 161"/>
                <a:gd name="T25" fmla="*/ 26042144 h 93"/>
                <a:gd name="T26" fmla="*/ 27292694 w 161"/>
                <a:gd name="T27" fmla="*/ 25762212 h 93"/>
                <a:gd name="T28" fmla="*/ 26351672 w 161"/>
                <a:gd name="T29" fmla="*/ 25482280 h 93"/>
                <a:gd name="T30" fmla="*/ 24281335 w 161"/>
                <a:gd name="T31" fmla="*/ 24641955 h 93"/>
                <a:gd name="T32" fmla="*/ 22587147 w 161"/>
                <a:gd name="T33" fmla="*/ 22961833 h 93"/>
                <a:gd name="T34" fmla="*/ 20892959 w 161"/>
                <a:gd name="T35" fmla="*/ 21001780 h 93"/>
                <a:gd name="T36" fmla="*/ 19575354 w 161"/>
                <a:gd name="T37" fmla="*/ 18761795 h 93"/>
                <a:gd name="T38" fmla="*/ 18258183 w 161"/>
                <a:gd name="T39" fmla="*/ 16521280 h 93"/>
                <a:gd name="T40" fmla="*/ 17693309 w 161"/>
                <a:gd name="T41" fmla="*/ 13720902 h 93"/>
                <a:gd name="T42" fmla="*/ 17316726 w 161"/>
                <a:gd name="T43" fmla="*/ 14001363 h 93"/>
                <a:gd name="T44" fmla="*/ 16752286 w 161"/>
                <a:gd name="T45" fmla="*/ 14281295 h 93"/>
                <a:gd name="T46" fmla="*/ 16187412 w 161"/>
                <a:gd name="T47" fmla="*/ 14281295 h 93"/>
                <a:gd name="T48" fmla="*/ 15810830 w 161"/>
                <a:gd name="T49" fmla="*/ 14281295 h 93"/>
                <a:gd name="T50" fmla="*/ 14681516 w 161"/>
                <a:gd name="T51" fmla="*/ 14001363 h 93"/>
                <a:gd name="T52" fmla="*/ 13928784 w 161"/>
                <a:gd name="T53" fmla="*/ 13720902 h 93"/>
                <a:gd name="T54" fmla="*/ 12234596 w 161"/>
                <a:gd name="T55" fmla="*/ 13440970 h 93"/>
                <a:gd name="T56" fmla="*/ 10352551 w 161"/>
                <a:gd name="T57" fmla="*/ 12601174 h 93"/>
                <a:gd name="T58" fmla="*/ 8281780 w 161"/>
                <a:gd name="T59" fmla="*/ 11200985 h 93"/>
                <a:gd name="T60" fmla="*/ 6023152 w 161"/>
                <a:gd name="T61" fmla="*/ 9520863 h 93"/>
                <a:gd name="T62" fmla="*/ 3952816 w 161"/>
                <a:gd name="T63" fmla="*/ 7280349 h 93"/>
                <a:gd name="T64" fmla="*/ 2258628 w 161"/>
                <a:gd name="T65" fmla="*/ 5040364 h 93"/>
                <a:gd name="T66" fmla="*/ 1505897 w 161"/>
                <a:gd name="T67" fmla="*/ 3920106 h 93"/>
                <a:gd name="T68" fmla="*/ 941023 w 161"/>
                <a:gd name="T69" fmla="*/ 2520446 h 93"/>
                <a:gd name="T70" fmla="*/ 564874 w 161"/>
                <a:gd name="T71" fmla="*/ 1400189 h 93"/>
                <a:gd name="T72" fmla="*/ 0 w 161"/>
                <a:gd name="T73" fmla="*/ 0 h 93"/>
                <a:gd name="T74" fmla="*/ 17693309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 name="Freeform 11">
              <a:extLst>
                <a:ext uri="{FF2B5EF4-FFF2-40B4-BE49-F238E27FC236}">
                  <a16:creationId xmlns:a16="http://schemas.microsoft.com/office/drawing/2014/main" id="{D50D9CD7-7077-4839-B2A0-17877111BAAE}"/>
                </a:ext>
              </a:extLst>
            </p:cNvPr>
            <p:cNvSpPr>
              <a:spLocks/>
            </p:cNvSpPr>
            <p:nvPr>
              <p:custDataLst>
                <p:tags r:id="rId8"/>
              </p:custDataLst>
            </p:nvPr>
          </p:nvSpPr>
          <p:spPr bwMode="auto">
            <a:xfrm>
              <a:off x="3787775" y="2676525"/>
              <a:ext cx="82550" cy="160338"/>
            </a:xfrm>
            <a:custGeom>
              <a:avLst/>
              <a:gdLst>
                <a:gd name="T0" fmla="*/ 7024489 w 192"/>
                <a:gd name="T1" fmla="*/ 818398 h 307"/>
                <a:gd name="T2" fmla="*/ 6839611 w 192"/>
                <a:gd name="T3" fmla="*/ 0 h 307"/>
                <a:gd name="T4" fmla="*/ 10536734 w 192"/>
                <a:gd name="T5" fmla="*/ 818398 h 307"/>
                <a:gd name="T6" fmla="*/ 20333957 w 192"/>
                <a:gd name="T7" fmla="*/ 3818841 h 307"/>
                <a:gd name="T8" fmla="*/ 28652589 w 192"/>
                <a:gd name="T9" fmla="*/ 6819284 h 307"/>
                <a:gd name="T10" fmla="*/ 33458977 w 192"/>
                <a:gd name="T11" fmla="*/ 7637682 h 307"/>
                <a:gd name="T12" fmla="*/ 35492201 w 192"/>
                <a:gd name="T13" fmla="*/ 9546580 h 307"/>
                <a:gd name="T14" fmla="*/ 34752690 w 192"/>
                <a:gd name="T15" fmla="*/ 12820170 h 307"/>
                <a:gd name="T16" fmla="*/ 32349711 w 192"/>
                <a:gd name="T17" fmla="*/ 22366750 h 307"/>
                <a:gd name="T18" fmla="*/ 29207222 w 192"/>
                <a:gd name="T19" fmla="*/ 34641148 h 307"/>
                <a:gd name="T20" fmla="*/ 27173568 w 192"/>
                <a:gd name="T21" fmla="*/ 45006648 h 307"/>
                <a:gd name="T22" fmla="*/ 26988691 w 192"/>
                <a:gd name="T23" fmla="*/ 56462648 h 307"/>
                <a:gd name="T24" fmla="*/ 26619365 w 192"/>
                <a:gd name="T25" fmla="*/ 67918649 h 307"/>
                <a:gd name="T26" fmla="*/ 24770589 w 192"/>
                <a:gd name="T27" fmla="*/ 75556330 h 307"/>
                <a:gd name="T28" fmla="*/ 19594446 w 192"/>
                <a:gd name="T29" fmla="*/ 80738819 h 307"/>
                <a:gd name="T30" fmla="*/ 15343121 w 192"/>
                <a:gd name="T31" fmla="*/ 82648240 h 307"/>
                <a:gd name="T32" fmla="*/ 13309468 w 192"/>
                <a:gd name="T33" fmla="*/ 83739262 h 307"/>
                <a:gd name="T34" fmla="*/ 9612346 w 192"/>
                <a:gd name="T35" fmla="*/ 83193490 h 307"/>
                <a:gd name="T36" fmla="*/ 5915223 w 192"/>
                <a:gd name="T37" fmla="*/ 79375171 h 307"/>
                <a:gd name="T38" fmla="*/ 5545468 w 192"/>
                <a:gd name="T39" fmla="*/ 75556330 h 307"/>
                <a:gd name="T40" fmla="*/ 4066877 w 192"/>
                <a:gd name="T41" fmla="*/ 70100694 h 307"/>
                <a:gd name="T42" fmla="*/ 1848346 w 192"/>
                <a:gd name="T43" fmla="*/ 63008785 h 307"/>
                <a:gd name="T44" fmla="*/ 369755 w 192"/>
                <a:gd name="T45" fmla="*/ 57553671 h 307"/>
                <a:gd name="T46" fmla="*/ 0 w 192"/>
                <a:gd name="T47" fmla="*/ 53734830 h 307"/>
                <a:gd name="T48" fmla="*/ 0 w 192"/>
                <a:gd name="T49" fmla="*/ 49098114 h 307"/>
                <a:gd name="T50" fmla="*/ 369755 w 192"/>
                <a:gd name="T51" fmla="*/ 45006648 h 307"/>
                <a:gd name="T52" fmla="*/ 2033224 w 192"/>
                <a:gd name="T53" fmla="*/ 39551012 h 307"/>
                <a:gd name="T54" fmla="*/ 6100101 w 192"/>
                <a:gd name="T55" fmla="*/ 29731285 h 307"/>
                <a:gd name="T56" fmla="*/ 8873265 w 192"/>
                <a:gd name="T57" fmla="*/ 22094125 h 307"/>
                <a:gd name="T58" fmla="*/ 9612346 w 192"/>
                <a:gd name="T59" fmla="*/ 16911636 h 307"/>
                <a:gd name="T60" fmla="*/ 9797223 w 192"/>
                <a:gd name="T61" fmla="*/ 11183375 h 307"/>
                <a:gd name="T62" fmla="*/ 10166978 w 192"/>
                <a:gd name="T63" fmla="*/ 8182932 h 307"/>
                <a:gd name="T64" fmla="*/ 10536734 w 192"/>
                <a:gd name="T65" fmla="*/ 7091909 h 307"/>
                <a:gd name="T66" fmla="*/ 11091366 w 192"/>
                <a:gd name="T67" fmla="*/ 6000886 h 307"/>
                <a:gd name="T68" fmla="*/ 8133755 w 192"/>
                <a:gd name="T69" fmla="*/ 1909420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 name="Freeform 12">
              <a:extLst>
                <a:ext uri="{FF2B5EF4-FFF2-40B4-BE49-F238E27FC236}">
                  <a16:creationId xmlns:a16="http://schemas.microsoft.com/office/drawing/2014/main" id="{9CC74186-6587-4772-84B2-1AE7E6C612B9}"/>
                </a:ext>
              </a:extLst>
            </p:cNvPr>
            <p:cNvSpPr>
              <a:spLocks/>
            </p:cNvSpPr>
            <p:nvPr>
              <p:custDataLst>
                <p:tags r:id="rId9"/>
              </p:custDataLst>
            </p:nvPr>
          </p:nvSpPr>
          <p:spPr bwMode="auto">
            <a:xfrm>
              <a:off x="3868738" y="2162175"/>
              <a:ext cx="171450" cy="269875"/>
            </a:xfrm>
            <a:custGeom>
              <a:avLst/>
              <a:gdLst>
                <a:gd name="T0" fmla="*/ 4824724 w 398"/>
                <a:gd name="T1" fmla="*/ 542876 h 518"/>
                <a:gd name="T2" fmla="*/ 17629195 w 398"/>
                <a:gd name="T3" fmla="*/ 3528694 h 518"/>
                <a:gd name="T4" fmla="*/ 21526021 w 398"/>
                <a:gd name="T5" fmla="*/ 6243074 h 518"/>
                <a:gd name="T6" fmla="*/ 14845502 w 398"/>
                <a:gd name="T7" fmla="*/ 12757585 h 518"/>
                <a:gd name="T8" fmla="*/ 11876574 w 398"/>
                <a:gd name="T9" fmla="*/ 16829155 h 518"/>
                <a:gd name="T10" fmla="*/ 14288936 w 398"/>
                <a:gd name="T11" fmla="*/ 18729221 h 518"/>
                <a:gd name="T12" fmla="*/ 30990234 w 398"/>
                <a:gd name="T13" fmla="*/ 21443601 h 518"/>
                <a:gd name="T14" fmla="*/ 38969982 w 398"/>
                <a:gd name="T15" fmla="*/ 29586219 h 518"/>
                <a:gd name="T16" fmla="*/ 28577872 w 398"/>
                <a:gd name="T17" fmla="*/ 34472103 h 518"/>
                <a:gd name="T18" fmla="*/ 27278643 w 398"/>
                <a:gd name="T19" fmla="*/ 37457921 h 518"/>
                <a:gd name="T20" fmla="*/ 35444057 w 398"/>
                <a:gd name="T21" fmla="*/ 38815111 h 518"/>
                <a:gd name="T22" fmla="*/ 39155217 w 398"/>
                <a:gd name="T23" fmla="*/ 42343804 h 518"/>
                <a:gd name="T24" fmla="*/ 45093504 w 398"/>
                <a:gd name="T25" fmla="*/ 51844134 h 518"/>
                <a:gd name="T26" fmla="*/ 47877197 w 398"/>
                <a:gd name="T27" fmla="*/ 57544331 h 518"/>
                <a:gd name="T28" fmla="*/ 48248529 w 398"/>
                <a:gd name="T29" fmla="*/ 64330281 h 518"/>
                <a:gd name="T30" fmla="*/ 50475225 w 398"/>
                <a:gd name="T31" fmla="*/ 68944727 h 518"/>
                <a:gd name="T32" fmla="*/ 53073252 w 398"/>
                <a:gd name="T33" fmla="*/ 75730155 h 518"/>
                <a:gd name="T34" fmla="*/ 56784412 w 398"/>
                <a:gd name="T35" fmla="*/ 80616039 h 518"/>
                <a:gd name="T36" fmla="*/ 60681669 w 398"/>
                <a:gd name="T37" fmla="*/ 86859112 h 518"/>
                <a:gd name="T38" fmla="*/ 64207163 w 398"/>
                <a:gd name="T39" fmla="*/ 91473558 h 518"/>
                <a:gd name="T40" fmla="*/ 68660986 w 398"/>
                <a:gd name="T41" fmla="*/ 92559310 h 518"/>
                <a:gd name="T42" fmla="*/ 73485710 w 398"/>
                <a:gd name="T43" fmla="*/ 99073822 h 518"/>
                <a:gd name="T44" fmla="*/ 73300475 w 398"/>
                <a:gd name="T45" fmla="*/ 107216961 h 518"/>
                <a:gd name="T46" fmla="*/ 70888113 w 398"/>
                <a:gd name="T47" fmla="*/ 109659903 h 518"/>
                <a:gd name="T48" fmla="*/ 68104420 w 398"/>
                <a:gd name="T49" fmla="*/ 112645721 h 518"/>
                <a:gd name="T50" fmla="*/ 68290086 w 398"/>
                <a:gd name="T51" fmla="*/ 115631539 h 518"/>
                <a:gd name="T52" fmla="*/ 69774550 w 398"/>
                <a:gd name="T53" fmla="*/ 120245463 h 518"/>
                <a:gd name="T54" fmla="*/ 66619956 w 398"/>
                <a:gd name="T55" fmla="*/ 125674223 h 518"/>
                <a:gd name="T56" fmla="*/ 27093408 w 398"/>
                <a:gd name="T57" fmla="*/ 135717428 h 518"/>
                <a:gd name="T58" fmla="*/ 12618806 w 398"/>
                <a:gd name="T59" fmla="*/ 137888932 h 518"/>
                <a:gd name="T60" fmla="*/ 9835113 w 398"/>
                <a:gd name="T61" fmla="*/ 140603312 h 518"/>
                <a:gd name="T62" fmla="*/ 10763011 w 398"/>
                <a:gd name="T63" fmla="*/ 133817362 h 518"/>
                <a:gd name="T64" fmla="*/ 13175372 w 398"/>
                <a:gd name="T65" fmla="*/ 129202917 h 518"/>
                <a:gd name="T66" fmla="*/ 21155121 w 398"/>
                <a:gd name="T67" fmla="*/ 124317033 h 518"/>
                <a:gd name="T68" fmla="*/ 31918131 w 398"/>
                <a:gd name="T69" fmla="*/ 119159711 h 518"/>
                <a:gd name="T70" fmla="*/ 33216930 w 398"/>
                <a:gd name="T71" fmla="*/ 115631539 h 518"/>
                <a:gd name="T72" fmla="*/ 31732466 w 398"/>
                <a:gd name="T73" fmla="*/ 117802521 h 518"/>
                <a:gd name="T74" fmla="*/ 20598124 w 398"/>
                <a:gd name="T75" fmla="*/ 117259646 h 518"/>
                <a:gd name="T76" fmla="*/ 14103270 w 398"/>
                <a:gd name="T77" fmla="*/ 114002911 h 518"/>
                <a:gd name="T78" fmla="*/ 14288936 w 398"/>
                <a:gd name="T79" fmla="*/ 109117027 h 518"/>
                <a:gd name="T80" fmla="*/ 17629195 w 398"/>
                <a:gd name="T81" fmla="*/ 106131209 h 518"/>
                <a:gd name="T82" fmla="*/ 16144731 w 398"/>
                <a:gd name="T83" fmla="*/ 95545128 h 518"/>
                <a:gd name="T84" fmla="*/ 19484991 w 398"/>
                <a:gd name="T85" fmla="*/ 89302054 h 518"/>
                <a:gd name="T86" fmla="*/ 28577872 w 398"/>
                <a:gd name="T87" fmla="*/ 83873295 h 518"/>
                <a:gd name="T88" fmla="*/ 31918131 w 398"/>
                <a:gd name="T89" fmla="*/ 78987411 h 518"/>
                <a:gd name="T90" fmla="*/ 27464308 w 398"/>
                <a:gd name="T91" fmla="*/ 73558651 h 518"/>
                <a:gd name="T92" fmla="*/ 25794179 w 398"/>
                <a:gd name="T93" fmla="*/ 67044661 h 518"/>
                <a:gd name="T94" fmla="*/ 17443530 w 398"/>
                <a:gd name="T95" fmla="*/ 64873157 h 518"/>
                <a:gd name="T96" fmla="*/ 14845502 w 398"/>
                <a:gd name="T97" fmla="*/ 58630083 h 518"/>
                <a:gd name="T98" fmla="*/ 16701298 w 398"/>
                <a:gd name="T99" fmla="*/ 52115572 h 518"/>
                <a:gd name="T100" fmla="*/ 18557093 w 398"/>
                <a:gd name="T101" fmla="*/ 45601060 h 518"/>
                <a:gd name="T102" fmla="*/ 13546704 w 398"/>
                <a:gd name="T103" fmla="*/ 50486944 h 518"/>
                <a:gd name="T104" fmla="*/ 4082492 w 398"/>
                <a:gd name="T105" fmla="*/ 43972432 h 518"/>
                <a:gd name="T106" fmla="*/ 3711591 w 398"/>
                <a:gd name="T107" fmla="*/ 38543673 h 518"/>
                <a:gd name="T108" fmla="*/ 2598028 w 398"/>
                <a:gd name="T109" fmla="*/ 35557855 h 518"/>
                <a:gd name="T110" fmla="*/ 3711591 w 398"/>
                <a:gd name="T111" fmla="*/ 17100593 h 518"/>
                <a:gd name="T112" fmla="*/ 3525925 w 398"/>
                <a:gd name="T113" fmla="*/ 13300461 h 518"/>
                <a:gd name="T114" fmla="*/ 742232 w 398"/>
                <a:gd name="T115" fmla="*/ 10857519 h 518"/>
                <a:gd name="T116" fmla="*/ 3711591 w 398"/>
                <a:gd name="T117" fmla="*/ 5157322 h 518"/>
                <a:gd name="T118" fmla="*/ 556566 w 398"/>
                <a:gd name="T119" fmla="*/ 2442942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C0C0C0"/>
            </a:solidFill>
            <a:ln w="9525" cmpd="sng">
              <a:solidFill>
                <a:srgbClr val="FFFFFF"/>
              </a:solidFill>
              <a:prstDash val="solid"/>
              <a:round/>
              <a:headEnd/>
              <a:tailEnd/>
            </a:ln>
          </p:spPr>
          <p:txBody>
            <a:bodyPr/>
            <a:lstStyle/>
            <a:p>
              <a:endParaRPr lang="en-US"/>
            </a:p>
          </p:txBody>
        </p:sp>
        <p:sp>
          <p:nvSpPr>
            <p:cNvPr id="22" name="Freeform 13">
              <a:extLst>
                <a:ext uri="{FF2B5EF4-FFF2-40B4-BE49-F238E27FC236}">
                  <a16:creationId xmlns:a16="http://schemas.microsoft.com/office/drawing/2014/main" id="{5217549B-E112-4905-AD4D-C0DC664034E6}"/>
                </a:ext>
              </a:extLst>
            </p:cNvPr>
            <p:cNvSpPr>
              <a:spLocks/>
            </p:cNvSpPr>
            <p:nvPr>
              <p:custDataLst>
                <p:tags r:id="rId10"/>
              </p:custDataLst>
            </p:nvPr>
          </p:nvSpPr>
          <p:spPr bwMode="auto">
            <a:xfrm>
              <a:off x="4227513" y="2465388"/>
              <a:ext cx="169862" cy="76200"/>
            </a:xfrm>
            <a:custGeom>
              <a:avLst/>
              <a:gdLst>
                <a:gd name="T0" fmla="*/ 37567961 w 382"/>
                <a:gd name="T1" fmla="*/ 5566719 h 148"/>
                <a:gd name="T2" fmla="*/ 34997797 w 382"/>
                <a:gd name="T3" fmla="*/ 8217758 h 148"/>
                <a:gd name="T4" fmla="*/ 34404614 w 382"/>
                <a:gd name="T5" fmla="*/ 11928904 h 148"/>
                <a:gd name="T6" fmla="*/ 33218248 w 382"/>
                <a:gd name="T7" fmla="*/ 14049632 h 148"/>
                <a:gd name="T8" fmla="*/ 32822497 w 382"/>
                <a:gd name="T9" fmla="*/ 16170361 h 148"/>
                <a:gd name="T10" fmla="*/ 34997797 w 382"/>
                <a:gd name="T11" fmla="*/ 19616351 h 148"/>
                <a:gd name="T12" fmla="*/ 30647640 w 382"/>
                <a:gd name="T13" fmla="*/ 22797186 h 148"/>
                <a:gd name="T14" fmla="*/ 21354588 w 382"/>
                <a:gd name="T15" fmla="*/ 25448226 h 148"/>
                <a:gd name="T16" fmla="*/ 15224882 w 382"/>
                <a:gd name="T17" fmla="*/ 25713381 h 148"/>
                <a:gd name="T18" fmla="*/ 10281987 w 382"/>
                <a:gd name="T19" fmla="*/ 25183070 h 148"/>
                <a:gd name="T20" fmla="*/ 791059 w 382"/>
                <a:gd name="T21" fmla="*/ 29424527 h 148"/>
                <a:gd name="T22" fmla="*/ 0 w 382"/>
                <a:gd name="T23" fmla="*/ 34196295 h 148"/>
                <a:gd name="T24" fmla="*/ 791059 w 382"/>
                <a:gd name="T25" fmla="*/ 34726091 h 148"/>
                <a:gd name="T26" fmla="*/ 2372732 w 382"/>
                <a:gd name="T27" fmla="*/ 34726091 h 148"/>
                <a:gd name="T28" fmla="*/ 10084111 w 382"/>
                <a:gd name="T29" fmla="*/ 34196295 h 148"/>
                <a:gd name="T30" fmla="*/ 22540954 w 382"/>
                <a:gd name="T31" fmla="*/ 33665984 h 148"/>
                <a:gd name="T32" fmla="*/ 24320503 w 382"/>
                <a:gd name="T33" fmla="*/ 35521557 h 148"/>
                <a:gd name="T34" fmla="*/ 27088542 w 382"/>
                <a:gd name="T35" fmla="*/ 37377130 h 148"/>
                <a:gd name="T36" fmla="*/ 31438699 w 382"/>
                <a:gd name="T37" fmla="*/ 38967547 h 148"/>
                <a:gd name="T38" fmla="*/ 36579470 w 382"/>
                <a:gd name="T39" fmla="*/ 39232703 h 148"/>
                <a:gd name="T40" fmla="*/ 41522810 w 382"/>
                <a:gd name="T41" fmla="*/ 39232703 h 148"/>
                <a:gd name="T42" fmla="*/ 46070399 w 382"/>
                <a:gd name="T43" fmla="*/ 39232703 h 148"/>
                <a:gd name="T44" fmla="*/ 50420555 w 382"/>
                <a:gd name="T45" fmla="*/ 39232703 h 148"/>
                <a:gd name="T46" fmla="*/ 54374961 w 382"/>
                <a:gd name="T47" fmla="*/ 37907441 h 148"/>
                <a:gd name="T48" fmla="*/ 59515732 w 382"/>
                <a:gd name="T49" fmla="*/ 35521557 h 148"/>
                <a:gd name="T50" fmla="*/ 66040745 w 382"/>
                <a:gd name="T51" fmla="*/ 32075566 h 148"/>
                <a:gd name="T52" fmla="*/ 69797719 w 382"/>
                <a:gd name="T53" fmla="*/ 27303799 h 148"/>
                <a:gd name="T54" fmla="*/ 73554248 w 382"/>
                <a:gd name="T55" fmla="*/ 19086041 h 148"/>
                <a:gd name="T56" fmla="*/ 74345307 w 382"/>
                <a:gd name="T57" fmla="*/ 13784477 h 148"/>
                <a:gd name="T58" fmla="*/ 71774699 w 382"/>
                <a:gd name="T59" fmla="*/ 11663749 h 148"/>
                <a:gd name="T60" fmla="*/ 70588333 w 382"/>
                <a:gd name="T61" fmla="*/ 8482914 h 148"/>
                <a:gd name="T62" fmla="*/ 68611353 w 382"/>
                <a:gd name="T63" fmla="*/ 5831874 h 148"/>
                <a:gd name="T64" fmla="*/ 66040745 w 382"/>
                <a:gd name="T65" fmla="*/ 4506612 h 148"/>
                <a:gd name="T66" fmla="*/ 63074830 w 382"/>
                <a:gd name="T67" fmla="*/ 2120728 h 148"/>
                <a:gd name="T68" fmla="*/ 40138568 w 382"/>
                <a:gd name="T69" fmla="*/ 47717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23" name="Freeform 14">
              <a:extLst>
                <a:ext uri="{FF2B5EF4-FFF2-40B4-BE49-F238E27FC236}">
                  <a16:creationId xmlns:a16="http://schemas.microsoft.com/office/drawing/2014/main" id="{BA575BD4-4E41-4DC7-A440-2940B2713D6A}"/>
                </a:ext>
              </a:extLst>
            </p:cNvPr>
            <p:cNvSpPr>
              <a:spLocks/>
            </p:cNvSpPr>
            <p:nvPr>
              <p:custDataLst>
                <p:tags r:id="rId11"/>
              </p:custDataLst>
            </p:nvPr>
          </p:nvSpPr>
          <p:spPr bwMode="auto">
            <a:xfrm>
              <a:off x="5719763" y="2314575"/>
              <a:ext cx="1281112" cy="1038225"/>
            </a:xfrm>
            <a:custGeom>
              <a:avLst/>
              <a:gdLst>
                <a:gd name="T0" fmla="*/ 71018374 w 2936"/>
                <a:gd name="T1" fmla="*/ 293580501 h 1983"/>
                <a:gd name="T2" fmla="*/ 73303082 w 2936"/>
                <a:gd name="T3" fmla="*/ 324007352 h 1983"/>
                <a:gd name="T4" fmla="*/ 91010004 w 2936"/>
                <a:gd name="T5" fmla="*/ 372252092 h 1983"/>
                <a:gd name="T6" fmla="*/ 146225670 w 2936"/>
                <a:gd name="T7" fmla="*/ 408984210 h 1983"/>
                <a:gd name="T8" fmla="*/ 197252413 w 2936"/>
                <a:gd name="T9" fmla="*/ 425430888 h 1983"/>
                <a:gd name="T10" fmla="*/ 214007229 w 2936"/>
                <a:gd name="T11" fmla="*/ 419126145 h 1983"/>
                <a:gd name="T12" fmla="*/ 266747503 w 2936"/>
                <a:gd name="T13" fmla="*/ 396922894 h 1983"/>
                <a:gd name="T14" fmla="*/ 294545364 w 2936"/>
                <a:gd name="T15" fmla="*/ 422690036 h 1983"/>
                <a:gd name="T16" fmla="*/ 300257571 w 2936"/>
                <a:gd name="T17" fmla="*/ 465178203 h 1983"/>
                <a:gd name="T18" fmla="*/ 305969340 w 2936"/>
                <a:gd name="T19" fmla="*/ 486011290 h 1983"/>
                <a:gd name="T20" fmla="*/ 324818617 w 2936"/>
                <a:gd name="T21" fmla="*/ 524113572 h 1983"/>
                <a:gd name="T22" fmla="*/ 350712701 w 2936"/>
                <a:gd name="T23" fmla="*/ 509585228 h 1983"/>
                <a:gd name="T24" fmla="*/ 394504390 w 2936"/>
                <a:gd name="T25" fmla="*/ 508214541 h 1983"/>
                <a:gd name="T26" fmla="*/ 431251273 w 2936"/>
                <a:gd name="T27" fmla="*/ 543575971 h 1983"/>
                <a:gd name="T28" fmla="*/ 448767948 w 2936"/>
                <a:gd name="T29" fmla="*/ 523565401 h 1983"/>
                <a:gd name="T30" fmla="*/ 467807472 w 2936"/>
                <a:gd name="T31" fmla="*/ 511504086 h 1983"/>
                <a:gd name="T32" fmla="*/ 484752971 w 2936"/>
                <a:gd name="T33" fmla="*/ 500539634 h 1983"/>
                <a:gd name="T34" fmla="*/ 510837301 w 2936"/>
                <a:gd name="T35" fmla="*/ 474772491 h 1983"/>
                <a:gd name="T36" fmla="*/ 517691861 w 2936"/>
                <a:gd name="T37" fmla="*/ 442974429 h 1983"/>
                <a:gd name="T38" fmla="*/ 531971722 w 2936"/>
                <a:gd name="T39" fmla="*/ 389247464 h 1983"/>
                <a:gd name="T40" fmla="*/ 515026223 w 2936"/>
                <a:gd name="T41" fmla="*/ 376912324 h 1983"/>
                <a:gd name="T42" fmla="*/ 502650577 w 2936"/>
                <a:gd name="T43" fmla="*/ 348951977 h 1983"/>
                <a:gd name="T44" fmla="*/ 508172099 w 2936"/>
                <a:gd name="T45" fmla="*/ 336343015 h 1983"/>
                <a:gd name="T46" fmla="*/ 482087333 w 2936"/>
                <a:gd name="T47" fmla="*/ 290839126 h 1983"/>
                <a:gd name="T48" fmla="*/ 491797778 w 2936"/>
                <a:gd name="T49" fmla="*/ 272199244 h 1983"/>
                <a:gd name="T50" fmla="*/ 467046048 w 2936"/>
                <a:gd name="T51" fmla="*/ 263701297 h 1983"/>
                <a:gd name="T52" fmla="*/ 444198096 w 2936"/>
                <a:gd name="T53" fmla="*/ 243142557 h 1983"/>
                <a:gd name="T54" fmla="*/ 450861973 w 2936"/>
                <a:gd name="T55" fmla="*/ 229162383 h 1983"/>
                <a:gd name="T56" fmla="*/ 465141834 w 2936"/>
                <a:gd name="T57" fmla="*/ 207232956 h 1983"/>
                <a:gd name="T58" fmla="*/ 475233209 w 2936"/>
                <a:gd name="T59" fmla="*/ 213812046 h 1983"/>
                <a:gd name="T60" fmla="*/ 482087333 w 2936"/>
                <a:gd name="T61" fmla="*/ 233822616 h 1983"/>
                <a:gd name="T62" fmla="*/ 511980091 w 2936"/>
                <a:gd name="T63" fmla="*/ 209151814 h 1983"/>
                <a:gd name="T64" fmla="*/ 538445352 w 2936"/>
                <a:gd name="T65" fmla="*/ 184481535 h 1983"/>
                <a:gd name="T66" fmla="*/ 549488398 w 2936"/>
                <a:gd name="T67" fmla="*/ 154602331 h 1983"/>
                <a:gd name="T68" fmla="*/ 557484876 w 2936"/>
                <a:gd name="T69" fmla="*/ 135414278 h 1983"/>
                <a:gd name="T70" fmla="*/ 550820999 w 2936"/>
                <a:gd name="T71" fmla="*/ 84154340 h 1983"/>
                <a:gd name="T72" fmla="*/ 518263038 w 2936"/>
                <a:gd name="T73" fmla="*/ 93474282 h 1983"/>
                <a:gd name="T74" fmla="*/ 468569332 w 2936"/>
                <a:gd name="T75" fmla="*/ 56193994 h 1983"/>
                <a:gd name="T76" fmla="*/ 437915149 w 2936"/>
                <a:gd name="T77" fmla="*/ 24396455 h 1983"/>
                <a:gd name="T78" fmla="*/ 376987714 w 2936"/>
                <a:gd name="T79" fmla="*/ 14528344 h 1983"/>
                <a:gd name="T80" fmla="*/ 382128743 w 2936"/>
                <a:gd name="T81" fmla="*/ 42488167 h 1983"/>
                <a:gd name="T82" fmla="*/ 371656438 w 2936"/>
                <a:gd name="T83" fmla="*/ 62224913 h 1983"/>
                <a:gd name="T84" fmla="*/ 385555805 w 2936"/>
                <a:gd name="T85" fmla="*/ 95941309 h 1983"/>
                <a:gd name="T86" fmla="*/ 408594004 w 2936"/>
                <a:gd name="T87" fmla="*/ 101423535 h 1983"/>
                <a:gd name="T88" fmla="*/ 388601937 w 2936"/>
                <a:gd name="T89" fmla="*/ 124723650 h 1983"/>
                <a:gd name="T90" fmla="*/ 360042215 w 2936"/>
                <a:gd name="T91" fmla="*/ 156247365 h 1983"/>
                <a:gd name="T92" fmla="*/ 310348509 w 2936"/>
                <a:gd name="T93" fmla="*/ 195445987 h 1983"/>
                <a:gd name="T94" fmla="*/ 233808612 w 2936"/>
                <a:gd name="T95" fmla="*/ 180643820 h 1983"/>
                <a:gd name="T96" fmla="*/ 197252413 w 2936"/>
                <a:gd name="T97" fmla="*/ 153505990 h 1983"/>
                <a:gd name="T98" fmla="*/ 143179102 w 2936"/>
                <a:gd name="T99" fmla="*/ 135688625 h 1983"/>
                <a:gd name="T100" fmla="*/ 130612772 w 2936"/>
                <a:gd name="T101" fmla="*/ 103890563 h 1983"/>
                <a:gd name="T102" fmla="*/ 97483634 w 2936"/>
                <a:gd name="T103" fmla="*/ 81961136 h 1983"/>
                <a:gd name="T104" fmla="*/ 81871173 w 2936"/>
                <a:gd name="T105" fmla="*/ 85250681 h 1983"/>
                <a:gd name="T106" fmla="*/ 80538136 w 2936"/>
                <a:gd name="T107" fmla="*/ 106357591 h 1983"/>
                <a:gd name="T108" fmla="*/ 58071550 w 2936"/>
                <a:gd name="T109" fmla="*/ 104713080 h 1983"/>
                <a:gd name="T110" fmla="*/ 43220513 w 2936"/>
                <a:gd name="T111" fmla="*/ 138977647 h 1983"/>
                <a:gd name="T112" fmla="*/ 49503459 w 2936"/>
                <a:gd name="T113" fmla="*/ 163100278 h 1983"/>
                <a:gd name="T114" fmla="*/ 47980175 w 2936"/>
                <a:gd name="T115" fmla="*/ 196268504 h 1983"/>
                <a:gd name="T116" fmla="*/ 22467022 w 2936"/>
                <a:gd name="T117" fmla="*/ 214086393 h 1983"/>
                <a:gd name="T118" fmla="*/ 7615984 w 2936"/>
                <a:gd name="T119" fmla="*/ 245061414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 name="Freeform 15">
              <a:extLst>
                <a:ext uri="{FF2B5EF4-FFF2-40B4-BE49-F238E27FC236}">
                  <a16:creationId xmlns:a16="http://schemas.microsoft.com/office/drawing/2014/main" id="{BB8382F0-D6D9-40D8-BE46-B377B36EC659}"/>
                </a:ext>
              </a:extLst>
            </p:cNvPr>
            <p:cNvSpPr>
              <a:spLocks/>
            </p:cNvSpPr>
            <p:nvPr>
              <p:custDataLst>
                <p:tags r:id="rId12"/>
              </p:custDataLst>
            </p:nvPr>
          </p:nvSpPr>
          <p:spPr bwMode="auto">
            <a:xfrm>
              <a:off x="4411663" y="1855788"/>
              <a:ext cx="220662" cy="273050"/>
            </a:xfrm>
            <a:custGeom>
              <a:avLst/>
              <a:gdLst>
                <a:gd name="T0" fmla="*/ 66132051 w 504"/>
                <a:gd name="T1" fmla="*/ 133865368 h 524"/>
                <a:gd name="T2" fmla="*/ 49071901 w 504"/>
                <a:gd name="T3" fmla="*/ 137123730 h 524"/>
                <a:gd name="T4" fmla="*/ 45046571 w 504"/>
                <a:gd name="T5" fmla="*/ 140382092 h 524"/>
                <a:gd name="T6" fmla="*/ 40254616 w 504"/>
                <a:gd name="T7" fmla="*/ 141740047 h 524"/>
                <a:gd name="T8" fmla="*/ 29711438 w 504"/>
                <a:gd name="T9" fmla="*/ 142283020 h 524"/>
                <a:gd name="T10" fmla="*/ 20318855 w 504"/>
                <a:gd name="T11" fmla="*/ 141740047 h 524"/>
                <a:gd name="T12" fmla="*/ 18018541 w 504"/>
                <a:gd name="T13" fmla="*/ 140110605 h 524"/>
                <a:gd name="T14" fmla="*/ 13609679 w 504"/>
                <a:gd name="T15" fmla="*/ 138210198 h 524"/>
                <a:gd name="T16" fmla="*/ 6900941 w 504"/>
                <a:gd name="T17" fmla="*/ 134680349 h 524"/>
                <a:gd name="T18" fmla="*/ 4217096 w 504"/>
                <a:gd name="T19" fmla="*/ 131964961 h 524"/>
                <a:gd name="T20" fmla="*/ 3833564 w 504"/>
                <a:gd name="T21" fmla="*/ 129521059 h 524"/>
                <a:gd name="T22" fmla="*/ 5175487 w 504"/>
                <a:gd name="T23" fmla="*/ 125719724 h 524"/>
                <a:gd name="T24" fmla="*/ 6133878 w 504"/>
                <a:gd name="T25" fmla="*/ 120831920 h 524"/>
                <a:gd name="T26" fmla="*/ 5367253 w 504"/>
                <a:gd name="T27" fmla="*/ 117302072 h 524"/>
                <a:gd name="T28" fmla="*/ 1916782 w 504"/>
                <a:gd name="T29" fmla="*/ 113229249 h 524"/>
                <a:gd name="T30" fmla="*/ 191766 w 504"/>
                <a:gd name="T31" fmla="*/ 110513861 h 524"/>
                <a:gd name="T32" fmla="*/ 191766 w 504"/>
                <a:gd name="T33" fmla="*/ 106169031 h 524"/>
                <a:gd name="T34" fmla="*/ 3258705 w 504"/>
                <a:gd name="T35" fmla="*/ 97751900 h 524"/>
                <a:gd name="T36" fmla="*/ 9200817 w 504"/>
                <a:gd name="T37" fmla="*/ 89062761 h 524"/>
                <a:gd name="T38" fmla="*/ 16485290 w 504"/>
                <a:gd name="T39" fmla="*/ 81188083 h 524"/>
                <a:gd name="T40" fmla="*/ 23769325 w 504"/>
                <a:gd name="T41" fmla="*/ 75757306 h 524"/>
                <a:gd name="T42" fmla="*/ 30669829 w 504"/>
                <a:gd name="T43" fmla="*/ 73856898 h 524"/>
                <a:gd name="T44" fmla="*/ 29711438 w 504"/>
                <a:gd name="T45" fmla="*/ 71684483 h 524"/>
                <a:gd name="T46" fmla="*/ 27219796 w 504"/>
                <a:gd name="T47" fmla="*/ 70327050 h 524"/>
                <a:gd name="T48" fmla="*/ 25494342 w 504"/>
                <a:gd name="T49" fmla="*/ 68154635 h 524"/>
                <a:gd name="T50" fmla="*/ 24344185 w 504"/>
                <a:gd name="T51" fmla="*/ 62180884 h 524"/>
                <a:gd name="T52" fmla="*/ 23769325 w 504"/>
                <a:gd name="T53" fmla="*/ 52948772 h 524"/>
                <a:gd name="T54" fmla="*/ 22043871 w 504"/>
                <a:gd name="T55" fmla="*/ 43716660 h 524"/>
                <a:gd name="T56" fmla="*/ 19168698 w 504"/>
                <a:gd name="T57" fmla="*/ 36385476 h 524"/>
                <a:gd name="T58" fmla="*/ 13034820 w 504"/>
                <a:gd name="T59" fmla="*/ 24437975 h 524"/>
                <a:gd name="T60" fmla="*/ 16485290 w 504"/>
                <a:gd name="T61" fmla="*/ 16291810 h 524"/>
                <a:gd name="T62" fmla="*/ 20318855 w 504"/>
                <a:gd name="T63" fmla="*/ 15205863 h 524"/>
                <a:gd name="T64" fmla="*/ 24919482 w 504"/>
                <a:gd name="T65" fmla="*/ 15748836 h 524"/>
                <a:gd name="T66" fmla="*/ 26644499 w 504"/>
                <a:gd name="T67" fmla="*/ 16563296 h 524"/>
                <a:gd name="T68" fmla="*/ 30669829 w 504"/>
                <a:gd name="T69" fmla="*/ 15205863 h 524"/>
                <a:gd name="T70" fmla="*/ 31436892 w 504"/>
                <a:gd name="T71" fmla="*/ 8960626 h 524"/>
                <a:gd name="T72" fmla="*/ 32778377 w 504"/>
                <a:gd name="T73" fmla="*/ 3529849 h 524"/>
                <a:gd name="T74" fmla="*/ 35845754 w 504"/>
                <a:gd name="T75" fmla="*/ 0 h 524"/>
                <a:gd name="T76" fmla="*/ 43129789 w 504"/>
                <a:gd name="T77" fmla="*/ 0 h 524"/>
                <a:gd name="T78" fmla="*/ 48688808 w 504"/>
                <a:gd name="T79" fmla="*/ 2172415 h 524"/>
                <a:gd name="T80" fmla="*/ 53672529 w 504"/>
                <a:gd name="T81" fmla="*/ 5702264 h 524"/>
                <a:gd name="T82" fmla="*/ 53480763 w 504"/>
                <a:gd name="T83" fmla="*/ 16834783 h 524"/>
                <a:gd name="T84" fmla="*/ 55972843 w 504"/>
                <a:gd name="T85" fmla="*/ 20908126 h 524"/>
                <a:gd name="T86" fmla="*/ 61148330 w 504"/>
                <a:gd name="T87" fmla="*/ 25523922 h 524"/>
                <a:gd name="T88" fmla="*/ 68240599 w 504"/>
                <a:gd name="T89" fmla="*/ 32312133 h 524"/>
                <a:gd name="T90" fmla="*/ 66323817 w 504"/>
                <a:gd name="T91" fmla="*/ 36656963 h 524"/>
                <a:gd name="T92" fmla="*/ 65173660 w 504"/>
                <a:gd name="T93" fmla="*/ 41544245 h 524"/>
                <a:gd name="T94" fmla="*/ 65940723 w 504"/>
                <a:gd name="T95" fmla="*/ 47789482 h 524"/>
                <a:gd name="T96" fmla="*/ 69582522 w 504"/>
                <a:gd name="T97" fmla="*/ 54306727 h 524"/>
                <a:gd name="T98" fmla="*/ 72458133 w 504"/>
                <a:gd name="T99" fmla="*/ 57021594 h 524"/>
                <a:gd name="T100" fmla="*/ 73991384 w 504"/>
                <a:gd name="T101" fmla="*/ 69512069 h 524"/>
                <a:gd name="T102" fmla="*/ 77441854 w 504"/>
                <a:gd name="T103" fmla="*/ 78472694 h 524"/>
                <a:gd name="T104" fmla="*/ 82809107 w 504"/>
                <a:gd name="T105" fmla="*/ 85532913 h 524"/>
                <a:gd name="T106" fmla="*/ 88751220 w 504"/>
                <a:gd name="T107" fmla="*/ 90963168 h 524"/>
                <a:gd name="T108" fmla="*/ 89326517 w 504"/>
                <a:gd name="T109" fmla="*/ 105897544 h 524"/>
                <a:gd name="T110" fmla="*/ 76099932 w 504"/>
                <a:gd name="T111" fmla="*/ 124090282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 name="Freeform 16">
              <a:extLst>
                <a:ext uri="{FF2B5EF4-FFF2-40B4-BE49-F238E27FC236}">
                  <a16:creationId xmlns:a16="http://schemas.microsoft.com/office/drawing/2014/main" id="{B5B27D88-7E4E-445B-9FC5-EE1F8906F9D4}"/>
                </a:ext>
              </a:extLst>
            </p:cNvPr>
            <p:cNvSpPr>
              <a:spLocks/>
            </p:cNvSpPr>
            <p:nvPr>
              <p:custDataLst>
                <p:tags r:id="rId13"/>
              </p:custDataLst>
            </p:nvPr>
          </p:nvSpPr>
          <p:spPr bwMode="auto">
            <a:xfrm>
              <a:off x="4148138" y="2273300"/>
              <a:ext cx="182562" cy="238125"/>
            </a:xfrm>
            <a:custGeom>
              <a:avLst/>
              <a:gdLst>
                <a:gd name="T0" fmla="*/ 74008467 w 438"/>
                <a:gd name="T1" fmla="*/ 52967765 h 451"/>
                <a:gd name="T2" fmla="*/ 70881572 w 438"/>
                <a:gd name="T3" fmla="*/ 35683374 h 451"/>
                <a:gd name="T4" fmla="*/ 67233250 w 438"/>
                <a:gd name="T5" fmla="*/ 23695813 h 451"/>
                <a:gd name="T6" fmla="*/ 63758736 w 438"/>
                <a:gd name="T7" fmla="*/ 17284390 h 451"/>
                <a:gd name="T8" fmla="*/ 61847671 w 438"/>
                <a:gd name="T9" fmla="*/ 16169268 h 451"/>
                <a:gd name="T10" fmla="*/ 58199348 w 438"/>
                <a:gd name="T11" fmla="*/ 12545122 h 451"/>
                <a:gd name="T12" fmla="*/ 54551026 w 438"/>
                <a:gd name="T13" fmla="*/ 10593659 h 451"/>
                <a:gd name="T14" fmla="*/ 50902704 w 438"/>
                <a:gd name="T15" fmla="*/ 10593659 h 451"/>
                <a:gd name="T16" fmla="*/ 47949201 w 438"/>
                <a:gd name="T17" fmla="*/ 11708780 h 451"/>
                <a:gd name="T18" fmla="*/ 43606059 w 438"/>
                <a:gd name="T19" fmla="*/ 16169268 h 451"/>
                <a:gd name="T20" fmla="*/ 40826365 w 438"/>
                <a:gd name="T21" fmla="*/ 18678293 h 451"/>
                <a:gd name="T22" fmla="*/ 37699053 w 438"/>
                <a:gd name="T23" fmla="*/ 18399512 h 451"/>
                <a:gd name="T24" fmla="*/ 30229016 w 438"/>
                <a:gd name="T25" fmla="*/ 10314878 h 451"/>
                <a:gd name="T26" fmla="*/ 19631250 w 438"/>
                <a:gd name="T27" fmla="*/ 0 h 451"/>
                <a:gd name="T28" fmla="*/ 16504355 w 438"/>
                <a:gd name="T29" fmla="*/ 6411951 h 451"/>
                <a:gd name="T30" fmla="*/ 16156737 w 438"/>
                <a:gd name="T31" fmla="*/ 11987561 h 451"/>
                <a:gd name="T32" fmla="*/ 17025365 w 438"/>
                <a:gd name="T33" fmla="*/ 14496585 h 451"/>
                <a:gd name="T34" fmla="*/ 20673688 w 438"/>
                <a:gd name="T35" fmla="*/ 19235854 h 451"/>
                <a:gd name="T36" fmla="*/ 17199174 w 438"/>
                <a:gd name="T37" fmla="*/ 20350976 h 451"/>
                <a:gd name="T38" fmla="*/ 11465977 w 438"/>
                <a:gd name="T39" fmla="*/ 25926057 h 451"/>
                <a:gd name="T40" fmla="*/ 10076339 w 438"/>
                <a:gd name="T41" fmla="*/ 33174350 h 451"/>
                <a:gd name="T42" fmla="*/ 7817655 w 438"/>
                <a:gd name="T43" fmla="*/ 38471179 h 451"/>
                <a:gd name="T44" fmla="*/ 6080398 w 438"/>
                <a:gd name="T45" fmla="*/ 43489228 h 451"/>
                <a:gd name="T46" fmla="*/ 5733197 w 438"/>
                <a:gd name="T47" fmla="*/ 49901179 h 451"/>
                <a:gd name="T48" fmla="*/ 1216246 w 438"/>
                <a:gd name="T49" fmla="*/ 66348700 h 451"/>
                <a:gd name="T50" fmla="*/ 2605885 w 438"/>
                <a:gd name="T51" fmla="*/ 68578944 h 451"/>
                <a:gd name="T52" fmla="*/ 4516951 w 438"/>
                <a:gd name="T53" fmla="*/ 68857725 h 451"/>
                <a:gd name="T54" fmla="*/ 5733197 w 438"/>
                <a:gd name="T55" fmla="*/ 96456993 h 451"/>
                <a:gd name="T56" fmla="*/ 16156737 w 438"/>
                <a:gd name="T57" fmla="*/ 98408456 h 451"/>
                <a:gd name="T58" fmla="*/ 18067803 w 438"/>
                <a:gd name="T59" fmla="*/ 104819879 h 451"/>
                <a:gd name="T60" fmla="*/ 15461918 w 438"/>
                <a:gd name="T61" fmla="*/ 118480123 h 451"/>
                <a:gd name="T62" fmla="*/ 18936431 w 438"/>
                <a:gd name="T63" fmla="*/ 124613294 h 451"/>
                <a:gd name="T64" fmla="*/ 26406885 w 438"/>
                <a:gd name="T65" fmla="*/ 124613294 h 451"/>
                <a:gd name="T66" fmla="*/ 35614595 w 438"/>
                <a:gd name="T67" fmla="*/ 123776953 h 451"/>
                <a:gd name="T68" fmla="*/ 47949201 w 438"/>
                <a:gd name="T69" fmla="*/ 124334514 h 451"/>
                <a:gd name="T70" fmla="*/ 59588987 w 438"/>
                <a:gd name="T71" fmla="*/ 123219392 h 451"/>
                <a:gd name="T72" fmla="*/ 64627365 w 438"/>
                <a:gd name="T73" fmla="*/ 120431587 h 451"/>
                <a:gd name="T74" fmla="*/ 62368681 w 438"/>
                <a:gd name="T75" fmla="*/ 115134757 h 451"/>
                <a:gd name="T76" fmla="*/ 64105938 w 438"/>
                <a:gd name="T77" fmla="*/ 112346953 h 451"/>
                <a:gd name="T78" fmla="*/ 64627365 w 438"/>
                <a:gd name="T79" fmla="*/ 106492562 h 451"/>
                <a:gd name="T80" fmla="*/ 66017003 w 438"/>
                <a:gd name="T81" fmla="*/ 102311383 h 451"/>
                <a:gd name="T82" fmla="*/ 59588987 w 438"/>
                <a:gd name="T83" fmla="*/ 95899432 h 451"/>
                <a:gd name="T84" fmla="*/ 56462092 w 438"/>
                <a:gd name="T85" fmla="*/ 90045042 h 451"/>
                <a:gd name="T86" fmla="*/ 54029599 w 438"/>
                <a:gd name="T87" fmla="*/ 81960407 h 451"/>
                <a:gd name="T88" fmla="*/ 51076513 w 438"/>
                <a:gd name="T89" fmla="*/ 77221139 h 451"/>
                <a:gd name="T90" fmla="*/ 54551026 w 438"/>
                <a:gd name="T91" fmla="*/ 76663578 h 451"/>
                <a:gd name="T92" fmla="*/ 60110414 w 438"/>
                <a:gd name="T93" fmla="*/ 75548456 h 451"/>
                <a:gd name="T94" fmla="*/ 64105938 w 438"/>
                <a:gd name="T95" fmla="*/ 72481871 h 451"/>
                <a:gd name="T96" fmla="*/ 70707763 w 438"/>
                <a:gd name="T97" fmla="*/ 66906261 h 451"/>
                <a:gd name="T98" fmla="*/ 76093342 w 438"/>
                <a:gd name="T99" fmla="*/ 65512359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26" name="Freeform 17">
              <a:extLst>
                <a:ext uri="{FF2B5EF4-FFF2-40B4-BE49-F238E27FC236}">
                  <a16:creationId xmlns:a16="http://schemas.microsoft.com/office/drawing/2014/main" id="{17A16D36-9D5C-46E9-BECF-69D996940B9F}"/>
                </a:ext>
              </a:extLst>
            </p:cNvPr>
            <p:cNvSpPr>
              <a:spLocks/>
            </p:cNvSpPr>
            <p:nvPr>
              <p:custDataLst>
                <p:tags r:id="rId14"/>
              </p:custDataLst>
            </p:nvPr>
          </p:nvSpPr>
          <p:spPr bwMode="auto">
            <a:xfrm>
              <a:off x="4173538" y="2530475"/>
              <a:ext cx="250825" cy="274638"/>
            </a:xfrm>
            <a:custGeom>
              <a:avLst/>
              <a:gdLst>
                <a:gd name="T0" fmla="*/ 61579273 w 578"/>
                <a:gd name="T1" fmla="*/ 24173297 h 524"/>
                <a:gd name="T2" fmla="*/ 58754237 w 578"/>
                <a:gd name="T3" fmla="*/ 23349386 h 524"/>
                <a:gd name="T4" fmla="*/ 56682978 w 578"/>
                <a:gd name="T5" fmla="*/ 21701040 h 524"/>
                <a:gd name="T6" fmla="*/ 51786683 w 578"/>
                <a:gd name="T7" fmla="*/ 18130235 h 524"/>
                <a:gd name="T8" fmla="*/ 47267060 w 578"/>
                <a:gd name="T9" fmla="*/ 21426403 h 524"/>
                <a:gd name="T10" fmla="*/ 46325815 w 578"/>
                <a:gd name="T11" fmla="*/ 28843174 h 524"/>
                <a:gd name="T12" fmla="*/ 47643731 w 578"/>
                <a:gd name="T13" fmla="*/ 42028895 h 524"/>
                <a:gd name="T14" fmla="*/ 50845005 w 578"/>
                <a:gd name="T15" fmla="*/ 47248046 h 524"/>
                <a:gd name="T16" fmla="*/ 54046712 w 578"/>
                <a:gd name="T17" fmla="*/ 48896392 h 524"/>
                <a:gd name="T18" fmla="*/ 56117971 w 578"/>
                <a:gd name="T19" fmla="*/ 52467198 h 524"/>
                <a:gd name="T20" fmla="*/ 66098897 w 578"/>
                <a:gd name="T21" fmla="*/ 61806952 h 524"/>
                <a:gd name="T22" fmla="*/ 84553628 w 578"/>
                <a:gd name="T23" fmla="*/ 84881701 h 524"/>
                <a:gd name="T24" fmla="*/ 89826595 w 578"/>
                <a:gd name="T25" fmla="*/ 88452506 h 524"/>
                <a:gd name="T26" fmla="*/ 94910791 w 578"/>
                <a:gd name="T27" fmla="*/ 90100852 h 524"/>
                <a:gd name="T28" fmla="*/ 100937101 w 578"/>
                <a:gd name="T29" fmla="*/ 97792261 h 524"/>
                <a:gd name="T30" fmla="*/ 108846333 w 578"/>
                <a:gd name="T31" fmla="*/ 103286573 h 524"/>
                <a:gd name="T32" fmla="*/ 106398403 w 578"/>
                <a:gd name="T33" fmla="*/ 111801892 h 524"/>
                <a:gd name="T34" fmla="*/ 99053743 w 578"/>
                <a:gd name="T35" fmla="*/ 105209556 h 524"/>
                <a:gd name="T36" fmla="*/ 95664134 w 578"/>
                <a:gd name="T37" fmla="*/ 103286573 h 524"/>
                <a:gd name="T38" fmla="*/ 93781211 w 578"/>
                <a:gd name="T39" fmla="*/ 109054998 h 524"/>
                <a:gd name="T40" fmla="*/ 95287463 w 578"/>
                <a:gd name="T41" fmla="*/ 117021568 h 524"/>
                <a:gd name="T42" fmla="*/ 96794149 w 578"/>
                <a:gd name="T43" fmla="*/ 121416284 h 524"/>
                <a:gd name="T44" fmla="*/ 94157882 w 578"/>
                <a:gd name="T45" fmla="*/ 128558418 h 524"/>
                <a:gd name="T46" fmla="*/ 90956175 w 578"/>
                <a:gd name="T47" fmla="*/ 138722608 h 524"/>
                <a:gd name="T48" fmla="*/ 87566566 w 578"/>
                <a:gd name="T49" fmla="*/ 143392485 h 524"/>
                <a:gd name="T50" fmla="*/ 82105698 w 578"/>
                <a:gd name="T51" fmla="*/ 138722608 h 524"/>
                <a:gd name="T52" fmla="*/ 85871978 w 578"/>
                <a:gd name="T53" fmla="*/ 132953659 h 524"/>
                <a:gd name="T54" fmla="*/ 87566566 w 578"/>
                <a:gd name="T55" fmla="*/ 128283781 h 524"/>
                <a:gd name="T56" fmla="*/ 86813223 w 578"/>
                <a:gd name="T57" fmla="*/ 121141647 h 524"/>
                <a:gd name="T58" fmla="*/ 80410676 w 578"/>
                <a:gd name="T59" fmla="*/ 108505724 h 524"/>
                <a:gd name="T60" fmla="*/ 72501444 w 578"/>
                <a:gd name="T61" fmla="*/ 101363590 h 524"/>
                <a:gd name="T62" fmla="*/ 66851806 w 578"/>
                <a:gd name="T63" fmla="*/ 97792261 h 524"/>
                <a:gd name="T64" fmla="*/ 59884252 w 578"/>
                <a:gd name="T65" fmla="*/ 90650126 h 524"/>
                <a:gd name="T66" fmla="*/ 50468333 w 578"/>
                <a:gd name="T67" fmla="*/ 86530047 h 524"/>
                <a:gd name="T68" fmla="*/ 41052849 w 578"/>
                <a:gd name="T69" fmla="*/ 78288841 h 524"/>
                <a:gd name="T70" fmla="*/ 30506916 w 578"/>
                <a:gd name="T71" fmla="*/ 62906024 h 524"/>
                <a:gd name="T72" fmla="*/ 23727698 w 578"/>
                <a:gd name="T73" fmla="*/ 46149498 h 524"/>
                <a:gd name="T74" fmla="*/ 14500115 w 578"/>
                <a:gd name="T75" fmla="*/ 42303532 h 524"/>
                <a:gd name="T76" fmla="*/ 9604254 w 578"/>
                <a:gd name="T77" fmla="*/ 43127443 h 524"/>
                <a:gd name="T78" fmla="*/ 2824602 w 578"/>
                <a:gd name="T79" fmla="*/ 45325063 h 524"/>
                <a:gd name="T80" fmla="*/ 565007 w 578"/>
                <a:gd name="T81" fmla="*/ 36534583 h 524"/>
                <a:gd name="T82" fmla="*/ 188336 w 578"/>
                <a:gd name="T83" fmla="*/ 25547006 h 524"/>
                <a:gd name="T84" fmla="*/ 1130014 w 578"/>
                <a:gd name="T85" fmla="*/ 13460358 h 524"/>
                <a:gd name="T86" fmla="*/ 8474240 w 578"/>
                <a:gd name="T87" fmla="*/ 11262738 h 524"/>
                <a:gd name="T88" fmla="*/ 12805528 w 578"/>
                <a:gd name="T89" fmla="*/ 9065117 h 524"/>
                <a:gd name="T90" fmla="*/ 15630129 w 578"/>
                <a:gd name="T91" fmla="*/ 13185721 h 524"/>
                <a:gd name="T92" fmla="*/ 19584746 w 578"/>
                <a:gd name="T93" fmla="*/ 12086649 h 524"/>
                <a:gd name="T94" fmla="*/ 28058986 w 578"/>
                <a:gd name="T95" fmla="*/ 4395240 h 524"/>
                <a:gd name="T96" fmla="*/ 45007465 w 578"/>
                <a:gd name="T97" fmla="*/ 0 h 524"/>
                <a:gd name="T98" fmla="*/ 48397074 w 578"/>
                <a:gd name="T99" fmla="*/ 3571329 h 524"/>
                <a:gd name="T100" fmla="*/ 62520518 w 578"/>
                <a:gd name="T101" fmla="*/ 5219151 h 524"/>
                <a:gd name="T102" fmla="*/ 60637595 w 578"/>
                <a:gd name="T103" fmla="*/ 17855598 h 524"/>
                <a:gd name="T104" fmla="*/ 61202602 w 578"/>
                <a:gd name="T105" fmla="*/ 24722571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7" name="Freeform 18">
              <a:extLst>
                <a:ext uri="{FF2B5EF4-FFF2-40B4-BE49-F238E27FC236}">
                  <a16:creationId xmlns:a16="http://schemas.microsoft.com/office/drawing/2014/main" id="{0F968CE8-9287-4668-B84A-F6547A7E510B}"/>
                </a:ext>
              </a:extLst>
            </p:cNvPr>
            <p:cNvSpPr>
              <a:spLocks/>
            </p:cNvSpPr>
            <p:nvPr>
              <p:custDataLst>
                <p:tags r:id="rId15"/>
              </p:custDataLst>
            </p:nvPr>
          </p:nvSpPr>
          <p:spPr bwMode="auto">
            <a:xfrm>
              <a:off x="4191000" y="2698750"/>
              <a:ext cx="33338" cy="82550"/>
            </a:xfrm>
            <a:custGeom>
              <a:avLst/>
              <a:gdLst>
                <a:gd name="T0" fmla="*/ 0 w 79"/>
                <a:gd name="T1" fmla="*/ 9849247 h 160"/>
                <a:gd name="T2" fmla="*/ 1068504 w 79"/>
                <a:gd name="T3" fmla="*/ 9849247 h 160"/>
                <a:gd name="T4" fmla="*/ 1958924 w 79"/>
                <a:gd name="T5" fmla="*/ 9583023 h 160"/>
                <a:gd name="T6" fmla="*/ 2849344 w 79"/>
                <a:gd name="T7" fmla="*/ 9316799 h 160"/>
                <a:gd name="T8" fmla="*/ 3383596 w 79"/>
                <a:gd name="T9" fmla="*/ 8784352 h 160"/>
                <a:gd name="T10" fmla="*/ 4630184 w 79"/>
                <a:gd name="T11" fmla="*/ 7453233 h 160"/>
                <a:gd name="T12" fmla="*/ 5520604 w 79"/>
                <a:gd name="T13" fmla="*/ 5856407 h 160"/>
                <a:gd name="T14" fmla="*/ 6589108 w 79"/>
                <a:gd name="T15" fmla="*/ 4259064 h 160"/>
                <a:gd name="T16" fmla="*/ 7301444 w 79"/>
                <a:gd name="T17" fmla="*/ 2661722 h 160"/>
                <a:gd name="T18" fmla="*/ 8191864 w 79"/>
                <a:gd name="T19" fmla="*/ 1331119 h 160"/>
                <a:gd name="T20" fmla="*/ 9438452 w 79"/>
                <a:gd name="T21" fmla="*/ 0 h 160"/>
                <a:gd name="T22" fmla="*/ 10150788 w 79"/>
                <a:gd name="T23" fmla="*/ 798671 h 160"/>
                <a:gd name="T24" fmla="*/ 11041208 w 79"/>
                <a:gd name="T25" fmla="*/ 1863566 h 160"/>
                <a:gd name="T26" fmla="*/ 11397376 w 79"/>
                <a:gd name="T27" fmla="*/ 2661722 h 160"/>
                <a:gd name="T28" fmla="*/ 11753544 w 79"/>
                <a:gd name="T29" fmla="*/ 3726617 h 160"/>
                <a:gd name="T30" fmla="*/ 12287796 w 79"/>
                <a:gd name="T31" fmla="*/ 5856407 h 160"/>
                <a:gd name="T32" fmla="*/ 12822048 w 79"/>
                <a:gd name="T33" fmla="*/ 8518128 h 160"/>
                <a:gd name="T34" fmla="*/ 13000132 w 79"/>
                <a:gd name="T35" fmla="*/ 10647918 h 160"/>
                <a:gd name="T36" fmla="*/ 13178216 w 79"/>
                <a:gd name="T37" fmla="*/ 13043416 h 160"/>
                <a:gd name="T38" fmla="*/ 13534384 w 79"/>
                <a:gd name="T39" fmla="*/ 15438914 h 160"/>
                <a:gd name="T40" fmla="*/ 14068636 w 79"/>
                <a:gd name="T41" fmla="*/ 17834928 h 160"/>
                <a:gd name="T42" fmla="*/ 14068636 w 79"/>
                <a:gd name="T43" fmla="*/ 26086832 h 160"/>
                <a:gd name="T44" fmla="*/ 12109712 w 79"/>
                <a:gd name="T45" fmla="*/ 30612120 h 160"/>
                <a:gd name="T46" fmla="*/ 10506956 w 79"/>
                <a:gd name="T47" fmla="*/ 34338736 h 160"/>
                <a:gd name="T48" fmla="*/ 9438452 w 79"/>
                <a:gd name="T49" fmla="*/ 36202303 h 160"/>
                <a:gd name="T50" fmla="*/ 8904200 w 79"/>
                <a:gd name="T51" fmla="*/ 38331577 h 160"/>
                <a:gd name="T52" fmla="*/ 8548032 w 79"/>
                <a:gd name="T53" fmla="*/ 40195143 h 160"/>
                <a:gd name="T54" fmla="*/ 8191864 w 79"/>
                <a:gd name="T55" fmla="*/ 42590641 h 160"/>
                <a:gd name="T56" fmla="*/ 7123360 w 79"/>
                <a:gd name="T57" fmla="*/ 41259522 h 160"/>
                <a:gd name="T58" fmla="*/ 5876772 w 79"/>
                <a:gd name="T59" fmla="*/ 39928919 h 160"/>
                <a:gd name="T60" fmla="*/ 4986352 w 79"/>
                <a:gd name="T61" fmla="*/ 38331577 h 160"/>
                <a:gd name="T62" fmla="*/ 3917848 w 79"/>
                <a:gd name="T63" fmla="*/ 36468010 h 160"/>
                <a:gd name="T64" fmla="*/ 3205512 w 79"/>
                <a:gd name="T65" fmla="*/ 34604960 h 160"/>
                <a:gd name="T66" fmla="*/ 2671260 w 79"/>
                <a:gd name="T67" fmla="*/ 32741394 h 160"/>
                <a:gd name="T68" fmla="*/ 1958924 w 79"/>
                <a:gd name="T69" fmla="*/ 30612120 h 160"/>
                <a:gd name="T70" fmla="*/ 1424672 w 79"/>
                <a:gd name="T71" fmla="*/ 28748553 h 160"/>
                <a:gd name="T72" fmla="*/ 712336 w 79"/>
                <a:gd name="T73" fmla="*/ 24223266 h 160"/>
                <a:gd name="T74" fmla="*/ 178084 w 79"/>
                <a:gd name="T75" fmla="*/ 19431754 h 160"/>
                <a:gd name="T76" fmla="*/ 0 w 79"/>
                <a:gd name="T77" fmla="*/ 14640758 h 160"/>
                <a:gd name="T78" fmla="*/ 0 w 79"/>
                <a:gd name="T79" fmla="*/ 98492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28" name="Group 19">
              <a:extLst>
                <a:ext uri="{FF2B5EF4-FFF2-40B4-BE49-F238E27FC236}">
                  <a16:creationId xmlns:a16="http://schemas.microsoft.com/office/drawing/2014/main" id="{3F8F5D02-838B-4831-9B77-7F643462D159}"/>
                </a:ext>
              </a:extLst>
            </p:cNvPr>
            <p:cNvGrpSpPr>
              <a:grpSpLocks/>
            </p:cNvGrpSpPr>
            <p:nvPr>
              <p:custDataLst>
                <p:tags r:id="rId16"/>
              </p:custDataLst>
            </p:nvPr>
          </p:nvGrpSpPr>
          <p:grpSpPr bwMode="auto">
            <a:xfrm>
              <a:off x="6510338" y="3759200"/>
              <a:ext cx="473075" cy="212725"/>
              <a:chOff x="4488" y="2394"/>
              <a:chExt cx="358" cy="124"/>
            </a:xfrm>
          </p:grpSpPr>
          <p:sp>
            <p:nvSpPr>
              <p:cNvPr id="566" name="Freeform 20">
                <a:extLst>
                  <a:ext uri="{FF2B5EF4-FFF2-40B4-BE49-F238E27FC236}">
                    <a16:creationId xmlns:a16="http://schemas.microsoft.com/office/drawing/2014/main" id="{AA307089-0922-45D3-AD3A-4A000FC31EC4}"/>
                  </a:ext>
                </a:extLst>
              </p:cNvPr>
              <p:cNvSpPr>
                <a:spLocks/>
              </p:cNvSpPr>
              <p:nvPr/>
            </p:nvSpPr>
            <p:spPr bwMode="auto">
              <a:xfrm>
                <a:off x="4675" y="2394"/>
                <a:ext cx="171" cy="124"/>
              </a:xfrm>
              <a:custGeom>
                <a:avLst/>
                <a:gdLst>
                  <a:gd name="T0" fmla="*/ 47 w 512"/>
                  <a:gd name="T1" fmla="*/ 18 h 408"/>
                  <a:gd name="T2" fmla="*/ 43 w 512"/>
                  <a:gd name="T3" fmla="*/ 18 h 408"/>
                  <a:gd name="T4" fmla="*/ 41 w 512"/>
                  <a:gd name="T5" fmla="*/ 19 h 408"/>
                  <a:gd name="T6" fmla="*/ 39 w 512"/>
                  <a:gd name="T7" fmla="*/ 20 h 408"/>
                  <a:gd name="T8" fmla="*/ 39 w 512"/>
                  <a:gd name="T9" fmla="*/ 23 h 408"/>
                  <a:gd name="T10" fmla="*/ 36 w 512"/>
                  <a:gd name="T11" fmla="*/ 28 h 408"/>
                  <a:gd name="T12" fmla="*/ 34 w 512"/>
                  <a:gd name="T13" fmla="*/ 31 h 408"/>
                  <a:gd name="T14" fmla="*/ 32 w 512"/>
                  <a:gd name="T15" fmla="*/ 32 h 408"/>
                  <a:gd name="T16" fmla="*/ 30 w 512"/>
                  <a:gd name="T17" fmla="*/ 33 h 408"/>
                  <a:gd name="T18" fmla="*/ 29 w 512"/>
                  <a:gd name="T19" fmla="*/ 34 h 408"/>
                  <a:gd name="T20" fmla="*/ 28 w 512"/>
                  <a:gd name="T21" fmla="*/ 35 h 408"/>
                  <a:gd name="T22" fmla="*/ 24 w 512"/>
                  <a:gd name="T23" fmla="*/ 34 h 408"/>
                  <a:gd name="T24" fmla="*/ 20 w 512"/>
                  <a:gd name="T25" fmla="*/ 34 h 408"/>
                  <a:gd name="T26" fmla="*/ 17 w 512"/>
                  <a:gd name="T27" fmla="*/ 34 h 408"/>
                  <a:gd name="T28" fmla="*/ 15 w 512"/>
                  <a:gd name="T29" fmla="*/ 36 h 408"/>
                  <a:gd name="T30" fmla="*/ 11 w 512"/>
                  <a:gd name="T31" fmla="*/ 37 h 408"/>
                  <a:gd name="T32" fmla="*/ 7 w 512"/>
                  <a:gd name="T33" fmla="*/ 38 h 408"/>
                  <a:gd name="T34" fmla="*/ 5 w 512"/>
                  <a:gd name="T35" fmla="*/ 37 h 408"/>
                  <a:gd name="T36" fmla="*/ 2 w 512"/>
                  <a:gd name="T37" fmla="*/ 34 h 408"/>
                  <a:gd name="T38" fmla="*/ 0 w 512"/>
                  <a:gd name="T39" fmla="*/ 32 h 408"/>
                  <a:gd name="T40" fmla="*/ 1 w 512"/>
                  <a:gd name="T41" fmla="*/ 31 h 408"/>
                  <a:gd name="T42" fmla="*/ 4 w 512"/>
                  <a:gd name="T43" fmla="*/ 32 h 408"/>
                  <a:gd name="T44" fmla="*/ 6 w 512"/>
                  <a:gd name="T45" fmla="*/ 31 h 408"/>
                  <a:gd name="T46" fmla="*/ 6 w 512"/>
                  <a:gd name="T47" fmla="*/ 29 h 408"/>
                  <a:gd name="T48" fmla="*/ 8 w 512"/>
                  <a:gd name="T49" fmla="*/ 28 h 408"/>
                  <a:gd name="T50" fmla="*/ 9 w 512"/>
                  <a:gd name="T51" fmla="*/ 26 h 408"/>
                  <a:gd name="T52" fmla="*/ 10 w 512"/>
                  <a:gd name="T53" fmla="*/ 25 h 408"/>
                  <a:gd name="T54" fmla="*/ 11 w 512"/>
                  <a:gd name="T55" fmla="*/ 24 h 408"/>
                  <a:gd name="T56" fmla="*/ 15 w 512"/>
                  <a:gd name="T57" fmla="*/ 23 h 408"/>
                  <a:gd name="T58" fmla="*/ 19 w 512"/>
                  <a:gd name="T59" fmla="*/ 22 h 408"/>
                  <a:gd name="T60" fmla="*/ 22 w 512"/>
                  <a:gd name="T61" fmla="*/ 20 h 408"/>
                  <a:gd name="T62" fmla="*/ 24 w 512"/>
                  <a:gd name="T63" fmla="*/ 19 h 408"/>
                  <a:gd name="T64" fmla="*/ 24 w 512"/>
                  <a:gd name="T65" fmla="*/ 18 h 408"/>
                  <a:gd name="T66" fmla="*/ 25 w 512"/>
                  <a:gd name="T67" fmla="*/ 15 h 408"/>
                  <a:gd name="T68" fmla="*/ 25 w 512"/>
                  <a:gd name="T69" fmla="*/ 14 h 408"/>
                  <a:gd name="T70" fmla="*/ 26 w 512"/>
                  <a:gd name="T71" fmla="*/ 14 h 408"/>
                  <a:gd name="T72" fmla="*/ 27 w 512"/>
                  <a:gd name="T73" fmla="*/ 13 h 408"/>
                  <a:gd name="T74" fmla="*/ 26 w 512"/>
                  <a:gd name="T75" fmla="*/ 14 h 408"/>
                  <a:gd name="T76" fmla="*/ 27 w 512"/>
                  <a:gd name="T77" fmla="*/ 16 h 408"/>
                  <a:gd name="T78" fmla="*/ 28 w 512"/>
                  <a:gd name="T79" fmla="*/ 18 h 408"/>
                  <a:gd name="T80" fmla="*/ 30 w 512"/>
                  <a:gd name="T81" fmla="*/ 19 h 408"/>
                  <a:gd name="T82" fmla="*/ 34 w 512"/>
                  <a:gd name="T83" fmla="*/ 19 h 408"/>
                  <a:gd name="T84" fmla="*/ 36 w 512"/>
                  <a:gd name="T85" fmla="*/ 19 h 408"/>
                  <a:gd name="T86" fmla="*/ 36 w 512"/>
                  <a:gd name="T87" fmla="*/ 18 h 408"/>
                  <a:gd name="T88" fmla="*/ 36 w 512"/>
                  <a:gd name="T89" fmla="*/ 16 h 408"/>
                  <a:gd name="T90" fmla="*/ 33 w 512"/>
                  <a:gd name="T91" fmla="*/ 12 h 408"/>
                  <a:gd name="T92" fmla="*/ 36 w 512"/>
                  <a:gd name="T93" fmla="*/ 10 h 408"/>
                  <a:gd name="T94" fmla="*/ 38 w 512"/>
                  <a:gd name="T95" fmla="*/ 6 h 408"/>
                  <a:gd name="T96" fmla="*/ 42 w 512"/>
                  <a:gd name="T97" fmla="*/ 2 h 408"/>
                  <a:gd name="T98" fmla="*/ 44 w 512"/>
                  <a:gd name="T99" fmla="*/ 0 h 408"/>
                  <a:gd name="T100" fmla="*/ 45 w 512"/>
                  <a:gd name="T101" fmla="*/ 2 h 408"/>
                  <a:gd name="T102" fmla="*/ 46 w 512"/>
                  <a:gd name="T103" fmla="*/ 5 h 408"/>
                  <a:gd name="T104" fmla="*/ 49 w 512"/>
                  <a:gd name="T105" fmla="*/ 7 h 408"/>
                  <a:gd name="T106" fmla="*/ 54 w 512"/>
                  <a:gd name="T107" fmla="*/ 10 h 408"/>
                  <a:gd name="T108" fmla="*/ 57 w 512"/>
                  <a:gd name="T109" fmla="*/ 12 h 408"/>
                  <a:gd name="T110" fmla="*/ 56 w 512"/>
                  <a:gd name="T111" fmla="*/ 14 h 408"/>
                  <a:gd name="T112" fmla="*/ 53 w 512"/>
                  <a:gd name="T113" fmla="*/ 14 h 408"/>
                  <a:gd name="T114" fmla="*/ 51 w 512"/>
                  <a:gd name="T115" fmla="*/ 17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67" name="Freeform 21">
                <a:extLst>
                  <a:ext uri="{FF2B5EF4-FFF2-40B4-BE49-F238E27FC236}">
                    <a16:creationId xmlns:a16="http://schemas.microsoft.com/office/drawing/2014/main" id="{12277305-E522-41D8-A34F-993F6E00EFAB}"/>
                  </a:ext>
                </a:extLst>
              </p:cNvPr>
              <p:cNvSpPr>
                <a:spLocks/>
              </p:cNvSpPr>
              <p:nvPr/>
            </p:nvSpPr>
            <p:spPr bwMode="auto">
              <a:xfrm>
                <a:off x="4488" y="2420"/>
                <a:ext cx="77" cy="89"/>
              </a:xfrm>
              <a:custGeom>
                <a:avLst/>
                <a:gdLst>
                  <a:gd name="T0" fmla="*/ 17 w 232"/>
                  <a:gd name="T1" fmla="*/ 2 h 289"/>
                  <a:gd name="T2" fmla="*/ 18 w 232"/>
                  <a:gd name="T3" fmla="*/ 5 h 289"/>
                  <a:gd name="T4" fmla="*/ 19 w 232"/>
                  <a:gd name="T5" fmla="*/ 5 h 289"/>
                  <a:gd name="T6" fmla="*/ 20 w 232"/>
                  <a:gd name="T7" fmla="*/ 6 h 289"/>
                  <a:gd name="T8" fmla="*/ 21 w 232"/>
                  <a:gd name="T9" fmla="*/ 16 h 289"/>
                  <a:gd name="T10" fmla="*/ 21 w 232"/>
                  <a:gd name="T11" fmla="*/ 18 h 289"/>
                  <a:gd name="T12" fmla="*/ 21 w 232"/>
                  <a:gd name="T13" fmla="*/ 20 h 289"/>
                  <a:gd name="T14" fmla="*/ 22 w 232"/>
                  <a:gd name="T15" fmla="*/ 21 h 289"/>
                  <a:gd name="T16" fmla="*/ 26 w 232"/>
                  <a:gd name="T17" fmla="*/ 23 h 289"/>
                  <a:gd name="T18" fmla="*/ 24 w 232"/>
                  <a:gd name="T19" fmla="*/ 27 h 289"/>
                  <a:gd name="T20" fmla="*/ 21 w 232"/>
                  <a:gd name="T21" fmla="*/ 27 h 289"/>
                  <a:gd name="T22" fmla="*/ 17 w 232"/>
                  <a:gd name="T23" fmla="*/ 25 h 289"/>
                  <a:gd name="T24" fmla="*/ 13 w 232"/>
                  <a:gd name="T25" fmla="*/ 22 h 289"/>
                  <a:gd name="T26" fmla="*/ 9 w 232"/>
                  <a:gd name="T27" fmla="*/ 20 h 289"/>
                  <a:gd name="T28" fmla="*/ 6 w 232"/>
                  <a:gd name="T29" fmla="*/ 17 h 289"/>
                  <a:gd name="T30" fmla="*/ 3 w 232"/>
                  <a:gd name="T31" fmla="*/ 14 h 289"/>
                  <a:gd name="T32" fmla="*/ 1 w 232"/>
                  <a:gd name="T33" fmla="*/ 12 h 289"/>
                  <a:gd name="T34" fmla="*/ 0 w 232"/>
                  <a:gd name="T35" fmla="*/ 11 h 289"/>
                  <a:gd name="T36" fmla="*/ 0 w 232"/>
                  <a:gd name="T37" fmla="*/ 10 h 289"/>
                  <a:gd name="T38" fmla="*/ 0 w 232"/>
                  <a:gd name="T39" fmla="*/ 10 h 289"/>
                  <a:gd name="T40" fmla="*/ 0 w 232"/>
                  <a:gd name="T41" fmla="*/ 9 h 289"/>
                  <a:gd name="T42" fmla="*/ 1 w 232"/>
                  <a:gd name="T43" fmla="*/ 7 h 289"/>
                  <a:gd name="T44" fmla="*/ 1 w 232"/>
                  <a:gd name="T45" fmla="*/ 5 h 289"/>
                  <a:gd name="T46" fmla="*/ 1 w 232"/>
                  <a:gd name="T47" fmla="*/ 2 h 289"/>
                  <a:gd name="T48" fmla="*/ 1 w 232"/>
                  <a:gd name="T49" fmla="*/ 0 h 289"/>
                  <a:gd name="T50" fmla="*/ 3 w 232"/>
                  <a:gd name="T51" fmla="*/ 0 h 289"/>
                  <a:gd name="T52" fmla="*/ 5 w 232"/>
                  <a:gd name="T53" fmla="*/ 1 h 289"/>
                  <a:gd name="T54" fmla="*/ 7 w 232"/>
                  <a:gd name="T55" fmla="*/ 2 h 289"/>
                  <a:gd name="T56" fmla="*/ 8 w 232"/>
                  <a:gd name="T57" fmla="*/ 3 h 289"/>
                  <a:gd name="T58" fmla="*/ 9 w 232"/>
                  <a:gd name="T59" fmla="*/ 3 h 289"/>
                  <a:gd name="T60" fmla="*/ 10 w 232"/>
                  <a:gd name="T61" fmla="*/ 3 h 289"/>
                  <a:gd name="T62" fmla="*/ 12 w 232"/>
                  <a:gd name="T63" fmla="*/ 2 h 289"/>
                  <a:gd name="T64" fmla="*/ 13 w 232"/>
                  <a:gd name="T65" fmla="*/ 2 h 289"/>
                  <a:gd name="T66" fmla="*/ 15 w 232"/>
                  <a:gd name="T67" fmla="*/ 1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9" name="Freeform 22">
              <a:extLst>
                <a:ext uri="{FF2B5EF4-FFF2-40B4-BE49-F238E27FC236}">
                  <a16:creationId xmlns:a16="http://schemas.microsoft.com/office/drawing/2014/main" id="{4DAE30E5-76C7-4250-811A-2718AF928352}"/>
                </a:ext>
              </a:extLst>
            </p:cNvPr>
            <p:cNvSpPr>
              <a:spLocks/>
            </p:cNvSpPr>
            <p:nvPr>
              <p:custDataLst>
                <p:tags r:id="rId17"/>
              </p:custDataLst>
            </p:nvPr>
          </p:nvSpPr>
          <p:spPr bwMode="auto">
            <a:xfrm>
              <a:off x="4532313" y="1635125"/>
              <a:ext cx="3065462" cy="1074738"/>
            </a:xfrm>
            <a:custGeom>
              <a:avLst/>
              <a:gdLst>
                <a:gd name="T0" fmla="*/ 137111692 w 7049"/>
                <a:gd name="T1" fmla="*/ 477246726 h 2048"/>
                <a:gd name="T2" fmla="*/ 202358326 w 7049"/>
                <a:gd name="T3" fmla="*/ 533425873 h 2048"/>
                <a:gd name="T4" fmla="*/ 229212974 w 7049"/>
                <a:gd name="T5" fmla="*/ 499553291 h 2048"/>
                <a:gd name="T6" fmla="*/ 316586251 w 7049"/>
                <a:gd name="T7" fmla="*/ 404544546 h 2048"/>
                <a:gd name="T8" fmla="*/ 495115383 w 7049"/>
                <a:gd name="T9" fmla="*/ 362134941 h 2048"/>
                <a:gd name="T10" fmla="*/ 633551282 w 7049"/>
                <a:gd name="T11" fmla="*/ 411429055 h 2048"/>
                <a:gd name="T12" fmla="*/ 695204076 w 7049"/>
                <a:gd name="T13" fmla="*/ 396007524 h 2048"/>
                <a:gd name="T14" fmla="*/ 782199444 w 7049"/>
                <a:gd name="T15" fmla="*/ 410878567 h 2048"/>
                <a:gd name="T16" fmla="*/ 865600972 w 7049"/>
                <a:gd name="T17" fmla="*/ 415560075 h 2048"/>
                <a:gd name="T18" fmla="*/ 900020774 w 7049"/>
                <a:gd name="T19" fmla="*/ 377831979 h 2048"/>
                <a:gd name="T20" fmla="*/ 975101327 w 7049"/>
                <a:gd name="T21" fmla="*/ 406472041 h 2048"/>
                <a:gd name="T22" fmla="*/ 1061718350 w 7049"/>
                <a:gd name="T23" fmla="*/ 440069642 h 2048"/>
                <a:gd name="T24" fmla="*/ 1059827061 w 7049"/>
                <a:gd name="T25" fmla="*/ 507814807 h 2048"/>
                <a:gd name="T26" fmla="*/ 1106917932 w 7049"/>
                <a:gd name="T27" fmla="*/ 443925156 h 2048"/>
                <a:gd name="T28" fmla="*/ 1053396940 w 7049"/>
                <a:gd name="T29" fmla="*/ 345886891 h 2048"/>
                <a:gd name="T30" fmla="*/ 1008197358 w 7049"/>
                <a:gd name="T31" fmla="*/ 315869822 h 2048"/>
                <a:gd name="T32" fmla="*/ 1107674187 w 7049"/>
                <a:gd name="T33" fmla="*/ 270430698 h 2048"/>
                <a:gd name="T34" fmla="*/ 1129801265 w 7049"/>
                <a:gd name="T35" fmla="*/ 226368580 h 2048"/>
                <a:gd name="T36" fmla="*/ 1159682235 w 7049"/>
                <a:gd name="T37" fmla="*/ 209570042 h 2048"/>
                <a:gd name="T38" fmla="*/ 1171596615 w 7049"/>
                <a:gd name="T39" fmla="*/ 268227697 h 2048"/>
                <a:gd name="T40" fmla="*/ 1201288413 w 7049"/>
                <a:gd name="T41" fmla="*/ 344509884 h 2048"/>
                <a:gd name="T42" fmla="*/ 1243462107 w 7049"/>
                <a:gd name="T43" fmla="*/ 388296496 h 2048"/>
                <a:gd name="T44" fmla="*/ 1241759991 w 7049"/>
                <a:gd name="T45" fmla="*/ 334320874 h 2048"/>
                <a:gd name="T46" fmla="*/ 1205260163 w 7049"/>
                <a:gd name="T47" fmla="*/ 285577247 h 2048"/>
                <a:gd name="T48" fmla="*/ 1238167021 w 7049"/>
                <a:gd name="T49" fmla="*/ 243718130 h 2048"/>
                <a:gd name="T50" fmla="*/ 1286203319 w 7049"/>
                <a:gd name="T51" fmla="*/ 215904063 h 2048"/>
                <a:gd name="T52" fmla="*/ 1253485633 w 7049"/>
                <a:gd name="T53" fmla="*/ 170189432 h 2048"/>
                <a:gd name="T54" fmla="*/ 1285824974 w 7049"/>
                <a:gd name="T55" fmla="*/ 175146446 h 2048"/>
                <a:gd name="T56" fmla="*/ 1297550617 w 7049"/>
                <a:gd name="T57" fmla="*/ 149535380 h 2048"/>
                <a:gd name="T58" fmla="*/ 1229278094 w 7049"/>
                <a:gd name="T59" fmla="*/ 127229339 h 2048"/>
                <a:gd name="T60" fmla="*/ 1105026644 w 7049"/>
                <a:gd name="T61" fmla="*/ 112908784 h 2048"/>
                <a:gd name="T62" fmla="*/ 1076658617 w 7049"/>
                <a:gd name="T63" fmla="*/ 114285790 h 2048"/>
                <a:gd name="T64" fmla="*/ 943896585 w 7049"/>
                <a:gd name="T65" fmla="*/ 96661258 h 2048"/>
                <a:gd name="T66" fmla="*/ 894158170 w 7049"/>
                <a:gd name="T67" fmla="*/ 79862195 h 2048"/>
                <a:gd name="T68" fmla="*/ 834396230 w 7049"/>
                <a:gd name="T69" fmla="*/ 79862195 h 2048"/>
                <a:gd name="T70" fmla="*/ 758181077 w 7049"/>
                <a:gd name="T71" fmla="*/ 87573223 h 2048"/>
                <a:gd name="T72" fmla="*/ 675914149 w 7049"/>
                <a:gd name="T73" fmla="*/ 71876186 h 2048"/>
                <a:gd name="T74" fmla="*/ 622203985 w 7049"/>
                <a:gd name="T75" fmla="*/ 67194677 h 2048"/>
                <a:gd name="T76" fmla="*/ 568872165 w 7049"/>
                <a:gd name="T77" fmla="*/ 64716170 h 2048"/>
                <a:gd name="T78" fmla="*/ 515162000 w 7049"/>
                <a:gd name="T79" fmla="*/ 15972544 h 2048"/>
                <a:gd name="T80" fmla="*/ 494926211 w 7049"/>
                <a:gd name="T81" fmla="*/ 38554091 h 2048"/>
                <a:gd name="T82" fmla="*/ 403581619 w 7049"/>
                <a:gd name="T83" fmla="*/ 45989613 h 2048"/>
                <a:gd name="T84" fmla="*/ 408309623 w 7049"/>
                <a:gd name="T85" fmla="*/ 55077647 h 2048"/>
                <a:gd name="T86" fmla="*/ 415685171 w 7049"/>
                <a:gd name="T87" fmla="*/ 94182751 h 2048"/>
                <a:gd name="T88" fmla="*/ 365568411 w 7049"/>
                <a:gd name="T89" fmla="*/ 70499179 h 2048"/>
                <a:gd name="T90" fmla="*/ 337957075 w 7049"/>
                <a:gd name="T91" fmla="*/ 75180687 h 2048"/>
                <a:gd name="T92" fmla="*/ 362542523 w 7049"/>
                <a:gd name="T93" fmla="*/ 122822813 h 2048"/>
                <a:gd name="T94" fmla="*/ 392612666 w 7049"/>
                <a:gd name="T95" fmla="*/ 145679866 h 2048"/>
                <a:gd name="T96" fmla="*/ 356112403 w 7049"/>
                <a:gd name="T97" fmla="*/ 163304923 h 2048"/>
                <a:gd name="T98" fmla="*/ 346467222 w 7049"/>
                <a:gd name="T99" fmla="*/ 127779827 h 2048"/>
                <a:gd name="T100" fmla="*/ 306563160 w 7049"/>
                <a:gd name="T101" fmla="*/ 63614670 h 2048"/>
                <a:gd name="T102" fmla="*/ 306941505 w 7049"/>
                <a:gd name="T103" fmla="*/ 124199819 h 2048"/>
                <a:gd name="T104" fmla="*/ 234130151 w 7049"/>
                <a:gd name="T105" fmla="*/ 109328776 h 2048"/>
                <a:gd name="T106" fmla="*/ 226565431 w 7049"/>
                <a:gd name="T107" fmla="*/ 131359835 h 2048"/>
                <a:gd name="T108" fmla="*/ 171720667 w 7049"/>
                <a:gd name="T109" fmla="*/ 137693856 h 2048"/>
                <a:gd name="T110" fmla="*/ 130870744 w 7049"/>
                <a:gd name="T111" fmla="*/ 133012348 h 2048"/>
                <a:gd name="T112" fmla="*/ 113850015 w 7049"/>
                <a:gd name="T113" fmla="*/ 161101922 h 2048"/>
                <a:gd name="T114" fmla="*/ 76971842 w 7049"/>
                <a:gd name="T115" fmla="*/ 203511527 h 2048"/>
                <a:gd name="T116" fmla="*/ 73756781 w 7049"/>
                <a:gd name="T117" fmla="*/ 168537444 h 2048"/>
                <a:gd name="T118" fmla="*/ 28368026 w 7049"/>
                <a:gd name="T119" fmla="*/ 121170824 h 2048"/>
                <a:gd name="T120" fmla="*/ 13427324 w 7049"/>
                <a:gd name="T121" fmla="*/ 166609424 h 2048"/>
                <a:gd name="T122" fmla="*/ 21181216 w 7049"/>
                <a:gd name="T123" fmla="*/ 263821170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 name="Freeform 23">
              <a:extLst>
                <a:ext uri="{FF2B5EF4-FFF2-40B4-BE49-F238E27FC236}">
                  <a16:creationId xmlns:a16="http://schemas.microsoft.com/office/drawing/2014/main" id="{B92845C0-01F5-41D3-96E2-348D058C7C8B}"/>
                </a:ext>
              </a:extLst>
            </p:cNvPr>
            <p:cNvSpPr>
              <a:spLocks/>
            </p:cNvSpPr>
            <p:nvPr>
              <p:custDataLst>
                <p:tags r:id="rId18"/>
              </p:custDataLst>
            </p:nvPr>
          </p:nvSpPr>
          <p:spPr bwMode="auto">
            <a:xfrm>
              <a:off x="3795713" y="2622550"/>
              <a:ext cx="280987" cy="247650"/>
            </a:xfrm>
            <a:custGeom>
              <a:avLst/>
              <a:gdLst>
                <a:gd name="T0" fmla="*/ 76575689 w 647"/>
                <a:gd name="T1" fmla="*/ 7496418 h 470"/>
                <a:gd name="T2" fmla="*/ 80724916 w 647"/>
                <a:gd name="T3" fmla="*/ 12493679 h 470"/>
                <a:gd name="T4" fmla="*/ 86383308 w 647"/>
                <a:gd name="T5" fmla="*/ 16658414 h 470"/>
                <a:gd name="T6" fmla="*/ 96568327 w 647"/>
                <a:gd name="T7" fmla="*/ 21655675 h 470"/>
                <a:gd name="T8" fmla="*/ 101471919 w 647"/>
                <a:gd name="T9" fmla="*/ 22488728 h 470"/>
                <a:gd name="T10" fmla="*/ 105998546 w 647"/>
                <a:gd name="T11" fmla="*/ 27486515 h 470"/>
                <a:gd name="T12" fmla="*/ 106941828 w 647"/>
                <a:gd name="T13" fmla="*/ 26931147 h 470"/>
                <a:gd name="T14" fmla="*/ 108450559 w 647"/>
                <a:gd name="T15" fmla="*/ 23599464 h 470"/>
                <a:gd name="T16" fmla="*/ 109959290 w 647"/>
                <a:gd name="T17" fmla="*/ 21655675 h 470"/>
                <a:gd name="T18" fmla="*/ 113731551 w 647"/>
                <a:gd name="T19" fmla="*/ 22211044 h 470"/>
                <a:gd name="T20" fmla="*/ 117692295 w 647"/>
                <a:gd name="T21" fmla="*/ 21933359 h 470"/>
                <a:gd name="T22" fmla="*/ 120710191 w 647"/>
                <a:gd name="T23" fmla="*/ 23321780 h 470"/>
                <a:gd name="T24" fmla="*/ 121841956 w 647"/>
                <a:gd name="T25" fmla="*/ 28596725 h 470"/>
                <a:gd name="T26" fmla="*/ 121841956 w 647"/>
                <a:gd name="T27" fmla="*/ 34149881 h 470"/>
                <a:gd name="T28" fmla="*/ 116560964 w 647"/>
                <a:gd name="T29" fmla="*/ 36370827 h 470"/>
                <a:gd name="T30" fmla="*/ 110525172 w 647"/>
                <a:gd name="T31" fmla="*/ 40535563 h 470"/>
                <a:gd name="T32" fmla="*/ 105621580 w 647"/>
                <a:gd name="T33" fmla="*/ 45810508 h 470"/>
                <a:gd name="T34" fmla="*/ 95059162 w 647"/>
                <a:gd name="T35" fmla="*/ 59414923 h 470"/>
                <a:gd name="T36" fmla="*/ 92230183 w 647"/>
                <a:gd name="T37" fmla="*/ 63024290 h 470"/>
                <a:gd name="T38" fmla="*/ 89400770 w 647"/>
                <a:gd name="T39" fmla="*/ 70520182 h 470"/>
                <a:gd name="T40" fmla="*/ 89212287 w 647"/>
                <a:gd name="T41" fmla="*/ 78294284 h 470"/>
                <a:gd name="T42" fmla="*/ 89212287 w 647"/>
                <a:gd name="T43" fmla="*/ 86346071 h 470"/>
                <a:gd name="T44" fmla="*/ 87326156 w 647"/>
                <a:gd name="T45" fmla="*/ 94397330 h 470"/>
                <a:gd name="T46" fmla="*/ 84874143 w 647"/>
                <a:gd name="T47" fmla="*/ 98284381 h 470"/>
                <a:gd name="T48" fmla="*/ 77518537 w 647"/>
                <a:gd name="T49" fmla="*/ 106613325 h 470"/>
                <a:gd name="T50" fmla="*/ 72237545 w 647"/>
                <a:gd name="T51" fmla="*/ 114109743 h 470"/>
                <a:gd name="T52" fmla="*/ 70539897 w 647"/>
                <a:gd name="T53" fmla="*/ 117996794 h 470"/>
                <a:gd name="T54" fmla="*/ 69597049 w 647"/>
                <a:gd name="T55" fmla="*/ 119940056 h 470"/>
                <a:gd name="T56" fmla="*/ 58469182 w 647"/>
                <a:gd name="T57" fmla="*/ 119107004 h 470"/>
                <a:gd name="T58" fmla="*/ 48472646 w 647"/>
                <a:gd name="T59" fmla="*/ 120495425 h 470"/>
                <a:gd name="T60" fmla="*/ 42248371 w 647"/>
                <a:gd name="T61" fmla="*/ 123827108 h 470"/>
                <a:gd name="T62" fmla="*/ 36401497 w 647"/>
                <a:gd name="T63" fmla="*/ 129657421 h 470"/>
                <a:gd name="T64" fmla="*/ 33761001 w 647"/>
                <a:gd name="T65" fmla="*/ 130212789 h 470"/>
                <a:gd name="T66" fmla="*/ 31874870 w 647"/>
                <a:gd name="T67" fmla="*/ 127991843 h 470"/>
                <a:gd name="T68" fmla="*/ 28857408 w 647"/>
                <a:gd name="T69" fmla="*/ 119940056 h 470"/>
                <a:gd name="T70" fmla="*/ 26405395 w 647"/>
                <a:gd name="T71" fmla="*/ 114942796 h 470"/>
                <a:gd name="T72" fmla="*/ 23010534 w 647"/>
                <a:gd name="T73" fmla="*/ 111055744 h 470"/>
                <a:gd name="T74" fmla="*/ 21501368 w 647"/>
                <a:gd name="T75" fmla="*/ 105225431 h 470"/>
                <a:gd name="T76" fmla="*/ 23764899 w 647"/>
                <a:gd name="T77" fmla="*/ 93286594 h 470"/>
                <a:gd name="T78" fmla="*/ 23953382 w 647"/>
                <a:gd name="T79" fmla="*/ 74129549 h 470"/>
                <a:gd name="T80" fmla="*/ 27725643 w 647"/>
                <a:gd name="T81" fmla="*/ 57193450 h 470"/>
                <a:gd name="T82" fmla="*/ 31686387 w 647"/>
                <a:gd name="T83" fmla="*/ 41368088 h 470"/>
                <a:gd name="T84" fmla="*/ 32440753 w 647"/>
                <a:gd name="T85" fmla="*/ 36370827 h 470"/>
                <a:gd name="T86" fmla="*/ 21878768 w 647"/>
                <a:gd name="T87" fmla="*/ 34149881 h 470"/>
                <a:gd name="T88" fmla="*/ 11693750 w 647"/>
                <a:gd name="T89" fmla="*/ 30262830 h 470"/>
                <a:gd name="T90" fmla="*/ 3206379 w 647"/>
                <a:gd name="T91" fmla="*/ 25820411 h 470"/>
                <a:gd name="T92" fmla="*/ 0 w 647"/>
                <a:gd name="T93" fmla="*/ 10550417 h 470"/>
                <a:gd name="T94" fmla="*/ 4338144 w 647"/>
                <a:gd name="T95" fmla="*/ 9439680 h 470"/>
                <a:gd name="T96" fmla="*/ 9619136 w 647"/>
                <a:gd name="T97" fmla="*/ 5552629 h 470"/>
                <a:gd name="T98" fmla="*/ 13768363 w 647"/>
                <a:gd name="T99" fmla="*/ 1110737 h 470"/>
                <a:gd name="T100" fmla="*/ 16220376 w 647"/>
                <a:gd name="T101" fmla="*/ 0 h 470"/>
                <a:gd name="T102" fmla="*/ 24896664 w 647"/>
                <a:gd name="T103" fmla="*/ 1943262 h 470"/>
                <a:gd name="T104" fmla="*/ 32252270 w 647"/>
                <a:gd name="T105" fmla="*/ 4720104 h 470"/>
                <a:gd name="T106" fmla="*/ 39419393 w 647"/>
                <a:gd name="T107" fmla="*/ 5552629 h 470"/>
                <a:gd name="T108" fmla="*/ 44323419 w 647"/>
                <a:gd name="T109" fmla="*/ 8051786 h 470"/>
                <a:gd name="T110" fmla="*/ 48661129 w 647"/>
                <a:gd name="T111" fmla="*/ 10272733 h 470"/>
                <a:gd name="T112" fmla="*/ 72614511 w 647"/>
                <a:gd name="T113" fmla="*/ 7218734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 name="Freeform 24">
              <a:extLst>
                <a:ext uri="{FF2B5EF4-FFF2-40B4-BE49-F238E27FC236}">
                  <a16:creationId xmlns:a16="http://schemas.microsoft.com/office/drawing/2014/main" id="{AEAA94B3-BEE1-4B29-82B3-C7EA37255498}"/>
                </a:ext>
              </a:extLst>
            </p:cNvPr>
            <p:cNvSpPr>
              <a:spLocks/>
            </p:cNvSpPr>
            <p:nvPr>
              <p:custDataLst>
                <p:tags r:id="rId19"/>
              </p:custDataLst>
            </p:nvPr>
          </p:nvSpPr>
          <p:spPr bwMode="auto">
            <a:xfrm>
              <a:off x="6427788" y="3360738"/>
              <a:ext cx="207962" cy="455612"/>
            </a:xfrm>
            <a:custGeom>
              <a:avLst/>
              <a:gdLst>
                <a:gd name="T0" fmla="*/ 71439072 w 479"/>
                <a:gd name="T1" fmla="*/ 98360443 h 868"/>
                <a:gd name="T2" fmla="*/ 62768489 w 479"/>
                <a:gd name="T3" fmla="*/ 101942359 h 868"/>
                <a:gd name="T4" fmla="*/ 59187114 w 479"/>
                <a:gd name="T5" fmla="*/ 107452757 h 868"/>
                <a:gd name="T6" fmla="*/ 59563964 w 479"/>
                <a:gd name="T7" fmla="*/ 117922408 h 868"/>
                <a:gd name="T8" fmla="*/ 66349864 w 479"/>
                <a:gd name="T9" fmla="*/ 135555890 h 868"/>
                <a:gd name="T10" fmla="*/ 67669272 w 479"/>
                <a:gd name="T11" fmla="*/ 146025541 h 868"/>
                <a:gd name="T12" fmla="*/ 68988680 w 479"/>
                <a:gd name="T13" fmla="*/ 152913276 h 868"/>
                <a:gd name="T14" fmla="*/ 60883372 w 479"/>
                <a:gd name="T15" fmla="*/ 144923252 h 868"/>
                <a:gd name="T16" fmla="*/ 58244556 w 479"/>
                <a:gd name="T17" fmla="*/ 135555890 h 868"/>
                <a:gd name="T18" fmla="*/ 50704956 w 479"/>
                <a:gd name="T19" fmla="*/ 128667631 h 868"/>
                <a:gd name="T20" fmla="*/ 39583548 w 479"/>
                <a:gd name="T21" fmla="*/ 120953179 h 868"/>
                <a:gd name="T22" fmla="*/ 36379457 w 479"/>
                <a:gd name="T23" fmla="*/ 111860865 h 868"/>
                <a:gd name="T24" fmla="*/ 29405132 w 479"/>
                <a:gd name="T25" fmla="*/ 131422830 h 868"/>
                <a:gd name="T26" fmla="*/ 29405132 w 479"/>
                <a:gd name="T27" fmla="*/ 144372107 h 868"/>
                <a:gd name="T28" fmla="*/ 24881199 w 479"/>
                <a:gd name="T29" fmla="*/ 158423674 h 868"/>
                <a:gd name="T30" fmla="*/ 24127065 w 479"/>
                <a:gd name="T31" fmla="*/ 171097904 h 868"/>
                <a:gd name="T32" fmla="*/ 29027848 w 479"/>
                <a:gd name="T33" fmla="*/ 179087928 h 868"/>
                <a:gd name="T34" fmla="*/ 32986507 w 479"/>
                <a:gd name="T35" fmla="*/ 188730862 h 868"/>
                <a:gd name="T36" fmla="*/ 34871190 w 479"/>
                <a:gd name="T37" fmla="*/ 201129519 h 868"/>
                <a:gd name="T38" fmla="*/ 42599648 w 479"/>
                <a:gd name="T39" fmla="*/ 214905513 h 868"/>
                <a:gd name="T40" fmla="*/ 52966923 w 479"/>
                <a:gd name="T41" fmla="*/ 227303646 h 868"/>
                <a:gd name="T42" fmla="*/ 64087897 w 479"/>
                <a:gd name="T43" fmla="*/ 234191906 h 868"/>
                <a:gd name="T44" fmla="*/ 56171014 w 479"/>
                <a:gd name="T45" fmla="*/ 238875586 h 868"/>
                <a:gd name="T46" fmla="*/ 50704956 w 479"/>
                <a:gd name="T47" fmla="*/ 238048869 h 868"/>
                <a:gd name="T48" fmla="*/ 43164923 w 479"/>
                <a:gd name="T49" fmla="*/ 231712279 h 868"/>
                <a:gd name="T50" fmla="*/ 37698865 w 479"/>
                <a:gd name="T51" fmla="*/ 226753026 h 868"/>
                <a:gd name="T52" fmla="*/ 25823757 w 479"/>
                <a:gd name="T53" fmla="*/ 209119543 h 868"/>
                <a:gd name="T54" fmla="*/ 15644907 w 479"/>
                <a:gd name="T55" fmla="*/ 201129519 h 868"/>
                <a:gd name="T56" fmla="*/ 13948650 w 479"/>
                <a:gd name="T57" fmla="*/ 189557579 h 868"/>
                <a:gd name="T58" fmla="*/ 15079633 w 479"/>
                <a:gd name="T59" fmla="*/ 179914645 h 868"/>
                <a:gd name="T60" fmla="*/ 16587466 w 479"/>
                <a:gd name="T61" fmla="*/ 169995614 h 868"/>
                <a:gd name="T62" fmla="*/ 22619232 w 479"/>
                <a:gd name="T63" fmla="*/ 137208800 h 868"/>
                <a:gd name="T64" fmla="*/ 20357266 w 479"/>
                <a:gd name="T65" fmla="*/ 111310245 h 868"/>
                <a:gd name="T66" fmla="*/ 11686683 w 479"/>
                <a:gd name="T67" fmla="*/ 87890792 h 868"/>
                <a:gd name="T68" fmla="*/ 12063533 w 479"/>
                <a:gd name="T69" fmla="*/ 78522906 h 868"/>
                <a:gd name="T70" fmla="*/ 13948650 w 479"/>
                <a:gd name="T71" fmla="*/ 73012508 h 868"/>
                <a:gd name="T72" fmla="*/ 10555700 w 479"/>
                <a:gd name="T73" fmla="*/ 55655123 h 868"/>
                <a:gd name="T74" fmla="*/ 4335508 w 479"/>
                <a:gd name="T75" fmla="*/ 43532037 h 868"/>
                <a:gd name="T76" fmla="*/ 188425 w 479"/>
                <a:gd name="T77" fmla="*/ 28103134 h 868"/>
                <a:gd name="T78" fmla="*/ 2073542 w 479"/>
                <a:gd name="T79" fmla="*/ 12123085 h 868"/>
                <a:gd name="T80" fmla="*/ 9236291 w 479"/>
                <a:gd name="T81" fmla="*/ 4408108 h 868"/>
                <a:gd name="T82" fmla="*/ 22619232 w 479"/>
                <a:gd name="T83" fmla="*/ 0 h 868"/>
                <a:gd name="T84" fmla="*/ 29405132 w 479"/>
                <a:gd name="T85" fmla="*/ 7714452 h 868"/>
                <a:gd name="T86" fmla="*/ 33740206 w 479"/>
                <a:gd name="T87" fmla="*/ 9918506 h 868"/>
                <a:gd name="T88" fmla="*/ 37133156 w 479"/>
                <a:gd name="T89" fmla="*/ 37470495 h 868"/>
                <a:gd name="T90" fmla="*/ 40149257 w 479"/>
                <a:gd name="T91" fmla="*/ 45736092 h 868"/>
                <a:gd name="T92" fmla="*/ 43542207 w 479"/>
                <a:gd name="T93" fmla="*/ 42705320 h 868"/>
                <a:gd name="T94" fmla="*/ 48631414 w 479"/>
                <a:gd name="T95" fmla="*/ 34715296 h 868"/>
                <a:gd name="T96" fmla="*/ 52966923 w 479"/>
                <a:gd name="T97" fmla="*/ 38848357 h 868"/>
                <a:gd name="T98" fmla="*/ 56171014 w 479"/>
                <a:gd name="T99" fmla="*/ 37470495 h 868"/>
                <a:gd name="T100" fmla="*/ 59563964 w 479"/>
                <a:gd name="T101" fmla="*/ 29756043 h 868"/>
                <a:gd name="T102" fmla="*/ 65218880 w 479"/>
                <a:gd name="T103" fmla="*/ 29756043 h 868"/>
                <a:gd name="T104" fmla="*/ 72946905 w 479"/>
                <a:gd name="T105" fmla="*/ 43256465 h 868"/>
                <a:gd name="T106" fmla="*/ 85576146 w 479"/>
                <a:gd name="T107" fmla="*/ 67777683 h 868"/>
                <a:gd name="T108" fmla="*/ 90100079 w 479"/>
                <a:gd name="T109" fmla="*/ 84584448 h 868"/>
                <a:gd name="T110" fmla="*/ 88214962 w 479"/>
                <a:gd name="T111" fmla="*/ 93125618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US"/>
            </a:p>
          </p:txBody>
        </p:sp>
        <p:sp>
          <p:nvSpPr>
            <p:cNvPr id="32" name="Freeform 25">
              <a:extLst>
                <a:ext uri="{FF2B5EF4-FFF2-40B4-BE49-F238E27FC236}">
                  <a16:creationId xmlns:a16="http://schemas.microsoft.com/office/drawing/2014/main" id="{E2C6C40B-0B03-4E7C-9729-E12235982E36}"/>
                </a:ext>
              </a:extLst>
            </p:cNvPr>
            <p:cNvSpPr>
              <a:spLocks/>
            </p:cNvSpPr>
            <p:nvPr>
              <p:custDataLst>
                <p:tags r:id="rId20"/>
              </p:custDataLst>
            </p:nvPr>
          </p:nvSpPr>
          <p:spPr bwMode="auto">
            <a:xfrm>
              <a:off x="2536825" y="5748338"/>
              <a:ext cx="23813" cy="57150"/>
            </a:xfrm>
            <a:custGeom>
              <a:avLst/>
              <a:gdLst>
                <a:gd name="T0" fmla="*/ 0 w 53"/>
                <a:gd name="T1" fmla="*/ 72378971 h 19"/>
                <a:gd name="T2" fmla="*/ 1413054 w 53"/>
                <a:gd name="T3" fmla="*/ 117617708 h 19"/>
                <a:gd name="T4" fmla="*/ 2826109 w 53"/>
                <a:gd name="T5" fmla="*/ 153805689 h 19"/>
                <a:gd name="T6" fmla="*/ 4441349 w 53"/>
                <a:gd name="T7" fmla="*/ 171901184 h 19"/>
                <a:gd name="T8" fmla="*/ 5854404 w 53"/>
                <a:gd name="T9" fmla="*/ 171901184 h 19"/>
                <a:gd name="T10" fmla="*/ 7065721 w 53"/>
                <a:gd name="T11" fmla="*/ 162853437 h 19"/>
                <a:gd name="T12" fmla="*/ 8478776 w 53"/>
                <a:gd name="T13" fmla="*/ 135710195 h 19"/>
                <a:gd name="T14" fmla="*/ 9487908 w 53"/>
                <a:gd name="T15" fmla="*/ 108569961 h 19"/>
                <a:gd name="T16" fmla="*/ 10699226 w 53"/>
                <a:gd name="T17" fmla="*/ 72378971 h 19"/>
                <a:gd name="T18" fmla="*/ 9487908 w 53"/>
                <a:gd name="T19" fmla="*/ 45235729 h 19"/>
                <a:gd name="T20" fmla="*/ 8478776 w 53"/>
                <a:gd name="T21" fmla="*/ 18095495 h 19"/>
                <a:gd name="T22" fmla="*/ 7065721 w 53"/>
                <a:gd name="T23" fmla="*/ 9047747 h 19"/>
                <a:gd name="T24" fmla="*/ 5854404 w 53"/>
                <a:gd name="T25" fmla="*/ 0 h 19"/>
                <a:gd name="T26" fmla="*/ 4441349 w 53"/>
                <a:gd name="T27" fmla="*/ 0 h 19"/>
                <a:gd name="T28" fmla="*/ 2826109 w 53"/>
                <a:gd name="T29" fmla="*/ 9047747 h 19"/>
                <a:gd name="T30" fmla="*/ 1413054 w 53"/>
                <a:gd name="T31" fmla="*/ 27143242 h 19"/>
                <a:gd name="T32" fmla="*/ 0 w 53"/>
                <a:gd name="T33" fmla="*/ 72378971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a:p>
          </p:txBody>
        </p:sp>
        <p:sp>
          <p:nvSpPr>
            <p:cNvPr id="33" name="Line 26" descr="Horizontal dunkel">
              <a:extLst>
                <a:ext uri="{FF2B5EF4-FFF2-40B4-BE49-F238E27FC236}">
                  <a16:creationId xmlns:a16="http://schemas.microsoft.com/office/drawing/2014/main" id="{7C8B86C0-FB37-4C77-9D7C-32B68E2BB3A0}"/>
                </a:ext>
              </a:extLst>
            </p:cNvPr>
            <p:cNvSpPr>
              <a:spLocks noChangeShapeType="1"/>
            </p:cNvSpPr>
            <p:nvPr>
              <p:custDataLst>
                <p:tags r:id="rId21"/>
              </p:custDataLst>
            </p:nvPr>
          </p:nvSpPr>
          <p:spPr bwMode="auto">
            <a:xfrm>
              <a:off x="998538" y="2670175"/>
              <a:ext cx="3175"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4" name="Freeform 27">
              <a:extLst>
                <a:ext uri="{FF2B5EF4-FFF2-40B4-BE49-F238E27FC236}">
                  <a16:creationId xmlns:a16="http://schemas.microsoft.com/office/drawing/2014/main" id="{A743E536-43C9-423D-AFFB-21D3116B74E3}"/>
                </a:ext>
              </a:extLst>
            </p:cNvPr>
            <p:cNvSpPr>
              <a:spLocks/>
            </p:cNvSpPr>
            <p:nvPr>
              <p:custDataLst>
                <p:tags r:id="rId22"/>
              </p:custDataLst>
            </p:nvPr>
          </p:nvSpPr>
          <p:spPr bwMode="auto">
            <a:xfrm>
              <a:off x="1001713" y="2667000"/>
              <a:ext cx="3175" cy="55563"/>
            </a:xfrm>
            <a:custGeom>
              <a:avLst/>
              <a:gdLst>
                <a:gd name="T0" fmla="*/ 0 w 6"/>
                <a:gd name="T1" fmla="*/ 128630660 h 24"/>
                <a:gd name="T2" fmla="*/ 0 w 6"/>
                <a:gd name="T3" fmla="*/ 101833571 h 24"/>
                <a:gd name="T4" fmla="*/ 279929 w 6"/>
                <a:gd name="T5" fmla="*/ 75034166 h 24"/>
                <a:gd name="T6" fmla="*/ 840317 w 6"/>
                <a:gd name="T7" fmla="*/ 42877658 h 24"/>
                <a:gd name="T8" fmla="*/ 1680104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US"/>
            </a:p>
          </p:txBody>
        </p:sp>
        <p:sp>
          <p:nvSpPr>
            <p:cNvPr id="35" name="Freeform 28">
              <a:extLst>
                <a:ext uri="{FF2B5EF4-FFF2-40B4-BE49-F238E27FC236}">
                  <a16:creationId xmlns:a16="http://schemas.microsoft.com/office/drawing/2014/main" id="{1407DB99-BD88-4F89-9192-86EF313D0CC6}"/>
                </a:ext>
              </a:extLst>
            </p:cNvPr>
            <p:cNvSpPr>
              <a:spLocks/>
            </p:cNvSpPr>
            <p:nvPr>
              <p:custDataLst>
                <p:tags r:id="rId23"/>
              </p:custDataLst>
            </p:nvPr>
          </p:nvSpPr>
          <p:spPr bwMode="auto">
            <a:xfrm>
              <a:off x="977900" y="2720975"/>
              <a:ext cx="23813" cy="57150"/>
            </a:xfrm>
            <a:custGeom>
              <a:avLst/>
              <a:gdLst>
                <a:gd name="T0" fmla="*/ 0 w 47"/>
                <a:gd name="T1" fmla="*/ 17462310 h 67"/>
                <a:gd name="T2" fmla="*/ 0 w 47"/>
                <a:gd name="T3" fmla="*/ 21827888 h 67"/>
                <a:gd name="T4" fmla="*/ 513246 w 47"/>
                <a:gd name="T5" fmla="*/ 26192613 h 67"/>
                <a:gd name="T6" fmla="*/ 770123 w 47"/>
                <a:gd name="T7" fmla="*/ 30558190 h 67"/>
                <a:gd name="T8" fmla="*/ 1283369 w 47"/>
                <a:gd name="T9" fmla="*/ 34196172 h 67"/>
                <a:gd name="T10" fmla="*/ 2310368 w 47"/>
                <a:gd name="T11" fmla="*/ 42199731 h 67"/>
                <a:gd name="T12" fmla="*/ 3593736 w 47"/>
                <a:gd name="T13" fmla="*/ 48748097 h 67"/>
                <a:gd name="T14" fmla="*/ 12065084 w 47"/>
                <a:gd name="T15" fmla="*/ 48748097 h 67"/>
                <a:gd name="T16" fmla="*/ 12065084 w 47"/>
                <a:gd name="T17" fmla="*/ 0 h 67"/>
                <a:gd name="T18" fmla="*/ 9241471 w 47"/>
                <a:gd name="T19" fmla="*/ 1455193 h 67"/>
                <a:gd name="T20" fmla="*/ 6674227 w 47"/>
                <a:gd name="T21" fmla="*/ 2910385 h 67"/>
                <a:gd name="T22" fmla="*/ 4620735 w 47"/>
                <a:gd name="T23" fmla="*/ 5093174 h 67"/>
                <a:gd name="T24" fmla="*/ 2823614 w 47"/>
                <a:gd name="T25" fmla="*/ 6548366 h 67"/>
                <a:gd name="T26" fmla="*/ 1540245 w 47"/>
                <a:gd name="T27" fmla="*/ 8731155 h 67"/>
                <a:gd name="T28" fmla="*/ 770123 w 47"/>
                <a:gd name="T29" fmla="*/ 11641540 h 67"/>
                <a:gd name="T30" fmla="*/ 0 w 47"/>
                <a:gd name="T31" fmla="*/ 14551925 h 67"/>
                <a:gd name="T32" fmla="*/ 0 w 47"/>
                <a:gd name="T33" fmla="*/ 17462310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US"/>
            </a:p>
          </p:txBody>
        </p:sp>
        <p:sp>
          <p:nvSpPr>
            <p:cNvPr id="36" name="Freeform 29">
              <a:extLst>
                <a:ext uri="{FF2B5EF4-FFF2-40B4-BE49-F238E27FC236}">
                  <a16:creationId xmlns:a16="http://schemas.microsoft.com/office/drawing/2014/main" id="{69A05432-8998-496D-A496-CBC4AE11F57A}"/>
                </a:ext>
              </a:extLst>
            </p:cNvPr>
            <p:cNvSpPr>
              <a:spLocks/>
            </p:cNvSpPr>
            <p:nvPr>
              <p:custDataLst>
                <p:tags r:id="rId24"/>
              </p:custDataLst>
            </p:nvPr>
          </p:nvSpPr>
          <p:spPr bwMode="auto">
            <a:xfrm>
              <a:off x="2303463" y="2716213"/>
              <a:ext cx="49212" cy="57150"/>
            </a:xfrm>
            <a:custGeom>
              <a:avLst/>
              <a:gdLst>
                <a:gd name="T0" fmla="*/ 0 w 112"/>
                <a:gd name="T1" fmla="*/ 90725625 h 36"/>
                <a:gd name="T2" fmla="*/ 11390820 w 112"/>
                <a:gd name="T3" fmla="*/ 90725625 h 36"/>
                <a:gd name="T4" fmla="*/ 12935286 w 112"/>
                <a:gd name="T5" fmla="*/ 75604688 h 36"/>
                <a:gd name="T6" fmla="*/ 14479752 w 112"/>
                <a:gd name="T7" fmla="*/ 65524063 h 36"/>
                <a:gd name="T8" fmla="*/ 16217551 w 112"/>
                <a:gd name="T9" fmla="*/ 57964388 h 36"/>
                <a:gd name="T10" fmla="*/ 17569123 w 112"/>
                <a:gd name="T11" fmla="*/ 50403125 h 36"/>
                <a:gd name="T12" fmla="*/ 18920696 w 112"/>
                <a:gd name="T13" fmla="*/ 42843450 h 36"/>
                <a:gd name="T14" fmla="*/ 20078935 w 112"/>
                <a:gd name="T15" fmla="*/ 32762825 h 36"/>
                <a:gd name="T16" fmla="*/ 20658055 w 112"/>
                <a:gd name="T17" fmla="*/ 27722513 h 36"/>
                <a:gd name="T18" fmla="*/ 21044282 w 112"/>
                <a:gd name="T19" fmla="*/ 20161250 h 36"/>
                <a:gd name="T20" fmla="*/ 21430508 w 112"/>
                <a:gd name="T21" fmla="*/ 10080625 h 36"/>
                <a:gd name="T22" fmla="*/ 21623401 w 112"/>
                <a:gd name="T23" fmla="*/ 0 h 36"/>
                <a:gd name="T24" fmla="*/ 19306483 w 112"/>
                <a:gd name="T25" fmla="*/ 0 h 36"/>
                <a:gd name="T26" fmla="*/ 16410444 w 112"/>
                <a:gd name="T27" fmla="*/ 2520950 h 36"/>
                <a:gd name="T28" fmla="*/ 12935286 w 112"/>
                <a:gd name="T29" fmla="*/ 7561263 h 36"/>
                <a:gd name="T30" fmla="*/ 9267235 w 112"/>
                <a:gd name="T31" fmla="*/ 17641888 h 36"/>
                <a:gd name="T32" fmla="*/ 7722769 w 112"/>
                <a:gd name="T33" fmla="*/ 22682200 h 36"/>
                <a:gd name="T34" fmla="*/ 5984970 w 112"/>
                <a:gd name="T35" fmla="*/ 27722513 h 36"/>
                <a:gd name="T36" fmla="*/ 4440504 w 112"/>
                <a:gd name="T37" fmla="*/ 35282188 h 36"/>
                <a:gd name="T38" fmla="*/ 3282265 w 112"/>
                <a:gd name="T39" fmla="*/ 45362813 h 36"/>
                <a:gd name="T40" fmla="*/ 1930692 w 112"/>
                <a:gd name="T41" fmla="*/ 55443438 h 36"/>
                <a:gd name="T42" fmla="*/ 1158240 w 112"/>
                <a:gd name="T43" fmla="*/ 65524063 h 36"/>
                <a:gd name="T44" fmla="*/ 192893 w 112"/>
                <a:gd name="T45" fmla="*/ 78125638 h 36"/>
                <a:gd name="T46" fmla="*/ 0 w 112"/>
                <a:gd name="T47" fmla="*/ 90725625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US"/>
            </a:p>
          </p:txBody>
        </p:sp>
        <p:sp>
          <p:nvSpPr>
            <p:cNvPr id="37" name="Freeform 30">
              <a:extLst>
                <a:ext uri="{FF2B5EF4-FFF2-40B4-BE49-F238E27FC236}">
                  <a16:creationId xmlns:a16="http://schemas.microsoft.com/office/drawing/2014/main" id="{DC640FD2-AEE5-4D99-8C30-3691B871E0D5}"/>
                </a:ext>
              </a:extLst>
            </p:cNvPr>
            <p:cNvSpPr>
              <a:spLocks/>
            </p:cNvSpPr>
            <p:nvPr>
              <p:custDataLst>
                <p:tags r:id="rId25"/>
              </p:custDataLst>
            </p:nvPr>
          </p:nvSpPr>
          <p:spPr bwMode="auto">
            <a:xfrm>
              <a:off x="5041900" y="2273300"/>
              <a:ext cx="874713" cy="452438"/>
            </a:xfrm>
            <a:custGeom>
              <a:avLst/>
              <a:gdLst>
                <a:gd name="T0" fmla="*/ 82329854 w 2006"/>
                <a:gd name="T1" fmla="*/ 210259479 h 863"/>
                <a:gd name="T2" fmla="*/ 78336959 w 2006"/>
                <a:gd name="T3" fmla="*/ 209984767 h 863"/>
                <a:gd name="T4" fmla="*/ 74153947 w 2006"/>
                <a:gd name="T5" fmla="*/ 218230339 h 863"/>
                <a:gd name="T6" fmla="*/ 71301755 w 2006"/>
                <a:gd name="T7" fmla="*/ 217680390 h 863"/>
                <a:gd name="T8" fmla="*/ 70351169 w 2006"/>
                <a:gd name="T9" fmla="*/ 206411930 h 863"/>
                <a:gd name="T10" fmla="*/ 61604912 w 2006"/>
                <a:gd name="T11" fmla="*/ 198991020 h 863"/>
                <a:gd name="T12" fmla="*/ 59323071 w 2006"/>
                <a:gd name="T13" fmla="*/ 194593521 h 863"/>
                <a:gd name="T14" fmla="*/ 54759825 w 2006"/>
                <a:gd name="T15" fmla="*/ 190195498 h 863"/>
                <a:gd name="T16" fmla="*/ 47724620 w 2006"/>
                <a:gd name="T17" fmla="*/ 176178339 h 863"/>
                <a:gd name="T18" fmla="*/ 44111960 w 2006"/>
                <a:gd name="T19" fmla="*/ 167658053 h 863"/>
                <a:gd name="T20" fmla="*/ 48104855 w 2006"/>
                <a:gd name="T21" fmla="*/ 163260555 h 863"/>
                <a:gd name="T22" fmla="*/ 53048335 w 2006"/>
                <a:gd name="T23" fmla="*/ 157488444 h 863"/>
                <a:gd name="T24" fmla="*/ 64266551 w 2006"/>
                <a:gd name="T25" fmla="*/ 149518108 h 863"/>
                <a:gd name="T26" fmla="*/ 60653890 w 2006"/>
                <a:gd name="T27" fmla="*/ 133851625 h 863"/>
                <a:gd name="T28" fmla="*/ 49055440 w 2006"/>
                <a:gd name="T29" fmla="*/ 130553501 h 863"/>
                <a:gd name="T30" fmla="*/ 39738831 w 2006"/>
                <a:gd name="T31" fmla="*/ 129179414 h 863"/>
                <a:gd name="T32" fmla="*/ 29851870 w 2006"/>
                <a:gd name="T33" fmla="*/ 136050375 h 863"/>
                <a:gd name="T34" fmla="*/ 20154591 w 2006"/>
                <a:gd name="T35" fmla="*/ 138799074 h 863"/>
                <a:gd name="T36" fmla="*/ 5133597 w 2006"/>
                <a:gd name="T37" fmla="*/ 113512931 h 863"/>
                <a:gd name="T38" fmla="*/ 3802778 w 2006"/>
                <a:gd name="T39" fmla="*/ 77782466 h 863"/>
                <a:gd name="T40" fmla="*/ 21485411 w 2006"/>
                <a:gd name="T41" fmla="*/ 71186217 h 863"/>
                <a:gd name="T42" fmla="*/ 55520293 w 2006"/>
                <a:gd name="T43" fmla="*/ 61016608 h 863"/>
                <a:gd name="T44" fmla="*/ 94688772 w 2006"/>
                <a:gd name="T45" fmla="*/ 69536893 h 863"/>
                <a:gd name="T46" fmla="*/ 136329210 w 2006"/>
                <a:gd name="T47" fmla="*/ 69536893 h 863"/>
                <a:gd name="T48" fmla="*/ 125110994 w 2006"/>
                <a:gd name="T49" fmla="*/ 50846999 h 863"/>
                <a:gd name="T50" fmla="*/ 157814621 w 2006"/>
                <a:gd name="T51" fmla="*/ 18689895 h 863"/>
                <a:gd name="T52" fmla="*/ 199645175 w 2006"/>
                <a:gd name="T53" fmla="*/ 3572837 h 863"/>
                <a:gd name="T54" fmla="*/ 223602544 w 2006"/>
                <a:gd name="T55" fmla="*/ 16765858 h 863"/>
                <a:gd name="T56" fmla="*/ 246419210 w 2006"/>
                <a:gd name="T57" fmla="*/ 30508304 h 863"/>
                <a:gd name="T58" fmla="*/ 274179357 w 2006"/>
                <a:gd name="T59" fmla="*/ 27210180 h 863"/>
                <a:gd name="T60" fmla="*/ 313157719 w 2006"/>
                <a:gd name="T61" fmla="*/ 74484342 h 863"/>
                <a:gd name="T62" fmla="*/ 340917866 w 2006"/>
                <a:gd name="T63" fmla="*/ 72835017 h 863"/>
                <a:gd name="T64" fmla="*/ 380276462 w 2006"/>
                <a:gd name="T65" fmla="*/ 93173712 h 863"/>
                <a:gd name="T66" fmla="*/ 380656696 w 2006"/>
                <a:gd name="T67" fmla="*/ 104717409 h 863"/>
                <a:gd name="T68" fmla="*/ 376663802 w 2006"/>
                <a:gd name="T69" fmla="*/ 109664857 h 863"/>
                <a:gd name="T70" fmla="*/ 372670907 w 2006"/>
                <a:gd name="T71" fmla="*/ 111038944 h 863"/>
                <a:gd name="T72" fmla="*/ 373241258 w 2006"/>
                <a:gd name="T73" fmla="*/ 116811055 h 863"/>
                <a:gd name="T74" fmla="*/ 377424270 w 2006"/>
                <a:gd name="T75" fmla="*/ 128079515 h 863"/>
                <a:gd name="T76" fmla="*/ 376283567 w 2006"/>
                <a:gd name="T77" fmla="*/ 131378163 h 863"/>
                <a:gd name="T78" fmla="*/ 368678012 w 2006"/>
                <a:gd name="T79" fmla="*/ 132202301 h 863"/>
                <a:gd name="T80" fmla="*/ 359931754 w 2006"/>
                <a:gd name="T81" fmla="*/ 130278789 h 863"/>
                <a:gd name="T82" fmla="*/ 354417487 w 2006"/>
                <a:gd name="T83" fmla="*/ 130278789 h 863"/>
                <a:gd name="T84" fmla="*/ 357079562 w 2006"/>
                <a:gd name="T85" fmla="*/ 150617483 h 863"/>
                <a:gd name="T86" fmla="*/ 357459796 w 2006"/>
                <a:gd name="T87" fmla="*/ 161061805 h 863"/>
                <a:gd name="T88" fmla="*/ 340157397 w 2006"/>
                <a:gd name="T89" fmla="*/ 161611230 h 863"/>
                <a:gd name="T90" fmla="*/ 336164066 w 2006"/>
                <a:gd name="T91" fmla="*/ 166008729 h 863"/>
                <a:gd name="T92" fmla="*/ 341298100 w 2006"/>
                <a:gd name="T93" fmla="*/ 170131516 h 863"/>
                <a:gd name="T94" fmla="*/ 344910760 w 2006"/>
                <a:gd name="T95" fmla="*/ 178651801 h 863"/>
                <a:gd name="T96" fmla="*/ 348713538 w 2006"/>
                <a:gd name="T97" fmla="*/ 189371360 h 863"/>
                <a:gd name="T98" fmla="*/ 349283889 w 2006"/>
                <a:gd name="T99" fmla="*/ 194043571 h 863"/>
                <a:gd name="T100" fmla="*/ 349283889 w 2006"/>
                <a:gd name="T101" fmla="*/ 207236592 h 863"/>
                <a:gd name="T102" fmla="*/ 331030469 w 2006"/>
                <a:gd name="T103" fmla="*/ 203388518 h 863"/>
                <a:gd name="T104" fmla="*/ 280453656 w 2006"/>
                <a:gd name="T105" fmla="*/ 209984767 h 863"/>
                <a:gd name="T106" fmla="*/ 250221988 w 2006"/>
                <a:gd name="T107" fmla="*/ 218505052 h 863"/>
                <a:gd name="T108" fmla="*/ 217137691 w 2006"/>
                <a:gd name="T109" fmla="*/ 230323461 h 863"/>
                <a:gd name="T110" fmla="*/ 183103245 w 2006"/>
                <a:gd name="T111" fmla="*/ 191570109 h 863"/>
                <a:gd name="T112" fmla="*/ 130054474 w 2006"/>
                <a:gd name="T113" fmla="*/ 161061805 h 863"/>
                <a:gd name="T114" fmla="*/ 111040586 w 2006"/>
                <a:gd name="T115" fmla="*/ 228674661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US"/>
            </a:p>
          </p:txBody>
        </p:sp>
        <p:sp>
          <p:nvSpPr>
            <p:cNvPr id="38" name="Freeform 31">
              <a:extLst>
                <a:ext uri="{FF2B5EF4-FFF2-40B4-BE49-F238E27FC236}">
                  <a16:creationId xmlns:a16="http://schemas.microsoft.com/office/drawing/2014/main" id="{4E5471BF-A2A8-4B00-919A-AC807C104FDC}"/>
                </a:ext>
              </a:extLst>
            </p:cNvPr>
            <p:cNvSpPr>
              <a:spLocks/>
            </p:cNvSpPr>
            <p:nvPr>
              <p:custDataLst>
                <p:tags r:id="rId26"/>
              </p:custDataLst>
            </p:nvPr>
          </p:nvSpPr>
          <p:spPr bwMode="auto">
            <a:xfrm>
              <a:off x="5272088" y="2576513"/>
              <a:ext cx="409575" cy="249237"/>
            </a:xfrm>
            <a:custGeom>
              <a:avLst/>
              <a:gdLst>
                <a:gd name="T0" fmla="*/ 118587914 w 950"/>
                <a:gd name="T1" fmla="*/ 125643645 h 468"/>
                <a:gd name="T2" fmla="*/ 103717755 w 950"/>
                <a:gd name="T3" fmla="*/ 118553144 h 468"/>
                <a:gd name="T4" fmla="*/ 87546872 w 950"/>
                <a:gd name="T5" fmla="*/ 106640845 h 468"/>
                <a:gd name="T6" fmla="*/ 72862961 w 950"/>
                <a:gd name="T7" fmla="*/ 87071402 h 468"/>
                <a:gd name="T8" fmla="*/ 56691647 w 950"/>
                <a:gd name="T9" fmla="*/ 73173721 h 468"/>
                <a:gd name="T10" fmla="*/ 47026108 w 950"/>
                <a:gd name="T11" fmla="*/ 59276572 h 468"/>
                <a:gd name="T12" fmla="*/ 34572441 w 950"/>
                <a:gd name="T13" fmla="*/ 48782480 h 468"/>
                <a:gd name="T14" fmla="*/ 24721516 w 950"/>
                <a:gd name="T15" fmla="*/ 53887599 h 468"/>
                <a:gd name="T16" fmla="*/ 18401558 w 950"/>
                <a:gd name="T17" fmla="*/ 68068602 h 468"/>
                <a:gd name="T18" fmla="*/ 7434864 w 950"/>
                <a:gd name="T19" fmla="*/ 69770663 h 468"/>
                <a:gd name="T20" fmla="*/ 0 w 950"/>
                <a:gd name="T21" fmla="*/ 6806647 h 468"/>
                <a:gd name="T22" fmla="*/ 14683910 w 950"/>
                <a:gd name="T23" fmla="*/ 1701529 h 468"/>
                <a:gd name="T24" fmla="*/ 24721516 w 950"/>
                <a:gd name="T25" fmla="*/ 15599210 h 468"/>
                <a:gd name="T26" fmla="*/ 29182434 w 950"/>
                <a:gd name="T27" fmla="*/ 4254088 h 468"/>
                <a:gd name="T28" fmla="*/ 61710450 w 950"/>
                <a:gd name="T29" fmla="*/ 33183803 h 468"/>
                <a:gd name="T30" fmla="*/ 81413163 w 950"/>
                <a:gd name="T31" fmla="*/ 33183803 h 468"/>
                <a:gd name="T32" fmla="*/ 97584046 w 950"/>
                <a:gd name="T33" fmla="*/ 38288921 h 468"/>
                <a:gd name="T34" fmla="*/ 110967233 w 950"/>
                <a:gd name="T35" fmla="*/ 64665545 h 468"/>
                <a:gd name="T36" fmla="*/ 124721623 w 950"/>
                <a:gd name="T37" fmla="*/ 71472192 h 468"/>
                <a:gd name="T38" fmla="*/ 135688317 w 950"/>
                <a:gd name="T39" fmla="*/ 73173721 h 468"/>
                <a:gd name="T40" fmla="*/ 147026647 w 950"/>
                <a:gd name="T41" fmla="*/ 60978100 h 468"/>
                <a:gd name="T42" fmla="*/ 156692186 w 950"/>
                <a:gd name="T43" fmla="*/ 55589660 h 468"/>
                <a:gd name="T44" fmla="*/ 153160356 w 950"/>
                <a:gd name="T45" fmla="*/ 71472192 h 468"/>
                <a:gd name="T46" fmla="*/ 161710557 w 950"/>
                <a:gd name="T47" fmla="*/ 68068602 h 468"/>
                <a:gd name="T48" fmla="*/ 176580716 w 950"/>
                <a:gd name="T49" fmla="*/ 80264222 h 468"/>
                <a:gd name="T50" fmla="*/ 164127050 w 950"/>
                <a:gd name="T51" fmla="*/ 90758314 h 468"/>
                <a:gd name="T52" fmla="*/ 153160356 w 950"/>
                <a:gd name="T53" fmla="*/ 80264222 h 468"/>
                <a:gd name="T54" fmla="*/ 142008275 w 950"/>
                <a:gd name="T55" fmla="*/ 78562693 h 468"/>
                <a:gd name="T56" fmla="*/ 136989472 w 950"/>
                <a:gd name="T57" fmla="*/ 90758314 h 468"/>
                <a:gd name="T58" fmla="*/ 127138116 w 950"/>
                <a:gd name="T59" fmla="*/ 101252405 h 468"/>
                <a:gd name="T60" fmla="*/ 131970670 w 950"/>
                <a:gd name="T61" fmla="*/ 110044435 h 468"/>
                <a:gd name="T62" fmla="*/ 138104810 w 950"/>
                <a:gd name="T63" fmla="*/ 123942116 h 468"/>
                <a:gd name="T64" fmla="*/ 133271825 w 950"/>
                <a:gd name="T65" fmla="*/ 132734147 h 468"/>
                <a:gd name="T66" fmla="*/ 130669946 w 950"/>
                <a:gd name="T67" fmla="*/ 131883116 h 468"/>
                <a:gd name="T68" fmla="*/ 127138116 w 950"/>
                <a:gd name="T69" fmla="*/ 130748764 h 468"/>
                <a:gd name="T70" fmla="*/ 122305562 w 950"/>
                <a:gd name="T71" fmla="*/ 130748764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US"/>
            </a:p>
          </p:txBody>
        </p:sp>
        <p:sp>
          <p:nvSpPr>
            <p:cNvPr id="39" name="Freeform 32">
              <a:extLst>
                <a:ext uri="{FF2B5EF4-FFF2-40B4-BE49-F238E27FC236}">
                  <a16:creationId xmlns:a16="http://schemas.microsoft.com/office/drawing/2014/main" id="{47B816D5-DFCD-4B6C-AC84-80D034C7F9F0}"/>
                </a:ext>
              </a:extLst>
            </p:cNvPr>
            <p:cNvSpPr>
              <a:spLocks/>
            </p:cNvSpPr>
            <p:nvPr>
              <p:custDataLst>
                <p:tags r:id="rId27"/>
              </p:custDataLst>
            </p:nvPr>
          </p:nvSpPr>
          <p:spPr bwMode="auto">
            <a:xfrm>
              <a:off x="4079875" y="3579813"/>
              <a:ext cx="296863" cy="288925"/>
            </a:xfrm>
            <a:custGeom>
              <a:avLst/>
              <a:gdLst>
                <a:gd name="T0" fmla="*/ 1174622 w 671"/>
                <a:gd name="T1" fmla="*/ 106077577 h 549"/>
                <a:gd name="T2" fmla="*/ 1565720 w 671"/>
                <a:gd name="T3" fmla="*/ 87521119 h 549"/>
                <a:gd name="T4" fmla="*/ 3327432 w 671"/>
                <a:gd name="T5" fmla="*/ 79489109 h 549"/>
                <a:gd name="T6" fmla="*/ 10178286 w 671"/>
                <a:gd name="T7" fmla="*/ 65917528 h 549"/>
                <a:gd name="T8" fmla="*/ 13897259 w 671"/>
                <a:gd name="T9" fmla="*/ 56777710 h 549"/>
                <a:gd name="T10" fmla="*/ 14288799 w 671"/>
                <a:gd name="T11" fmla="*/ 46253261 h 549"/>
                <a:gd name="T12" fmla="*/ 14288799 w 671"/>
                <a:gd name="T13" fmla="*/ 37944431 h 549"/>
                <a:gd name="T14" fmla="*/ 10569827 w 671"/>
                <a:gd name="T15" fmla="*/ 29912421 h 549"/>
                <a:gd name="T16" fmla="*/ 11939998 w 671"/>
                <a:gd name="T17" fmla="*/ 21880411 h 549"/>
                <a:gd name="T18" fmla="*/ 14875889 w 671"/>
                <a:gd name="T19" fmla="*/ 13848402 h 549"/>
                <a:gd name="T20" fmla="*/ 18790410 w 671"/>
                <a:gd name="T21" fmla="*/ 6924201 h 549"/>
                <a:gd name="T22" fmla="*/ 23488013 w 671"/>
                <a:gd name="T23" fmla="*/ 1938797 h 549"/>
                <a:gd name="T24" fmla="*/ 28577156 w 671"/>
                <a:gd name="T25" fmla="*/ 0 h 549"/>
                <a:gd name="T26" fmla="*/ 33861848 w 671"/>
                <a:gd name="T27" fmla="*/ 1384630 h 549"/>
                <a:gd name="T28" fmla="*/ 40321163 w 671"/>
                <a:gd name="T29" fmla="*/ 7201021 h 549"/>
                <a:gd name="T30" fmla="*/ 46193387 w 671"/>
                <a:gd name="T31" fmla="*/ 12463246 h 549"/>
                <a:gd name="T32" fmla="*/ 50694998 w 671"/>
                <a:gd name="T33" fmla="*/ 13848402 h 549"/>
                <a:gd name="T34" fmla="*/ 53239791 w 671"/>
                <a:gd name="T35" fmla="*/ 12186425 h 549"/>
                <a:gd name="T36" fmla="*/ 55588592 w 671"/>
                <a:gd name="T37" fmla="*/ 9693986 h 549"/>
                <a:gd name="T38" fmla="*/ 58720475 w 671"/>
                <a:gd name="T39" fmla="*/ 8862998 h 549"/>
                <a:gd name="T40" fmla="*/ 62243455 w 671"/>
                <a:gd name="T41" fmla="*/ 10801795 h 549"/>
                <a:gd name="T42" fmla="*/ 65962428 w 671"/>
                <a:gd name="T43" fmla="*/ 18002817 h 549"/>
                <a:gd name="T44" fmla="*/ 69094310 w 671"/>
                <a:gd name="T45" fmla="*/ 21880411 h 549"/>
                <a:gd name="T46" fmla="*/ 72421742 w 671"/>
                <a:gd name="T47" fmla="*/ 22434053 h 549"/>
                <a:gd name="T48" fmla="*/ 74574994 w 671"/>
                <a:gd name="T49" fmla="*/ 20772602 h 549"/>
                <a:gd name="T50" fmla="*/ 77706434 w 671"/>
                <a:gd name="T51" fmla="*/ 15509852 h 549"/>
                <a:gd name="T52" fmla="*/ 82012496 w 671"/>
                <a:gd name="T53" fmla="*/ 10524448 h 549"/>
                <a:gd name="T54" fmla="*/ 89646432 w 671"/>
                <a:gd name="T55" fmla="*/ 6093212 h 549"/>
                <a:gd name="T56" fmla="*/ 95322665 w 671"/>
                <a:gd name="T57" fmla="*/ 6924201 h 549"/>
                <a:gd name="T58" fmla="*/ 100020268 w 671"/>
                <a:gd name="T59" fmla="*/ 9693986 h 549"/>
                <a:gd name="T60" fmla="*/ 105109411 w 671"/>
                <a:gd name="T61" fmla="*/ 11909604 h 549"/>
                <a:gd name="T62" fmla="*/ 111764274 w 671"/>
                <a:gd name="T63" fmla="*/ 10801795 h 549"/>
                <a:gd name="T64" fmla="*/ 126444614 w 671"/>
                <a:gd name="T65" fmla="*/ 18556458 h 549"/>
                <a:gd name="T66" fmla="*/ 130163144 w 671"/>
                <a:gd name="T67" fmla="*/ 29081433 h 549"/>
                <a:gd name="T68" fmla="*/ 121942561 w 671"/>
                <a:gd name="T69" fmla="*/ 50684497 h 549"/>
                <a:gd name="T70" fmla="*/ 116070336 w 671"/>
                <a:gd name="T71" fmla="*/ 64532899 h 549"/>
                <a:gd name="T72" fmla="*/ 111568725 w 671"/>
                <a:gd name="T73" fmla="*/ 80596918 h 549"/>
                <a:gd name="T74" fmla="*/ 107653761 w 671"/>
                <a:gd name="T75" fmla="*/ 94998961 h 549"/>
                <a:gd name="T76" fmla="*/ 102760610 w 671"/>
                <a:gd name="T77" fmla="*/ 112724957 h 549"/>
                <a:gd name="T78" fmla="*/ 100998898 w 671"/>
                <a:gd name="T79" fmla="*/ 116879372 h 549"/>
                <a:gd name="T80" fmla="*/ 97867015 w 671"/>
                <a:gd name="T81" fmla="*/ 121587955 h 549"/>
                <a:gd name="T82" fmla="*/ 94344035 w 671"/>
                <a:gd name="T83" fmla="*/ 122695764 h 549"/>
                <a:gd name="T84" fmla="*/ 89841981 w 671"/>
                <a:gd name="T85" fmla="*/ 119649158 h 549"/>
                <a:gd name="T86" fmla="*/ 86123009 w 671"/>
                <a:gd name="T87" fmla="*/ 116602552 h 549"/>
                <a:gd name="T88" fmla="*/ 79859686 w 671"/>
                <a:gd name="T89" fmla="*/ 117433540 h 549"/>
                <a:gd name="T90" fmla="*/ 74574994 w 671"/>
                <a:gd name="T91" fmla="*/ 122141596 h 549"/>
                <a:gd name="T92" fmla="*/ 71247120 w 671"/>
                <a:gd name="T93" fmla="*/ 129896786 h 549"/>
                <a:gd name="T94" fmla="*/ 66941058 w 671"/>
                <a:gd name="T95" fmla="*/ 144298828 h 549"/>
                <a:gd name="T96" fmla="*/ 63613626 w 671"/>
                <a:gd name="T97" fmla="*/ 152054018 h 549"/>
                <a:gd name="T98" fmla="*/ 44823216 w 671"/>
                <a:gd name="T99" fmla="*/ 151223029 h 549"/>
                <a:gd name="T100" fmla="*/ 42474415 w 671"/>
                <a:gd name="T101" fmla="*/ 151777197 h 549"/>
                <a:gd name="T102" fmla="*/ 35036470 w 671"/>
                <a:gd name="T103" fmla="*/ 150392041 h 549"/>
                <a:gd name="T104" fmla="*/ 31513047 w 671"/>
                <a:gd name="T105" fmla="*/ 149561579 h 549"/>
                <a:gd name="T106" fmla="*/ 28185616 w 671"/>
                <a:gd name="T107" fmla="*/ 147068614 h 549"/>
                <a:gd name="T108" fmla="*/ 25249724 w 671"/>
                <a:gd name="T109" fmla="*/ 142637378 h 549"/>
                <a:gd name="T110" fmla="*/ 23292464 w 671"/>
                <a:gd name="T111" fmla="*/ 137374628 h 549"/>
                <a:gd name="T112" fmla="*/ 22117842 w 671"/>
                <a:gd name="T113" fmla="*/ 130727774 h 549"/>
                <a:gd name="T114" fmla="*/ 19573492 w 671"/>
                <a:gd name="T115" fmla="*/ 127404347 h 549"/>
                <a:gd name="T116" fmla="*/ 16246060 w 671"/>
                <a:gd name="T117" fmla="*/ 123803573 h 549"/>
                <a:gd name="T118" fmla="*/ 12331096 w 671"/>
                <a:gd name="T119" fmla="*/ 119649158 h 549"/>
                <a:gd name="T120" fmla="*/ 7633494 w 671"/>
                <a:gd name="T121" fmla="*/ 118818170 h 549"/>
                <a:gd name="T122" fmla="*/ 0 w 671"/>
                <a:gd name="T123" fmla="*/ 1213106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en-US"/>
            </a:p>
          </p:txBody>
        </p:sp>
        <p:sp>
          <p:nvSpPr>
            <p:cNvPr id="40" name="Freeform 33">
              <a:extLst>
                <a:ext uri="{FF2B5EF4-FFF2-40B4-BE49-F238E27FC236}">
                  <a16:creationId xmlns:a16="http://schemas.microsoft.com/office/drawing/2014/main" id="{AA2EEE8B-F3F7-48FB-8E68-6AB63161B3D4}"/>
                </a:ext>
              </a:extLst>
            </p:cNvPr>
            <p:cNvSpPr>
              <a:spLocks/>
            </p:cNvSpPr>
            <p:nvPr>
              <p:custDataLst>
                <p:tags r:id="rId28"/>
              </p:custDataLst>
            </p:nvPr>
          </p:nvSpPr>
          <p:spPr bwMode="auto">
            <a:xfrm>
              <a:off x="4922838" y="3444875"/>
              <a:ext cx="152400" cy="169863"/>
            </a:xfrm>
            <a:custGeom>
              <a:avLst/>
              <a:gdLst>
                <a:gd name="T0" fmla="*/ 59077562 w 358"/>
                <a:gd name="T1" fmla="*/ 87426465 h 327"/>
                <a:gd name="T2" fmla="*/ 59983448 w 358"/>
                <a:gd name="T3" fmla="*/ 86616634 h 327"/>
                <a:gd name="T4" fmla="*/ 61070682 w 358"/>
                <a:gd name="T5" fmla="*/ 85807322 h 327"/>
                <a:gd name="T6" fmla="*/ 62701958 w 358"/>
                <a:gd name="T7" fmla="*/ 85807322 h 327"/>
                <a:gd name="T8" fmla="*/ 64514155 w 358"/>
                <a:gd name="T9" fmla="*/ 87426465 h 327"/>
                <a:gd name="T10" fmla="*/ 57808981 w 358"/>
                <a:gd name="T11" fmla="*/ 76902813 h 327"/>
                <a:gd name="T12" fmla="*/ 50378842 w 358"/>
                <a:gd name="T13" fmla="*/ 63410991 h 327"/>
                <a:gd name="T14" fmla="*/ 45848561 w 358"/>
                <a:gd name="T15" fmla="*/ 55046197 h 327"/>
                <a:gd name="T16" fmla="*/ 42042818 w 358"/>
                <a:gd name="T17" fmla="*/ 50189286 h 327"/>
                <a:gd name="T18" fmla="*/ 39687003 w 358"/>
                <a:gd name="T19" fmla="*/ 48839740 h 327"/>
                <a:gd name="T20" fmla="*/ 37693458 w 358"/>
                <a:gd name="T21" fmla="*/ 48570143 h 327"/>
                <a:gd name="T22" fmla="*/ 36424877 w 358"/>
                <a:gd name="T23" fmla="*/ 48300545 h 327"/>
                <a:gd name="T24" fmla="*/ 36062608 w 358"/>
                <a:gd name="T25" fmla="*/ 46951000 h 327"/>
                <a:gd name="T26" fmla="*/ 35881260 w 358"/>
                <a:gd name="T27" fmla="*/ 45871571 h 327"/>
                <a:gd name="T28" fmla="*/ 35337644 w 358"/>
                <a:gd name="T29" fmla="*/ 45601973 h 327"/>
                <a:gd name="T30" fmla="*/ 33344098 w 358"/>
                <a:gd name="T31" fmla="*/ 46411285 h 327"/>
                <a:gd name="T32" fmla="*/ 30988284 w 358"/>
                <a:gd name="T33" fmla="*/ 46411285 h 327"/>
                <a:gd name="T34" fmla="*/ 29901050 w 358"/>
                <a:gd name="T35" fmla="*/ 45332376 h 327"/>
                <a:gd name="T36" fmla="*/ 28995164 w 358"/>
                <a:gd name="T37" fmla="*/ 43443116 h 327"/>
                <a:gd name="T38" fmla="*/ 27545236 w 358"/>
                <a:gd name="T39" fmla="*/ 38856322 h 327"/>
                <a:gd name="T40" fmla="*/ 25914385 w 358"/>
                <a:gd name="T41" fmla="*/ 35348438 h 327"/>
                <a:gd name="T42" fmla="*/ 24102188 w 358"/>
                <a:gd name="T43" fmla="*/ 32110151 h 327"/>
                <a:gd name="T44" fmla="*/ 23014954 w 358"/>
                <a:gd name="T45" fmla="*/ 28332670 h 327"/>
                <a:gd name="T46" fmla="*/ 22108642 w 358"/>
                <a:gd name="T47" fmla="*/ 22665928 h 327"/>
                <a:gd name="T48" fmla="*/ 21565026 w 358"/>
                <a:gd name="T49" fmla="*/ 14301134 h 327"/>
                <a:gd name="T50" fmla="*/ 21202756 w 358"/>
                <a:gd name="T51" fmla="*/ 6205937 h 327"/>
                <a:gd name="T52" fmla="*/ 20296445 w 358"/>
                <a:gd name="T53" fmla="*/ 0 h 327"/>
                <a:gd name="T54" fmla="*/ 13229001 w 358"/>
                <a:gd name="T55" fmla="*/ 7015768 h 327"/>
                <a:gd name="T56" fmla="*/ 11054534 w 358"/>
                <a:gd name="T57" fmla="*/ 8904509 h 327"/>
                <a:gd name="T58" fmla="*/ 5980210 w 358"/>
                <a:gd name="T59" fmla="*/ 13491822 h 327"/>
                <a:gd name="T60" fmla="*/ 3805743 w 358"/>
                <a:gd name="T61" fmla="*/ 16459991 h 327"/>
                <a:gd name="T62" fmla="*/ 3080779 w 358"/>
                <a:gd name="T63" fmla="*/ 19428161 h 327"/>
                <a:gd name="T64" fmla="*/ 2899431 w 358"/>
                <a:gd name="T65" fmla="*/ 22396331 h 327"/>
                <a:gd name="T66" fmla="*/ 3624396 w 358"/>
                <a:gd name="T67" fmla="*/ 25094383 h 327"/>
                <a:gd name="T68" fmla="*/ 3986665 w 358"/>
                <a:gd name="T69" fmla="*/ 26983644 h 327"/>
                <a:gd name="T70" fmla="*/ 3624396 w 358"/>
                <a:gd name="T71" fmla="*/ 29681696 h 327"/>
                <a:gd name="T72" fmla="*/ 2718084 w 358"/>
                <a:gd name="T73" fmla="*/ 33189580 h 327"/>
                <a:gd name="T74" fmla="*/ 1268581 w 358"/>
                <a:gd name="T75" fmla="*/ 36697464 h 327"/>
                <a:gd name="T76" fmla="*/ 0 w 358"/>
                <a:gd name="T77" fmla="*/ 41824492 h 327"/>
                <a:gd name="T78" fmla="*/ 0 w 358"/>
                <a:gd name="T79" fmla="*/ 46951000 h 327"/>
                <a:gd name="T80" fmla="*/ 905886 w 358"/>
                <a:gd name="T81" fmla="*/ 49109857 h 327"/>
                <a:gd name="T82" fmla="*/ 1993545 w 358"/>
                <a:gd name="T83" fmla="*/ 50458884 h 327"/>
                <a:gd name="T84" fmla="*/ 3624396 w 358"/>
                <a:gd name="T85" fmla="*/ 50189286 h 327"/>
                <a:gd name="T86" fmla="*/ 7973755 w 358"/>
                <a:gd name="T87" fmla="*/ 45332376 h 327"/>
                <a:gd name="T88" fmla="*/ 10873187 w 358"/>
                <a:gd name="T89" fmla="*/ 43443116 h 327"/>
                <a:gd name="T90" fmla="*/ 13772618 w 358"/>
                <a:gd name="T91" fmla="*/ 40474946 h 327"/>
                <a:gd name="T92" fmla="*/ 16853397 w 358"/>
                <a:gd name="T93" fmla="*/ 42903401 h 327"/>
                <a:gd name="T94" fmla="*/ 19934175 w 358"/>
                <a:gd name="T95" fmla="*/ 44252947 h 327"/>
                <a:gd name="T96" fmla="*/ 25733038 w 358"/>
                <a:gd name="T97" fmla="*/ 48570143 h 327"/>
                <a:gd name="T98" fmla="*/ 29538781 w 358"/>
                <a:gd name="T99" fmla="*/ 51268715 h 327"/>
                <a:gd name="T100" fmla="*/ 35518991 w 358"/>
                <a:gd name="T101" fmla="*/ 56395223 h 327"/>
                <a:gd name="T102" fmla="*/ 39687003 w 358"/>
                <a:gd name="T103" fmla="*/ 60712938 h 327"/>
                <a:gd name="T104" fmla="*/ 44398632 w 358"/>
                <a:gd name="T105" fmla="*/ 65839446 h 327"/>
                <a:gd name="T106" fmla="*/ 46392178 w 358"/>
                <a:gd name="T107" fmla="*/ 68538018 h 327"/>
                <a:gd name="T108" fmla="*/ 48385297 w 358"/>
                <a:gd name="T109" fmla="*/ 72855214 h 327"/>
                <a:gd name="T110" fmla="*/ 48747992 w 358"/>
                <a:gd name="T111" fmla="*/ 75283670 h 327"/>
                <a:gd name="T112" fmla="*/ 48747992 w 358"/>
                <a:gd name="T113" fmla="*/ 77172410 h 327"/>
                <a:gd name="T114" fmla="*/ 48929340 w 358"/>
                <a:gd name="T115" fmla="*/ 78251839 h 327"/>
                <a:gd name="T116" fmla="*/ 50016573 w 358"/>
                <a:gd name="T117" fmla="*/ 78791554 h 327"/>
                <a:gd name="T118" fmla="*/ 52916004 w 358"/>
                <a:gd name="T119" fmla="*/ 81490126 h 327"/>
                <a:gd name="T120" fmla="*/ 57627634 w 358"/>
                <a:gd name="T121" fmla="*/ 86616634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US"/>
            </a:p>
          </p:txBody>
        </p:sp>
        <p:sp>
          <p:nvSpPr>
            <p:cNvPr id="41" name="Freeform 34">
              <a:extLst>
                <a:ext uri="{FF2B5EF4-FFF2-40B4-BE49-F238E27FC236}">
                  <a16:creationId xmlns:a16="http://schemas.microsoft.com/office/drawing/2014/main" id="{9A175B2B-226D-465A-9CB0-D42DCD28DA21}"/>
                </a:ext>
              </a:extLst>
            </p:cNvPr>
            <p:cNvSpPr>
              <a:spLocks/>
            </p:cNvSpPr>
            <p:nvPr>
              <p:custDataLst>
                <p:tags r:id="rId29"/>
              </p:custDataLst>
            </p:nvPr>
          </p:nvSpPr>
          <p:spPr bwMode="auto">
            <a:xfrm>
              <a:off x="4384675" y="2449513"/>
              <a:ext cx="125413" cy="57150"/>
            </a:xfrm>
            <a:custGeom>
              <a:avLst/>
              <a:gdLst>
                <a:gd name="T0" fmla="*/ 23243066 w 292"/>
                <a:gd name="T1" fmla="*/ 0 h 99"/>
                <a:gd name="T2" fmla="*/ 28223508 w 292"/>
                <a:gd name="T3" fmla="*/ 0 h 99"/>
                <a:gd name="T4" fmla="*/ 36524389 w 292"/>
                <a:gd name="T5" fmla="*/ 333086 h 99"/>
                <a:gd name="T6" fmla="*/ 46116765 w 292"/>
                <a:gd name="T7" fmla="*/ 1999673 h 99"/>
                <a:gd name="T8" fmla="*/ 53864454 w 292"/>
                <a:gd name="T9" fmla="*/ 2332759 h 99"/>
                <a:gd name="T10" fmla="*/ 53495516 w 292"/>
                <a:gd name="T11" fmla="*/ 6664614 h 99"/>
                <a:gd name="T12" fmla="*/ 52573387 w 292"/>
                <a:gd name="T13" fmla="*/ 10997045 h 99"/>
                <a:gd name="T14" fmla="*/ 51466575 w 292"/>
                <a:gd name="T15" fmla="*/ 18328409 h 99"/>
                <a:gd name="T16" fmla="*/ 24903070 w 292"/>
                <a:gd name="T17" fmla="*/ 23327014 h 99"/>
                <a:gd name="T18" fmla="*/ 18262194 w 292"/>
                <a:gd name="T19" fmla="*/ 29658541 h 99"/>
                <a:gd name="T20" fmla="*/ 14572819 w 292"/>
                <a:gd name="T21" fmla="*/ 31991300 h 99"/>
                <a:gd name="T22" fmla="*/ 12174939 w 292"/>
                <a:gd name="T23" fmla="*/ 32658050 h 99"/>
                <a:gd name="T24" fmla="*/ 10145568 w 292"/>
                <a:gd name="T25" fmla="*/ 32658050 h 99"/>
                <a:gd name="T26" fmla="*/ 8300880 w 292"/>
                <a:gd name="T27" fmla="*/ 31325127 h 99"/>
                <a:gd name="T28" fmla="*/ 6087255 w 292"/>
                <a:gd name="T29" fmla="*/ 28658705 h 99"/>
                <a:gd name="T30" fmla="*/ 3689376 w 292"/>
                <a:gd name="T31" fmla="*/ 25659773 h 99"/>
                <a:gd name="T32" fmla="*/ 1291067 w 292"/>
                <a:gd name="T33" fmla="*/ 22993927 h 99"/>
                <a:gd name="T34" fmla="*/ 184254 w 292"/>
                <a:gd name="T35" fmla="*/ 18995159 h 99"/>
                <a:gd name="T36" fmla="*/ 0 w 292"/>
                <a:gd name="T37" fmla="*/ 13995977 h 99"/>
                <a:gd name="T38" fmla="*/ 184254 w 292"/>
                <a:gd name="T39" fmla="*/ 8331200 h 99"/>
                <a:gd name="T40" fmla="*/ 553192 w 292"/>
                <a:gd name="T41" fmla="*/ 6664614 h 99"/>
                <a:gd name="T42" fmla="*/ 1660004 w 292"/>
                <a:gd name="T43" fmla="*/ 5998441 h 99"/>
                <a:gd name="T44" fmla="*/ 2766817 w 292"/>
                <a:gd name="T45" fmla="*/ 6998277 h 99"/>
                <a:gd name="T46" fmla="*/ 4611505 w 292"/>
                <a:gd name="T47" fmla="*/ 9331036 h 99"/>
                <a:gd name="T48" fmla="*/ 6456193 w 292"/>
                <a:gd name="T49" fmla="*/ 10663959 h 99"/>
                <a:gd name="T50" fmla="*/ 8300880 w 292"/>
                <a:gd name="T51" fmla="*/ 11330132 h 99"/>
                <a:gd name="T52" fmla="*/ 9961314 w 292"/>
                <a:gd name="T53" fmla="*/ 10997045 h 99"/>
                <a:gd name="T54" fmla="*/ 12359193 w 292"/>
                <a:gd name="T55" fmla="*/ 9664123 h 99"/>
                <a:gd name="T56" fmla="*/ 14941756 w 292"/>
                <a:gd name="T57" fmla="*/ 6331527 h 99"/>
                <a:gd name="T58" fmla="*/ 16233253 w 292"/>
                <a:gd name="T59" fmla="*/ 3665682 h 99"/>
                <a:gd name="T60" fmla="*/ 17340065 w 292"/>
                <a:gd name="T61" fmla="*/ 1999673 h 99"/>
                <a:gd name="T62" fmla="*/ 20106882 w 292"/>
                <a:gd name="T63" fmla="*/ 333086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 name="Freeform 35">
              <a:extLst>
                <a:ext uri="{FF2B5EF4-FFF2-40B4-BE49-F238E27FC236}">
                  <a16:creationId xmlns:a16="http://schemas.microsoft.com/office/drawing/2014/main" id="{AC5BBFFA-CDB5-4535-9045-FA9FB8E9B582}"/>
                </a:ext>
              </a:extLst>
            </p:cNvPr>
            <p:cNvSpPr>
              <a:spLocks/>
            </p:cNvSpPr>
            <p:nvPr>
              <p:custDataLst>
                <p:tags r:id="rId30"/>
              </p:custDataLst>
            </p:nvPr>
          </p:nvSpPr>
          <p:spPr bwMode="auto">
            <a:xfrm>
              <a:off x="5248275" y="3170238"/>
              <a:ext cx="19050" cy="57150"/>
            </a:xfrm>
            <a:custGeom>
              <a:avLst/>
              <a:gdLst>
                <a:gd name="T0" fmla="*/ 7654556 w 43"/>
                <a:gd name="T1" fmla="*/ 35119597 h 93"/>
                <a:gd name="T2" fmla="*/ 6084481 w 43"/>
                <a:gd name="T3" fmla="*/ 34364356 h 93"/>
                <a:gd name="T4" fmla="*/ 5103185 w 43"/>
                <a:gd name="T5" fmla="*/ 33609116 h 93"/>
                <a:gd name="T6" fmla="*/ 4121445 w 43"/>
                <a:gd name="T7" fmla="*/ 32853876 h 93"/>
                <a:gd name="T8" fmla="*/ 3532667 w 43"/>
                <a:gd name="T9" fmla="*/ 31720708 h 93"/>
                <a:gd name="T10" fmla="*/ 2943890 w 43"/>
                <a:gd name="T11" fmla="*/ 29832915 h 93"/>
                <a:gd name="T12" fmla="*/ 2747630 w 43"/>
                <a:gd name="T13" fmla="*/ 27567194 h 93"/>
                <a:gd name="T14" fmla="*/ 2551371 w 43"/>
                <a:gd name="T15" fmla="*/ 24546232 h 93"/>
                <a:gd name="T16" fmla="*/ 2158852 w 43"/>
                <a:gd name="T17" fmla="*/ 20769416 h 93"/>
                <a:gd name="T18" fmla="*/ 2158852 w 43"/>
                <a:gd name="T19" fmla="*/ 18126382 h 93"/>
                <a:gd name="T20" fmla="*/ 1766334 w 43"/>
                <a:gd name="T21" fmla="*/ 15860661 h 93"/>
                <a:gd name="T22" fmla="*/ 1177556 w 43"/>
                <a:gd name="T23" fmla="*/ 14350181 h 93"/>
                <a:gd name="T24" fmla="*/ 785037 w 43"/>
                <a:gd name="T25" fmla="*/ 13594940 h 93"/>
                <a:gd name="T26" fmla="*/ 392519 w 43"/>
                <a:gd name="T27" fmla="*/ 12839700 h 93"/>
                <a:gd name="T28" fmla="*/ 0 w 43"/>
                <a:gd name="T29" fmla="*/ 12084460 h 93"/>
                <a:gd name="T30" fmla="*/ 392519 w 43"/>
                <a:gd name="T31" fmla="*/ 10951292 h 93"/>
                <a:gd name="T32" fmla="*/ 981297 w 43"/>
                <a:gd name="T33" fmla="*/ 9062884 h 93"/>
                <a:gd name="T34" fmla="*/ 1177556 w 43"/>
                <a:gd name="T35" fmla="*/ 10573365 h 93"/>
                <a:gd name="T36" fmla="*/ 1373815 w 43"/>
                <a:gd name="T37" fmla="*/ 10951292 h 93"/>
                <a:gd name="T38" fmla="*/ 1570074 w 43"/>
                <a:gd name="T39" fmla="*/ 11328605 h 93"/>
                <a:gd name="T40" fmla="*/ 1766334 w 43"/>
                <a:gd name="T41" fmla="*/ 10951292 h 93"/>
                <a:gd name="T42" fmla="*/ 2158852 w 43"/>
                <a:gd name="T43" fmla="*/ 9440811 h 93"/>
                <a:gd name="T44" fmla="*/ 2747630 w 43"/>
                <a:gd name="T45" fmla="*/ 7175090 h 93"/>
                <a:gd name="T46" fmla="*/ 3140149 w 43"/>
                <a:gd name="T47" fmla="*/ 4531442 h 93"/>
                <a:gd name="T48" fmla="*/ 3925186 w 43"/>
                <a:gd name="T49" fmla="*/ 2265721 h 93"/>
                <a:gd name="T50" fmla="*/ 4318148 w 43"/>
                <a:gd name="T51" fmla="*/ 1510481 h 93"/>
                <a:gd name="T52" fmla="*/ 4906926 w 43"/>
                <a:gd name="T53" fmla="*/ 755240 h 93"/>
                <a:gd name="T54" fmla="*/ 5495703 w 43"/>
                <a:gd name="T55" fmla="*/ 0 h 93"/>
                <a:gd name="T56" fmla="*/ 6280741 w 43"/>
                <a:gd name="T57" fmla="*/ 0 h 93"/>
                <a:gd name="T58" fmla="*/ 6477000 w 43"/>
                <a:gd name="T59" fmla="*/ 3776202 h 93"/>
                <a:gd name="T60" fmla="*/ 6477000 w 43"/>
                <a:gd name="T61" fmla="*/ 6041923 h 93"/>
                <a:gd name="T62" fmla="*/ 6477000 w 43"/>
                <a:gd name="T63" fmla="*/ 7552403 h 93"/>
                <a:gd name="T64" fmla="*/ 6280741 w 43"/>
                <a:gd name="T65" fmla="*/ 8685571 h 93"/>
                <a:gd name="T66" fmla="*/ 6280741 w 43"/>
                <a:gd name="T67" fmla="*/ 10196052 h 93"/>
                <a:gd name="T68" fmla="*/ 6280741 w 43"/>
                <a:gd name="T69" fmla="*/ 11706532 h 93"/>
                <a:gd name="T70" fmla="*/ 6869519 w 43"/>
                <a:gd name="T71" fmla="*/ 13594940 h 93"/>
                <a:gd name="T72" fmla="*/ 7654556 w 43"/>
                <a:gd name="T73" fmla="*/ 16237974 h 93"/>
                <a:gd name="T74" fmla="*/ 7458297 w 43"/>
                <a:gd name="T75" fmla="*/ 16615902 h 93"/>
                <a:gd name="T76" fmla="*/ 7262037 w 43"/>
                <a:gd name="T77" fmla="*/ 16993215 h 93"/>
                <a:gd name="T78" fmla="*/ 7262037 w 43"/>
                <a:gd name="T79" fmla="*/ 18126382 h 93"/>
                <a:gd name="T80" fmla="*/ 7458297 w 43"/>
                <a:gd name="T81" fmla="*/ 19258935 h 93"/>
                <a:gd name="T82" fmla="*/ 7654556 w 43"/>
                <a:gd name="T83" fmla="*/ 22279897 h 93"/>
                <a:gd name="T84" fmla="*/ 8047074 w 43"/>
                <a:gd name="T85" fmla="*/ 25678785 h 93"/>
                <a:gd name="T86" fmla="*/ 8243334 w 43"/>
                <a:gd name="T87" fmla="*/ 28699747 h 93"/>
                <a:gd name="T88" fmla="*/ 8439593 w 43"/>
                <a:gd name="T89" fmla="*/ 32098635 h 93"/>
                <a:gd name="T90" fmla="*/ 8439593 w 43"/>
                <a:gd name="T91" fmla="*/ 33231189 h 93"/>
                <a:gd name="T92" fmla="*/ 8243334 w 43"/>
                <a:gd name="T93" fmla="*/ 34364356 h 93"/>
                <a:gd name="T94" fmla="*/ 7850815 w 43"/>
                <a:gd name="T95" fmla="*/ 34741669 h 93"/>
                <a:gd name="T96" fmla="*/ 7654556 w 43"/>
                <a:gd name="T97" fmla="*/ 3511959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US"/>
            </a:p>
          </p:txBody>
        </p:sp>
        <p:sp>
          <p:nvSpPr>
            <p:cNvPr id="43" name="Freeform 36">
              <a:extLst>
                <a:ext uri="{FF2B5EF4-FFF2-40B4-BE49-F238E27FC236}">
                  <a16:creationId xmlns:a16="http://schemas.microsoft.com/office/drawing/2014/main" id="{023710FA-5D47-4CAB-83F2-3514A8519DE4}"/>
                </a:ext>
              </a:extLst>
            </p:cNvPr>
            <p:cNvSpPr>
              <a:spLocks/>
            </p:cNvSpPr>
            <p:nvPr>
              <p:custDataLst>
                <p:tags r:id="rId31"/>
              </p:custDataLst>
            </p:nvPr>
          </p:nvSpPr>
          <p:spPr bwMode="auto">
            <a:xfrm>
              <a:off x="5367338" y="3175000"/>
              <a:ext cx="14287" cy="57150"/>
            </a:xfrm>
            <a:custGeom>
              <a:avLst/>
              <a:gdLst>
                <a:gd name="T0" fmla="*/ 5102959 w 40"/>
                <a:gd name="T1" fmla="*/ 58323616 h 56"/>
                <a:gd name="T2" fmla="*/ 4720068 w 40"/>
                <a:gd name="T3" fmla="*/ 47909049 h 56"/>
                <a:gd name="T4" fmla="*/ 4210022 w 40"/>
                <a:gd name="T5" fmla="*/ 39576375 h 56"/>
                <a:gd name="T6" fmla="*/ 3572107 w 40"/>
                <a:gd name="T7" fmla="*/ 33327635 h 56"/>
                <a:gd name="T8" fmla="*/ 2934193 w 40"/>
                <a:gd name="T9" fmla="*/ 29161808 h 56"/>
                <a:gd name="T10" fmla="*/ 1403341 w 40"/>
                <a:gd name="T11" fmla="*/ 21871101 h 56"/>
                <a:gd name="T12" fmla="*/ 0 w 40"/>
                <a:gd name="T13" fmla="*/ 12497480 h 56"/>
                <a:gd name="T14" fmla="*/ 1658364 w 40"/>
                <a:gd name="T15" fmla="*/ 4165827 h 56"/>
                <a:gd name="T16" fmla="*/ 2551658 w 40"/>
                <a:gd name="T17" fmla="*/ 0 h 56"/>
                <a:gd name="T18" fmla="*/ 3572107 w 40"/>
                <a:gd name="T19" fmla="*/ 12497480 h 56"/>
                <a:gd name="T20" fmla="*/ 4465045 w 40"/>
                <a:gd name="T21" fmla="*/ 22913068 h 56"/>
                <a:gd name="T22" fmla="*/ 4720068 w 40"/>
                <a:gd name="T23" fmla="*/ 26036928 h 56"/>
                <a:gd name="T24" fmla="*/ 4975448 w 40"/>
                <a:gd name="T25" fmla="*/ 30203775 h 56"/>
                <a:gd name="T26" fmla="*/ 4975448 w 40"/>
                <a:gd name="T27" fmla="*/ 34369602 h 56"/>
                <a:gd name="T28" fmla="*/ 5102959 w 40"/>
                <a:gd name="T29" fmla="*/ 38535429 h 56"/>
                <a:gd name="T30" fmla="*/ 5102959 w 40"/>
                <a:gd name="T31" fmla="*/ 45826136 h 56"/>
                <a:gd name="T32" fmla="*/ 5102959 w 40"/>
                <a:gd name="T33" fmla="*/ 47909049 h 56"/>
                <a:gd name="T34" fmla="*/ 5102959 w 40"/>
                <a:gd name="T35" fmla="*/ 51032909 h 56"/>
                <a:gd name="T36" fmla="*/ 5102959 w 40"/>
                <a:gd name="T37" fmla="*/ 58323616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US"/>
            </a:p>
          </p:txBody>
        </p:sp>
        <p:sp>
          <p:nvSpPr>
            <p:cNvPr id="44" name="Freeform 37">
              <a:extLst>
                <a:ext uri="{FF2B5EF4-FFF2-40B4-BE49-F238E27FC236}">
                  <a16:creationId xmlns:a16="http://schemas.microsoft.com/office/drawing/2014/main" id="{2BFE6D3C-7E76-461E-9F41-AA9040588F0D}"/>
                </a:ext>
              </a:extLst>
            </p:cNvPr>
            <p:cNvSpPr>
              <a:spLocks/>
            </p:cNvSpPr>
            <p:nvPr>
              <p:custDataLst>
                <p:tags r:id="rId32"/>
              </p:custDataLst>
            </p:nvPr>
          </p:nvSpPr>
          <p:spPr bwMode="auto">
            <a:xfrm>
              <a:off x="6854825" y="3835400"/>
              <a:ext cx="44450" cy="57150"/>
            </a:xfrm>
            <a:custGeom>
              <a:avLst/>
              <a:gdLst>
                <a:gd name="T0" fmla="*/ 0 w 106"/>
                <a:gd name="T1" fmla="*/ 4535778 h 71"/>
                <a:gd name="T2" fmla="*/ 2110117 w 106"/>
                <a:gd name="T3" fmla="*/ 6478878 h 71"/>
                <a:gd name="T4" fmla="*/ 4220234 w 106"/>
                <a:gd name="T5" fmla="*/ 7774815 h 71"/>
                <a:gd name="T6" fmla="*/ 6154648 w 106"/>
                <a:gd name="T7" fmla="*/ 8422783 h 71"/>
                <a:gd name="T8" fmla="*/ 7912939 w 106"/>
                <a:gd name="T9" fmla="*/ 8422783 h 71"/>
                <a:gd name="T10" fmla="*/ 9495526 w 106"/>
                <a:gd name="T11" fmla="*/ 7126846 h 71"/>
                <a:gd name="T12" fmla="*/ 10726708 w 106"/>
                <a:gd name="T13" fmla="*/ 5182942 h 71"/>
                <a:gd name="T14" fmla="*/ 11957469 w 106"/>
                <a:gd name="T15" fmla="*/ 3239842 h 71"/>
                <a:gd name="T16" fmla="*/ 13012528 w 106"/>
                <a:gd name="T17" fmla="*/ 0 h 71"/>
                <a:gd name="T18" fmla="*/ 14771238 w 106"/>
                <a:gd name="T19" fmla="*/ 10366688 h 71"/>
                <a:gd name="T20" fmla="*/ 16529529 w 106"/>
                <a:gd name="T21" fmla="*/ 19437439 h 71"/>
                <a:gd name="T22" fmla="*/ 17760291 w 106"/>
                <a:gd name="T23" fmla="*/ 28508191 h 71"/>
                <a:gd name="T24" fmla="*/ 18463943 w 106"/>
                <a:gd name="T25" fmla="*/ 35635037 h 71"/>
                <a:gd name="T26" fmla="*/ 18639646 w 106"/>
                <a:gd name="T27" fmla="*/ 38874879 h 71"/>
                <a:gd name="T28" fmla="*/ 18639646 w 106"/>
                <a:gd name="T29" fmla="*/ 40818784 h 71"/>
                <a:gd name="T30" fmla="*/ 18463943 w 106"/>
                <a:gd name="T31" fmla="*/ 43409852 h 71"/>
                <a:gd name="T32" fmla="*/ 18112117 w 106"/>
                <a:gd name="T33" fmla="*/ 44705789 h 71"/>
                <a:gd name="T34" fmla="*/ 17760291 w 106"/>
                <a:gd name="T35" fmla="*/ 45353757 h 71"/>
                <a:gd name="T36" fmla="*/ 17232762 w 106"/>
                <a:gd name="T37" fmla="*/ 45353757 h 71"/>
                <a:gd name="T38" fmla="*/ 16177703 w 106"/>
                <a:gd name="T39" fmla="*/ 45353757 h 71"/>
                <a:gd name="T40" fmla="*/ 15298767 w 106"/>
                <a:gd name="T41" fmla="*/ 44057820 h 71"/>
                <a:gd name="T42" fmla="*/ 13012528 w 106"/>
                <a:gd name="T43" fmla="*/ 45353757 h 71"/>
                <a:gd name="T44" fmla="*/ 11078114 w 106"/>
                <a:gd name="T45" fmla="*/ 46001725 h 71"/>
                <a:gd name="T46" fmla="*/ 9319823 w 106"/>
                <a:gd name="T47" fmla="*/ 44705789 h 71"/>
                <a:gd name="T48" fmla="*/ 7912939 w 106"/>
                <a:gd name="T49" fmla="*/ 42761884 h 71"/>
                <a:gd name="T50" fmla="*/ 6506474 w 106"/>
                <a:gd name="T51" fmla="*/ 40170815 h 71"/>
                <a:gd name="T52" fmla="*/ 5627118 w 106"/>
                <a:gd name="T53" fmla="*/ 36930974 h 71"/>
                <a:gd name="T54" fmla="*/ 4747763 w 106"/>
                <a:gd name="T55" fmla="*/ 33043164 h 71"/>
                <a:gd name="T56" fmla="*/ 4220234 w 106"/>
                <a:gd name="T57" fmla="*/ 29156159 h 71"/>
                <a:gd name="T58" fmla="*/ 3692705 w 106"/>
                <a:gd name="T59" fmla="*/ 24620381 h 71"/>
                <a:gd name="T60" fmla="*/ 3517001 w 106"/>
                <a:gd name="T61" fmla="*/ 19437439 h 71"/>
                <a:gd name="T62" fmla="*/ 3340879 w 106"/>
                <a:gd name="T63" fmla="*/ 15549630 h 71"/>
                <a:gd name="T64" fmla="*/ 3165175 w 106"/>
                <a:gd name="T65" fmla="*/ 12310593 h 71"/>
                <a:gd name="T66" fmla="*/ 3165175 w 106"/>
                <a:gd name="T67" fmla="*/ 9070751 h 71"/>
                <a:gd name="T68" fmla="*/ 3340879 w 106"/>
                <a:gd name="T69" fmla="*/ 6478878 h 71"/>
                <a:gd name="T70" fmla="*/ 3517001 w 106"/>
                <a:gd name="T71" fmla="*/ 4535778 h 71"/>
                <a:gd name="T72" fmla="*/ 3692705 w 106"/>
                <a:gd name="T73" fmla="*/ 4535778 h 71"/>
                <a:gd name="T74" fmla="*/ 3517001 w 106"/>
                <a:gd name="T75" fmla="*/ 6478878 h 71"/>
                <a:gd name="T76" fmla="*/ 3340879 w 106"/>
                <a:gd name="T77" fmla="*/ 10366688 h 71"/>
                <a:gd name="T78" fmla="*/ 3340879 w 106"/>
                <a:gd name="T79" fmla="*/ 11014656 h 71"/>
                <a:gd name="T80" fmla="*/ 3340879 w 106"/>
                <a:gd name="T81" fmla="*/ 11014656 h 71"/>
                <a:gd name="T82" fmla="*/ 3517001 w 106"/>
                <a:gd name="T83" fmla="*/ 11014656 h 71"/>
                <a:gd name="T84" fmla="*/ 3692705 w 106"/>
                <a:gd name="T85" fmla="*/ 11014656 h 71"/>
                <a:gd name="T86" fmla="*/ 4044531 w 106"/>
                <a:gd name="T87" fmla="*/ 8422783 h 71"/>
                <a:gd name="T88" fmla="*/ 4747763 w 106"/>
                <a:gd name="T89" fmla="*/ 4535778 h 71"/>
                <a:gd name="T90" fmla="*/ 0 w 106"/>
                <a:gd name="T91" fmla="*/ 4535778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US"/>
            </a:p>
          </p:txBody>
        </p:sp>
        <p:grpSp>
          <p:nvGrpSpPr>
            <p:cNvPr id="45" name="Group 38">
              <a:extLst>
                <a:ext uri="{FF2B5EF4-FFF2-40B4-BE49-F238E27FC236}">
                  <a16:creationId xmlns:a16="http://schemas.microsoft.com/office/drawing/2014/main" id="{FE1F09FD-AFEF-472B-8E97-0717575FA393}"/>
                </a:ext>
              </a:extLst>
            </p:cNvPr>
            <p:cNvGrpSpPr>
              <a:grpSpLocks/>
            </p:cNvGrpSpPr>
            <p:nvPr>
              <p:custDataLst>
                <p:tags r:id="rId33"/>
              </p:custDataLst>
            </p:nvPr>
          </p:nvGrpSpPr>
          <p:grpSpPr bwMode="auto">
            <a:xfrm>
              <a:off x="2706688" y="5643563"/>
              <a:ext cx="65087" cy="55562"/>
              <a:chOff x="1654" y="3671"/>
              <a:chExt cx="49" cy="17"/>
            </a:xfrm>
          </p:grpSpPr>
          <p:sp>
            <p:nvSpPr>
              <p:cNvPr id="564" name="Freeform 39">
                <a:extLst>
                  <a:ext uri="{FF2B5EF4-FFF2-40B4-BE49-F238E27FC236}">
                    <a16:creationId xmlns:a16="http://schemas.microsoft.com/office/drawing/2014/main" id="{4D16855B-606E-4BD0-91E3-CA1AB8363E8A}"/>
                  </a:ext>
                </a:extLst>
              </p:cNvPr>
              <p:cNvSpPr>
                <a:spLocks/>
              </p:cNvSpPr>
              <p:nvPr/>
            </p:nvSpPr>
            <p:spPr bwMode="auto">
              <a:xfrm>
                <a:off x="1654" y="3672"/>
                <a:ext cx="20" cy="14"/>
              </a:xfrm>
              <a:custGeom>
                <a:avLst/>
                <a:gdLst>
                  <a:gd name="T0" fmla="*/ 3 w 59"/>
                  <a:gd name="T1" fmla="*/ 5 h 43"/>
                  <a:gd name="T2" fmla="*/ 7 w 59"/>
                  <a:gd name="T3" fmla="*/ 2 h 43"/>
                  <a:gd name="T4" fmla="*/ 6 w 59"/>
                  <a:gd name="T5" fmla="*/ 2 h 43"/>
                  <a:gd name="T6" fmla="*/ 6 w 59"/>
                  <a:gd name="T7" fmla="*/ 1 h 43"/>
                  <a:gd name="T8" fmla="*/ 5 w 59"/>
                  <a:gd name="T9" fmla="*/ 1 h 43"/>
                  <a:gd name="T10" fmla="*/ 5 w 59"/>
                  <a:gd name="T11" fmla="*/ 0 h 43"/>
                  <a:gd name="T12" fmla="*/ 5 w 59"/>
                  <a:gd name="T13" fmla="*/ 0 h 43"/>
                  <a:gd name="T14" fmla="*/ 4 w 59"/>
                  <a:gd name="T15" fmla="*/ 0 h 43"/>
                  <a:gd name="T16" fmla="*/ 4 w 59"/>
                  <a:gd name="T17" fmla="*/ 1 h 43"/>
                  <a:gd name="T18" fmla="*/ 3 w 59"/>
                  <a:gd name="T19" fmla="*/ 1 h 43"/>
                  <a:gd name="T20" fmla="*/ 3 w 59"/>
                  <a:gd name="T21" fmla="*/ 1 h 43"/>
                  <a:gd name="T22" fmla="*/ 3 w 59"/>
                  <a:gd name="T23" fmla="*/ 1 h 43"/>
                  <a:gd name="T24" fmla="*/ 2 w 59"/>
                  <a:gd name="T25" fmla="*/ 1 h 43"/>
                  <a:gd name="T26" fmla="*/ 1 w 59"/>
                  <a:gd name="T27" fmla="*/ 2 h 43"/>
                  <a:gd name="T28" fmla="*/ 1 w 59"/>
                  <a:gd name="T29" fmla="*/ 2 h 43"/>
                  <a:gd name="T30" fmla="*/ 0 w 59"/>
                  <a:gd name="T31" fmla="*/ 3 h 43"/>
                  <a:gd name="T32" fmla="*/ 1 w 59"/>
                  <a:gd name="T33" fmla="*/ 3 h 43"/>
                  <a:gd name="T34" fmla="*/ 1 w 59"/>
                  <a:gd name="T35" fmla="*/ 4 h 43"/>
                  <a:gd name="T36" fmla="*/ 2 w 59"/>
                  <a:gd name="T37" fmla="*/ 4 h 43"/>
                  <a:gd name="T38" fmla="*/ 3 w 59"/>
                  <a:gd name="T39" fmla="*/ 5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US"/>
              </a:p>
            </p:txBody>
          </p:sp>
          <p:sp>
            <p:nvSpPr>
              <p:cNvPr id="565" name="Freeform 40">
                <a:extLst>
                  <a:ext uri="{FF2B5EF4-FFF2-40B4-BE49-F238E27FC236}">
                    <a16:creationId xmlns:a16="http://schemas.microsoft.com/office/drawing/2014/main" id="{4368290B-40F9-4710-8D13-55165E272D65}"/>
                  </a:ext>
                </a:extLst>
              </p:cNvPr>
              <p:cNvSpPr>
                <a:spLocks/>
              </p:cNvSpPr>
              <p:nvPr/>
            </p:nvSpPr>
            <p:spPr bwMode="auto">
              <a:xfrm>
                <a:off x="1681" y="3671"/>
                <a:ext cx="22" cy="17"/>
              </a:xfrm>
              <a:custGeom>
                <a:avLst/>
                <a:gdLst>
                  <a:gd name="T0" fmla="*/ 0 w 67"/>
                  <a:gd name="T1" fmla="*/ 0 h 51"/>
                  <a:gd name="T2" fmla="*/ 3 w 67"/>
                  <a:gd name="T3" fmla="*/ 0 h 51"/>
                  <a:gd name="T4" fmla="*/ 4 w 67"/>
                  <a:gd name="T5" fmla="*/ 0 h 51"/>
                  <a:gd name="T6" fmla="*/ 5 w 67"/>
                  <a:gd name="T7" fmla="*/ 0 h 51"/>
                  <a:gd name="T8" fmla="*/ 6 w 67"/>
                  <a:gd name="T9" fmla="*/ 0 h 51"/>
                  <a:gd name="T10" fmla="*/ 6 w 67"/>
                  <a:gd name="T11" fmla="*/ 0 h 51"/>
                  <a:gd name="T12" fmla="*/ 7 w 67"/>
                  <a:gd name="T13" fmla="*/ 1 h 51"/>
                  <a:gd name="T14" fmla="*/ 6 w 67"/>
                  <a:gd name="T15" fmla="*/ 1 h 51"/>
                  <a:gd name="T16" fmla="*/ 5 w 67"/>
                  <a:gd name="T17" fmla="*/ 2 h 51"/>
                  <a:gd name="T18" fmla="*/ 5 w 67"/>
                  <a:gd name="T19" fmla="*/ 2 h 51"/>
                  <a:gd name="T20" fmla="*/ 4 w 67"/>
                  <a:gd name="T21" fmla="*/ 3 h 51"/>
                  <a:gd name="T22" fmla="*/ 3 w 67"/>
                  <a:gd name="T23" fmla="*/ 3 h 51"/>
                  <a:gd name="T24" fmla="*/ 2 w 67"/>
                  <a:gd name="T25" fmla="*/ 3 h 51"/>
                  <a:gd name="T26" fmla="*/ 3 w 67"/>
                  <a:gd name="T27" fmla="*/ 3 h 51"/>
                  <a:gd name="T28" fmla="*/ 4 w 67"/>
                  <a:gd name="T29" fmla="*/ 3 h 51"/>
                  <a:gd name="T30" fmla="*/ 3 w 67"/>
                  <a:gd name="T31" fmla="*/ 4 h 51"/>
                  <a:gd name="T32" fmla="*/ 3 w 67"/>
                  <a:gd name="T33" fmla="*/ 4 h 51"/>
                  <a:gd name="T34" fmla="*/ 2 w 67"/>
                  <a:gd name="T35" fmla="*/ 5 h 51"/>
                  <a:gd name="T36" fmla="*/ 2 w 67"/>
                  <a:gd name="T37" fmla="*/ 5 h 51"/>
                  <a:gd name="T38" fmla="*/ 1 w 67"/>
                  <a:gd name="T39" fmla="*/ 5 h 51"/>
                  <a:gd name="T40" fmla="*/ 0 w 67"/>
                  <a:gd name="T41" fmla="*/ 6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US"/>
              </a:p>
            </p:txBody>
          </p:sp>
        </p:grpSp>
        <p:sp>
          <p:nvSpPr>
            <p:cNvPr id="46" name="Freeform 41">
              <a:extLst>
                <a:ext uri="{FF2B5EF4-FFF2-40B4-BE49-F238E27FC236}">
                  <a16:creationId xmlns:a16="http://schemas.microsoft.com/office/drawing/2014/main" id="{1ADC9FA4-B986-423C-8AA0-7370F61A2638}"/>
                </a:ext>
              </a:extLst>
            </p:cNvPr>
            <p:cNvSpPr>
              <a:spLocks/>
            </p:cNvSpPr>
            <p:nvPr>
              <p:custDataLst>
                <p:tags r:id="rId34"/>
              </p:custDataLst>
            </p:nvPr>
          </p:nvSpPr>
          <p:spPr bwMode="auto">
            <a:xfrm>
              <a:off x="2354263" y="3438525"/>
              <a:ext cx="31750" cy="58738"/>
            </a:xfrm>
            <a:custGeom>
              <a:avLst/>
              <a:gdLst>
                <a:gd name="T0" fmla="*/ 0 w 80"/>
                <a:gd name="T1" fmla="*/ 44766232 h 34"/>
                <a:gd name="T2" fmla="*/ 157559 w 80"/>
                <a:gd name="T3" fmla="*/ 56705391 h 34"/>
                <a:gd name="T4" fmla="*/ 315119 w 80"/>
                <a:gd name="T5" fmla="*/ 62674107 h 34"/>
                <a:gd name="T6" fmla="*/ 630238 w 80"/>
                <a:gd name="T7" fmla="*/ 71626316 h 34"/>
                <a:gd name="T8" fmla="*/ 1102519 w 80"/>
                <a:gd name="T9" fmla="*/ 77596760 h 34"/>
                <a:gd name="T10" fmla="*/ 2047478 w 80"/>
                <a:gd name="T11" fmla="*/ 86548970 h 34"/>
                <a:gd name="T12" fmla="*/ 3465116 w 80"/>
                <a:gd name="T13" fmla="*/ 92517685 h 34"/>
                <a:gd name="T14" fmla="*/ 6300391 w 80"/>
                <a:gd name="T15" fmla="*/ 98486401 h 34"/>
                <a:gd name="T16" fmla="*/ 8505428 w 80"/>
                <a:gd name="T17" fmla="*/ 101471623 h 34"/>
                <a:gd name="T18" fmla="*/ 9135666 w 80"/>
                <a:gd name="T19" fmla="*/ 98486401 h 34"/>
                <a:gd name="T20" fmla="*/ 9765506 w 80"/>
                <a:gd name="T21" fmla="*/ 95502907 h 34"/>
                <a:gd name="T22" fmla="*/ 10238184 w 80"/>
                <a:gd name="T23" fmla="*/ 86548970 h 34"/>
                <a:gd name="T24" fmla="*/ 10553303 w 80"/>
                <a:gd name="T25" fmla="*/ 80580254 h 34"/>
                <a:gd name="T26" fmla="*/ 11498263 w 80"/>
                <a:gd name="T27" fmla="*/ 62674107 h 34"/>
                <a:gd name="T28" fmla="*/ 12600781 w 80"/>
                <a:gd name="T29" fmla="*/ 44766232 h 34"/>
                <a:gd name="T30" fmla="*/ 11813381 w 80"/>
                <a:gd name="T31" fmla="*/ 29845306 h 34"/>
                <a:gd name="T32" fmla="*/ 11025584 w 80"/>
                <a:gd name="T33" fmla="*/ 20891369 h 34"/>
                <a:gd name="T34" fmla="*/ 10238184 w 80"/>
                <a:gd name="T35" fmla="*/ 11937431 h 34"/>
                <a:gd name="T36" fmla="*/ 9450784 w 80"/>
                <a:gd name="T37" fmla="*/ 5968716 h 34"/>
                <a:gd name="T38" fmla="*/ 8662988 w 80"/>
                <a:gd name="T39" fmla="*/ 0 h 34"/>
                <a:gd name="T40" fmla="*/ 8033147 w 80"/>
                <a:gd name="T41" fmla="*/ 0 h 34"/>
                <a:gd name="T42" fmla="*/ 7087791 w 80"/>
                <a:gd name="T43" fmla="*/ 2985222 h 34"/>
                <a:gd name="T44" fmla="*/ 6457950 w 80"/>
                <a:gd name="T45" fmla="*/ 5968716 h 34"/>
                <a:gd name="T46" fmla="*/ 5355431 w 80"/>
                <a:gd name="T47" fmla="*/ 5968716 h 34"/>
                <a:gd name="T48" fmla="*/ 3307556 w 80"/>
                <a:gd name="T49" fmla="*/ 5968716 h 34"/>
                <a:gd name="T50" fmla="*/ 2047478 w 80"/>
                <a:gd name="T51" fmla="*/ 8953937 h 34"/>
                <a:gd name="T52" fmla="*/ 1102519 w 80"/>
                <a:gd name="T53" fmla="*/ 14922653 h 34"/>
                <a:gd name="T54" fmla="*/ 630238 w 80"/>
                <a:gd name="T55" fmla="*/ 20891369 h 34"/>
                <a:gd name="T56" fmla="*/ 315119 w 80"/>
                <a:gd name="T57" fmla="*/ 26860085 h 34"/>
                <a:gd name="T58" fmla="*/ 157559 w 80"/>
                <a:gd name="T59" fmla="*/ 32828800 h 34"/>
                <a:gd name="T60" fmla="*/ 0 w 80"/>
                <a:gd name="T61" fmla="*/ 44766232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US"/>
            </a:p>
          </p:txBody>
        </p:sp>
        <p:sp>
          <p:nvSpPr>
            <p:cNvPr id="47" name="Freeform 42">
              <a:extLst>
                <a:ext uri="{FF2B5EF4-FFF2-40B4-BE49-F238E27FC236}">
                  <a16:creationId xmlns:a16="http://schemas.microsoft.com/office/drawing/2014/main" id="{DB0A51A8-6889-4525-B52B-50B97941147E}"/>
                </a:ext>
              </a:extLst>
            </p:cNvPr>
            <p:cNvSpPr>
              <a:spLocks/>
            </p:cNvSpPr>
            <p:nvPr>
              <p:custDataLst>
                <p:tags r:id="rId35"/>
              </p:custDataLst>
            </p:nvPr>
          </p:nvSpPr>
          <p:spPr bwMode="auto">
            <a:xfrm>
              <a:off x="2409825" y="3444875"/>
              <a:ext cx="1588" cy="58738"/>
            </a:xfrm>
            <a:custGeom>
              <a:avLst/>
              <a:gdLst>
                <a:gd name="T0" fmla="*/ 0 w 7"/>
                <a:gd name="T1" fmla="*/ 0 h 13"/>
                <a:gd name="T2" fmla="*/ 360249 w 7"/>
                <a:gd name="T3" fmla="*/ 265387321 h 13"/>
                <a:gd name="T4" fmla="*/ 360249 w 7"/>
                <a:gd name="T5" fmla="*/ 142902603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US"/>
            </a:p>
          </p:txBody>
        </p:sp>
        <p:sp>
          <p:nvSpPr>
            <p:cNvPr id="48" name="Freeform 43">
              <a:extLst>
                <a:ext uri="{FF2B5EF4-FFF2-40B4-BE49-F238E27FC236}">
                  <a16:creationId xmlns:a16="http://schemas.microsoft.com/office/drawing/2014/main" id="{6B9C0515-FEC2-49BD-AA58-3D7CF551DA69}"/>
                </a:ext>
              </a:extLst>
            </p:cNvPr>
            <p:cNvSpPr>
              <a:spLocks/>
            </p:cNvSpPr>
            <p:nvPr>
              <p:custDataLst>
                <p:tags r:id="rId36"/>
              </p:custDataLst>
            </p:nvPr>
          </p:nvSpPr>
          <p:spPr bwMode="auto">
            <a:xfrm>
              <a:off x="2422525" y="3446463"/>
              <a:ext cx="6350" cy="58737"/>
            </a:xfrm>
            <a:custGeom>
              <a:avLst/>
              <a:gdLst>
                <a:gd name="T0" fmla="*/ 0 w 20"/>
                <a:gd name="T1" fmla="*/ 0 h 6"/>
                <a:gd name="T2" fmla="*/ 705803 w 20"/>
                <a:gd name="T3" fmla="*/ 287512720 h 6"/>
                <a:gd name="T4" fmla="*/ 2016125 w 20"/>
                <a:gd name="T5" fmla="*/ 575025441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9" name="Freeform 44">
              <a:extLst>
                <a:ext uri="{FF2B5EF4-FFF2-40B4-BE49-F238E27FC236}">
                  <a16:creationId xmlns:a16="http://schemas.microsoft.com/office/drawing/2014/main" id="{2397440D-D210-4B03-B38C-DE1F55AD90EC}"/>
                </a:ext>
              </a:extLst>
            </p:cNvPr>
            <p:cNvSpPr>
              <a:spLocks/>
            </p:cNvSpPr>
            <p:nvPr>
              <p:custDataLst>
                <p:tags r:id="rId37"/>
              </p:custDataLst>
            </p:nvPr>
          </p:nvSpPr>
          <p:spPr bwMode="auto">
            <a:xfrm>
              <a:off x="2436813" y="3436938"/>
              <a:ext cx="7937" cy="57150"/>
            </a:xfrm>
            <a:custGeom>
              <a:avLst/>
              <a:gdLst>
                <a:gd name="T0" fmla="*/ 0 w 14"/>
                <a:gd name="T1" fmla="*/ 272176875 h 12"/>
                <a:gd name="T2" fmla="*/ 4499712 w 14"/>
                <a:gd name="T3" fmla="*/ 0 h 12"/>
                <a:gd name="T4" fmla="*/ 0 w 14"/>
                <a:gd name="T5" fmla="*/ 272176875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0" name="Freeform 45">
              <a:extLst>
                <a:ext uri="{FF2B5EF4-FFF2-40B4-BE49-F238E27FC236}">
                  <a16:creationId xmlns:a16="http://schemas.microsoft.com/office/drawing/2014/main" id="{338874DF-F0BB-4BFE-8D4F-DF552FB35617}"/>
                </a:ext>
              </a:extLst>
            </p:cNvPr>
            <p:cNvSpPr>
              <a:spLocks/>
            </p:cNvSpPr>
            <p:nvPr>
              <p:custDataLst>
                <p:tags r:id="rId38"/>
              </p:custDataLst>
            </p:nvPr>
          </p:nvSpPr>
          <p:spPr bwMode="auto">
            <a:xfrm>
              <a:off x="2416175" y="3429000"/>
              <a:ext cx="11113" cy="58738"/>
            </a:xfrm>
            <a:custGeom>
              <a:avLst/>
              <a:gdLst>
                <a:gd name="T0" fmla="*/ 0 w 27"/>
                <a:gd name="T1" fmla="*/ 0 h 7"/>
                <a:gd name="T2" fmla="*/ 0 w 27"/>
                <a:gd name="T3" fmla="*/ 281635524 h 7"/>
                <a:gd name="T4" fmla="*/ 338741 w 27"/>
                <a:gd name="T5" fmla="*/ 422453286 h 7"/>
                <a:gd name="T6" fmla="*/ 1185798 w 27"/>
                <a:gd name="T7" fmla="*/ 492862167 h 7"/>
                <a:gd name="T8" fmla="*/ 1694115 w 27"/>
                <a:gd name="T9" fmla="*/ 492862167 h 7"/>
                <a:gd name="T10" fmla="*/ 2541173 w 27"/>
                <a:gd name="T11" fmla="*/ 422453286 h 7"/>
                <a:gd name="T12" fmla="*/ 3218654 w 27"/>
                <a:gd name="T13" fmla="*/ 281635524 h 7"/>
                <a:gd name="T14" fmla="*/ 3896547 w 27"/>
                <a:gd name="T15" fmla="*/ 140817762 h 7"/>
                <a:gd name="T16" fmla="*/ 4574028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 name="Freeform 46">
              <a:extLst>
                <a:ext uri="{FF2B5EF4-FFF2-40B4-BE49-F238E27FC236}">
                  <a16:creationId xmlns:a16="http://schemas.microsoft.com/office/drawing/2014/main" id="{5E736735-62ED-4F1B-BEB2-C7F56EB3621A}"/>
                </a:ext>
              </a:extLst>
            </p:cNvPr>
            <p:cNvSpPr>
              <a:spLocks/>
            </p:cNvSpPr>
            <p:nvPr>
              <p:custDataLst>
                <p:tags r:id="rId39"/>
              </p:custDataLst>
            </p:nvPr>
          </p:nvSpPr>
          <p:spPr bwMode="auto">
            <a:xfrm>
              <a:off x="2465388" y="3457575"/>
              <a:ext cx="14287" cy="60325"/>
            </a:xfrm>
            <a:custGeom>
              <a:avLst/>
              <a:gdLst>
                <a:gd name="T0" fmla="*/ 0 w 27"/>
                <a:gd name="T1" fmla="*/ 0 h 6"/>
                <a:gd name="T2" fmla="*/ 3080171 w 27"/>
                <a:gd name="T3" fmla="*/ 303263829 h 6"/>
                <a:gd name="T4" fmla="*/ 7559940 w 27"/>
                <a:gd name="T5" fmla="*/ 606517604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US"/>
            </a:p>
          </p:txBody>
        </p:sp>
        <p:sp>
          <p:nvSpPr>
            <p:cNvPr id="52" name="Line 47">
              <a:extLst>
                <a:ext uri="{FF2B5EF4-FFF2-40B4-BE49-F238E27FC236}">
                  <a16:creationId xmlns:a16="http://schemas.microsoft.com/office/drawing/2014/main" id="{8B1EA692-3BF5-43F7-AECE-1014BC693FE1}"/>
                </a:ext>
              </a:extLst>
            </p:cNvPr>
            <p:cNvSpPr>
              <a:spLocks noChangeShapeType="1"/>
            </p:cNvSpPr>
            <p:nvPr>
              <p:custDataLst>
                <p:tags r:id="rId40"/>
              </p:custDataLst>
            </p:nvPr>
          </p:nvSpPr>
          <p:spPr bwMode="auto">
            <a:xfrm flipH="1" flipV="1">
              <a:off x="2473325" y="3454400"/>
              <a:ext cx="6350"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 name="Line 48">
              <a:extLst>
                <a:ext uri="{FF2B5EF4-FFF2-40B4-BE49-F238E27FC236}">
                  <a16:creationId xmlns:a16="http://schemas.microsoft.com/office/drawing/2014/main" id="{32E370AF-ED0F-44DB-85C0-11D795F662AC}"/>
                </a:ext>
              </a:extLst>
            </p:cNvPr>
            <p:cNvSpPr>
              <a:spLocks noChangeShapeType="1"/>
            </p:cNvSpPr>
            <p:nvPr>
              <p:custDataLst>
                <p:tags r:id="rId41"/>
              </p:custDataLst>
            </p:nvPr>
          </p:nvSpPr>
          <p:spPr bwMode="auto">
            <a:xfrm flipH="1">
              <a:off x="2473325" y="3479800"/>
              <a:ext cx="6350" cy="11113"/>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 name="Freeform 49">
              <a:extLst>
                <a:ext uri="{FF2B5EF4-FFF2-40B4-BE49-F238E27FC236}">
                  <a16:creationId xmlns:a16="http://schemas.microsoft.com/office/drawing/2014/main" id="{A846D5C2-E7B8-4566-94F3-83A9D7396279}"/>
                </a:ext>
              </a:extLst>
            </p:cNvPr>
            <p:cNvSpPr>
              <a:spLocks/>
            </p:cNvSpPr>
            <p:nvPr>
              <p:custDataLst>
                <p:tags r:id="rId42"/>
              </p:custDataLst>
            </p:nvPr>
          </p:nvSpPr>
          <p:spPr bwMode="auto">
            <a:xfrm>
              <a:off x="2473325" y="3475038"/>
              <a:ext cx="11113" cy="58737"/>
            </a:xfrm>
            <a:custGeom>
              <a:avLst/>
              <a:gdLst>
                <a:gd name="T0" fmla="*/ 0 w 20"/>
                <a:gd name="T1" fmla="*/ 143756360 h 24"/>
                <a:gd name="T2" fmla="*/ 617327 w 20"/>
                <a:gd name="T3" fmla="*/ 143756360 h 24"/>
                <a:gd name="T4" fmla="*/ 1852537 w 20"/>
                <a:gd name="T5" fmla="*/ 131776256 h 24"/>
                <a:gd name="T6" fmla="*/ 2778806 w 20"/>
                <a:gd name="T7" fmla="*/ 119796151 h 24"/>
                <a:gd name="T8" fmla="*/ 3705074 w 20"/>
                <a:gd name="T9" fmla="*/ 95838389 h 24"/>
                <a:gd name="T10" fmla="*/ 4631343 w 20"/>
                <a:gd name="T11" fmla="*/ 77867009 h 24"/>
                <a:gd name="T12" fmla="*/ 5557611 w 20"/>
                <a:gd name="T13" fmla="*/ 53909247 h 24"/>
                <a:gd name="T14" fmla="*/ 5865997 w 20"/>
                <a:gd name="T15" fmla="*/ 23960209 h 24"/>
                <a:gd name="T16" fmla="*/ 6174938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55" name="Freeform 50">
              <a:extLst>
                <a:ext uri="{FF2B5EF4-FFF2-40B4-BE49-F238E27FC236}">
                  <a16:creationId xmlns:a16="http://schemas.microsoft.com/office/drawing/2014/main" id="{227F02B9-FFE7-4FD9-B31B-2CFDF822E21F}"/>
                </a:ext>
              </a:extLst>
            </p:cNvPr>
            <p:cNvSpPr>
              <a:spLocks/>
            </p:cNvSpPr>
            <p:nvPr>
              <p:custDataLst>
                <p:tags r:id="rId43"/>
              </p:custDataLst>
            </p:nvPr>
          </p:nvSpPr>
          <p:spPr bwMode="auto">
            <a:xfrm>
              <a:off x="2479675" y="3503613"/>
              <a:ext cx="17463" cy="55562"/>
            </a:xfrm>
            <a:custGeom>
              <a:avLst/>
              <a:gdLst>
                <a:gd name="T0" fmla="*/ 3640242 w 33"/>
                <a:gd name="T1" fmla="*/ 34577966 h 25"/>
                <a:gd name="T2" fmla="*/ 0 w 33"/>
                <a:gd name="T3" fmla="*/ 93852575 h 25"/>
                <a:gd name="T4" fmla="*/ 2800430 w 33"/>
                <a:gd name="T5" fmla="*/ 98791014 h 25"/>
                <a:gd name="T6" fmla="*/ 5320394 w 33"/>
                <a:gd name="T7" fmla="*/ 108670115 h 25"/>
                <a:gd name="T8" fmla="*/ 7560950 w 33"/>
                <a:gd name="T9" fmla="*/ 123489879 h 25"/>
                <a:gd name="T10" fmla="*/ 9241102 w 33"/>
                <a:gd name="T11" fmla="*/ 123489879 h 25"/>
                <a:gd name="T12" fmla="*/ 9241102 w 33"/>
                <a:gd name="T13" fmla="*/ 0 h 25"/>
                <a:gd name="T14" fmla="*/ 7560950 w 33"/>
                <a:gd name="T15" fmla="*/ 0 h 25"/>
                <a:gd name="T16" fmla="*/ 3640242 w 33"/>
                <a:gd name="T17" fmla="*/ 34577966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US"/>
            </a:p>
          </p:txBody>
        </p:sp>
        <p:sp>
          <p:nvSpPr>
            <p:cNvPr id="56" name="Freeform 51">
              <a:extLst>
                <a:ext uri="{FF2B5EF4-FFF2-40B4-BE49-F238E27FC236}">
                  <a16:creationId xmlns:a16="http://schemas.microsoft.com/office/drawing/2014/main" id="{439DEB8E-BE9D-4745-8CA5-B6A9616D0A29}"/>
                </a:ext>
              </a:extLst>
            </p:cNvPr>
            <p:cNvSpPr>
              <a:spLocks/>
            </p:cNvSpPr>
            <p:nvPr>
              <p:custDataLst>
                <p:tags r:id="rId44"/>
              </p:custDataLst>
            </p:nvPr>
          </p:nvSpPr>
          <p:spPr bwMode="auto">
            <a:xfrm>
              <a:off x="2486025" y="3551238"/>
              <a:ext cx="15875" cy="57150"/>
            </a:xfrm>
            <a:custGeom>
              <a:avLst/>
              <a:gdLst>
                <a:gd name="T0" fmla="*/ 0 w 40"/>
                <a:gd name="T1" fmla="*/ 0 h 18"/>
                <a:gd name="T2" fmla="*/ 472678 w 40"/>
                <a:gd name="T3" fmla="*/ 60483750 h 18"/>
                <a:gd name="T4" fmla="*/ 944959 w 40"/>
                <a:gd name="T5" fmla="*/ 110886875 h 18"/>
                <a:gd name="T6" fmla="*/ 1575197 w 40"/>
                <a:gd name="T7" fmla="*/ 141128750 h 18"/>
                <a:gd name="T8" fmla="*/ 2362597 w 40"/>
                <a:gd name="T9" fmla="*/ 161290000 h 18"/>
                <a:gd name="T10" fmla="*/ 4252913 w 40"/>
                <a:gd name="T11" fmla="*/ 181451250 h 18"/>
                <a:gd name="T12" fmla="*/ 6300391 w 40"/>
                <a:gd name="T13" fmla="*/ 181451250 h 18"/>
                <a:gd name="T14" fmla="*/ 6300391 w 40"/>
                <a:gd name="T15" fmla="*/ 0 h 18"/>
                <a:gd name="T16" fmla="*/ 4725194 w 40"/>
                <a:gd name="T17" fmla="*/ 0 h 18"/>
                <a:gd name="T18" fmla="*/ 3150394 w 40"/>
                <a:gd name="T19" fmla="*/ 0 h 18"/>
                <a:gd name="T20" fmla="*/ 1575197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7" name="Freeform 52">
              <a:extLst>
                <a:ext uri="{FF2B5EF4-FFF2-40B4-BE49-F238E27FC236}">
                  <a16:creationId xmlns:a16="http://schemas.microsoft.com/office/drawing/2014/main" id="{4B1FB991-A588-4FF7-884A-85271D7E7910}"/>
                </a:ext>
              </a:extLst>
            </p:cNvPr>
            <p:cNvSpPr>
              <a:spLocks/>
            </p:cNvSpPr>
            <p:nvPr>
              <p:custDataLst>
                <p:tags r:id="rId45"/>
              </p:custDataLst>
            </p:nvPr>
          </p:nvSpPr>
          <p:spPr bwMode="auto">
            <a:xfrm>
              <a:off x="2495550" y="3576638"/>
              <a:ext cx="3175" cy="57150"/>
            </a:xfrm>
            <a:custGeom>
              <a:avLst/>
              <a:gdLst>
                <a:gd name="T0" fmla="*/ 333375 w 11"/>
                <a:gd name="T1" fmla="*/ 102066328 h 32"/>
                <a:gd name="T2" fmla="*/ 499918 w 11"/>
                <a:gd name="T3" fmla="*/ 89307591 h 32"/>
                <a:gd name="T4" fmla="*/ 666461 w 11"/>
                <a:gd name="T5" fmla="*/ 79738538 h 32"/>
                <a:gd name="T6" fmla="*/ 749877 w 11"/>
                <a:gd name="T7" fmla="*/ 70171270 h 32"/>
                <a:gd name="T8" fmla="*/ 833005 w 11"/>
                <a:gd name="T9" fmla="*/ 57412533 h 32"/>
                <a:gd name="T10" fmla="*/ 916420 w 11"/>
                <a:gd name="T11" fmla="*/ 28705373 h 32"/>
                <a:gd name="T12" fmla="*/ 916420 w 11"/>
                <a:gd name="T13" fmla="*/ 0 h 32"/>
                <a:gd name="T14" fmla="*/ 499918 w 11"/>
                <a:gd name="T15" fmla="*/ 9569053 h 32"/>
                <a:gd name="T16" fmla="*/ 249959 w 11"/>
                <a:gd name="T17" fmla="*/ 22327791 h 32"/>
                <a:gd name="T18" fmla="*/ 83416 w 11"/>
                <a:gd name="T19" fmla="*/ 35084742 h 32"/>
                <a:gd name="T20" fmla="*/ 0 w 11"/>
                <a:gd name="T21" fmla="*/ 51033164 h 32"/>
                <a:gd name="T22" fmla="*/ 0 w 11"/>
                <a:gd name="T23" fmla="*/ 63791902 h 32"/>
                <a:gd name="T24" fmla="*/ 83416 w 11"/>
                <a:gd name="T25" fmla="*/ 76550639 h 32"/>
                <a:gd name="T26" fmla="*/ 166543 w 11"/>
                <a:gd name="T27" fmla="*/ 89307591 h 32"/>
                <a:gd name="T28" fmla="*/ 333375 w 11"/>
                <a:gd name="T29" fmla="*/ 102066328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US"/>
            </a:p>
          </p:txBody>
        </p:sp>
        <p:sp>
          <p:nvSpPr>
            <p:cNvPr id="58" name="Freeform 53">
              <a:extLst>
                <a:ext uri="{FF2B5EF4-FFF2-40B4-BE49-F238E27FC236}">
                  <a16:creationId xmlns:a16="http://schemas.microsoft.com/office/drawing/2014/main" id="{92086F5D-BA21-4F2E-A85E-AA43B6BE7213}"/>
                </a:ext>
              </a:extLst>
            </p:cNvPr>
            <p:cNvSpPr>
              <a:spLocks/>
            </p:cNvSpPr>
            <p:nvPr>
              <p:custDataLst>
                <p:tags r:id="rId46"/>
              </p:custDataLst>
            </p:nvPr>
          </p:nvSpPr>
          <p:spPr bwMode="auto">
            <a:xfrm>
              <a:off x="2517775" y="3606800"/>
              <a:ext cx="1588" cy="55563"/>
            </a:xfrm>
            <a:custGeom>
              <a:avLst/>
              <a:gdLst>
                <a:gd name="T0" fmla="*/ 0 w 14"/>
                <a:gd name="T1" fmla="*/ 0 h 24"/>
                <a:gd name="T2" fmla="*/ 0 w 14"/>
                <a:gd name="T3" fmla="*/ 128630660 h 24"/>
                <a:gd name="T4" fmla="*/ 180125 w 14"/>
                <a:gd name="T5" fmla="*/ 64315330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9" name="Freeform 54">
              <a:extLst>
                <a:ext uri="{FF2B5EF4-FFF2-40B4-BE49-F238E27FC236}">
                  <a16:creationId xmlns:a16="http://schemas.microsoft.com/office/drawing/2014/main" id="{64C00F11-751A-4C57-B77B-73819F86A3B3}"/>
                </a:ext>
              </a:extLst>
            </p:cNvPr>
            <p:cNvSpPr>
              <a:spLocks/>
            </p:cNvSpPr>
            <p:nvPr>
              <p:custDataLst>
                <p:tags r:id="rId47"/>
              </p:custDataLst>
            </p:nvPr>
          </p:nvSpPr>
          <p:spPr bwMode="auto">
            <a:xfrm>
              <a:off x="2479675" y="3619500"/>
              <a:ext cx="15875" cy="58738"/>
            </a:xfrm>
            <a:custGeom>
              <a:avLst/>
              <a:gdLst>
                <a:gd name="T0" fmla="*/ 0 w 27"/>
                <a:gd name="T1" fmla="*/ 127779080 h 18"/>
                <a:gd name="T2" fmla="*/ 2420056 w 27"/>
                <a:gd name="T3" fmla="*/ 159725482 h 18"/>
                <a:gd name="T4" fmla="*/ 4494389 w 27"/>
                <a:gd name="T5" fmla="*/ 191668621 h 18"/>
                <a:gd name="T6" fmla="*/ 7605301 w 27"/>
                <a:gd name="T7" fmla="*/ 74537253 h 18"/>
                <a:gd name="T8" fmla="*/ 9333912 w 27"/>
                <a:gd name="T9" fmla="*/ 0 h 18"/>
                <a:gd name="T10" fmla="*/ 7605301 w 27"/>
                <a:gd name="T11" fmla="*/ 0 h 18"/>
                <a:gd name="T12" fmla="*/ 6222412 w 27"/>
                <a:gd name="T13" fmla="*/ 10647713 h 18"/>
                <a:gd name="T14" fmla="*/ 4494389 w 27"/>
                <a:gd name="T15" fmla="*/ 21295426 h 18"/>
                <a:gd name="T16" fmla="*/ 3457222 w 27"/>
                <a:gd name="T17" fmla="*/ 42594115 h 18"/>
                <a:gd name="T18" fmla="*/ 1728611 w 27"/>
                <a:gd name="T19" fmla="*/ 85184966 h 18"/>
                <a:gd name="T20" fmla="*/ 0 w 27"/>
                <a:gd name="T21" fmla="*/ 12777908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60" name="Freeform 55">
              <a:extLst>
                <a:ext uri="{FF2B5EF4-FFF2-40B4-BE49-F238E27FC236}">
                  <a16:creationId xmlns:a16="http://schemas.microsoft.com/office/drawing/2014/main" id="{E7A46E54-E13F-4DFF-8E42-9C1376CF21A1}"/>
                </a:ext>
              </a:extLst>
            </p:cNvPr>
            <p:cNvSpPr>
              <a:spLocks/>
            </p:cNvSpPr>
            <p:nvPr>
              <p:custDataLst>
                <p:tags r:id="rId48"/>
              </p:custDataLst>
            </p:nvPr>
          </p:nvSpPr>
          <p:spPr bwMode="auto">
            <a:xfrm>
              <a:off x="2465388" y="3684588"/>
              <a:ext cx="23812" cy="57150"/>
            </a:xfrm>
            <a:custGeom>
              <a:avLst/>
              <a:gdLst>
                <a:gd name="T0" fmla="*/ 0 w 47"/>
                <a:gd name="T1" fmla="*/ 48971718 h 49"/>
                <a:gd name="T2" fmla="*/ 256866 w 47"/>
                <a:gd name="T3" fmla="*/ 53052695 h 49"/>
                <a:gd name="T4" fmla="*/ 513225 w 47"/>
                <a:gd name="T5" fmla="*/ 55772568 h 49"/>
                <a:gd name="T6" fmla="*/ 1026956 w 47"/>
                <a:gd name="T7" fmla="*/ 58493608 h 49"/>
                <a:gd name="T8" fmla="*/ 1540180 w 47"/>
                <a:gd name="T9" fmla="*/ 61214648 h 49"/>
                <a:gd name="T10" fmla="*/ 3080361 w 47"/>
                <a:gd name="T11" fmla="*/ 65295624 h 49"/>
                <a:gd name="T12" fmla="*/ 3593585 w 47"/>
                <a:gd name="T13" fmla="*/ 66655561 h 49"/>
                <a:gd name="T14" fmla="*/ 4620035 w 47"/>
                <a:gd name="T15" fmla="*/ 66655561 h 49"/>
                <a:gd name="T16" fmla="*/ 6160215 w 47"/>
                <a:gd name="T17" fmla="*/ 62574585 h 49"/>
                <a:gd name="T18" fmla="*/ 7444037 w 47"/>
                <a:gd name="T19" fmla="*/ 57133671 h 49"/>
                <a:gd name="T20" fmla="*/ 8983710 w 47"/>
                <a:gd name="T21" fmla="*/ 53052695 h 49"/>
                <a:gd name="T22" fmla="*/ 10010666 w 47"/>
                <a:gd name="T23" fmla="*/ 47610615 h 49"/>
                <a:gd name="T24" fmla="*/ 11293981 w 47"/>
                <a:gd name="T25" fmla="*/ 42169702 h 49"/>
                <a:gd name="T26" fmla="*/ 11807206 w 47"/>
                <a:gd name="T27" fmla="*/ 36728789 h 49"/>
                <a:gd name="T28" fmla="*/ 12064071 w 47"/>
                <a:gd name="T29" fmla="*/ 32647812 h 49"/>
                <a:gd name="T30" fmla="*/ 12064071 w 47"/>
                <a:gd name="T31" fmla="*/ 16323906 h 49"/>
                <a:gd name="T32" fmla="*/ 12064071 w 47"/>
                <a:gd name="T33" fmla="*/ 0 h 49"/>
                <a:gd name="T34" fmla="*/ 6930305 w 47"/>
                <a:gd name="T35" fmla="*/ 0 h 49"/>
                <a:gd name="T36" fmla="*/ 4363676 w 47"/>
                <a:gd name="T37" fmla="*/ 10882993 h 49"/>
                <a:gd name="T38" fmla="*/ 2310271 w 47"/>
                <a:gd name="T39" fmla="*/ 21764819 h 49"/>
                <a:gd name="T40" fmla="*/ 1283315 w 47"/>
                <a:gd name="T41" fmla="*/ 27206899 h 49"/>
                <a:gd name="T42" fmla="*/ 513225 w 47"/>
                <a:gd name="T43" fmla="*/ 34007749 h 49"/>
                <a:gd name="T44" fmla="*/ 256866 w 47"/>
                <a:gd name="T45" fmla="*/ 40809765 h 49"/>
                <a:gd name="T46" fmla="*/ 0 w 47"/>
                <a:gd name="T47" fmla="*/ 4897171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US"/>
            </a:p>
          </p:txBody>
        </p:sp>
        <p:sp>
          <p:nvSpPr>
            <p:cNvPr id="61" name="Freeform 56">
              <a:extLst>
                <a:ext uri="{FF2B5EF4-FFF2-40B4-BE49-F238E27FC236}">
                  <a16:creationId xmlns:a16="http://schemas.microsoft.com/office/drawing/2014/main" id="{E8AF9396-3E0F-4BCA-AA72-ADF5F4970954}"/>
                </a:ext>
              </a:extLst>
            </p:cNvPr>
            <p:cNvSpPr>
              <a:spLocks/>
            </p:cNvSpPr>
            <p:nvPr>
              <p:custDataLst>
                <p:tags r:id="rId49"/>
              </p:custDataLst>
            </p:nvPr>
          </p:nvSpPr>
          <p:spPr bwMode="auto">
            <a:xfrm>
              <a:off x="2484438" y="3660775"/>
              <a:ext cx="12700" cy="57150"/>
            </a:xfrm>
            <a:custGeom>
              <a:avLst/>
              <a:gdLst>
                <a:gd name="T0" fmla="*/ 0 w 26"/>
                <a:gd name="T1" fmla="*/ 0 h 9"/>
                <a:gd name="T2" fmla="*/ 0 w 26"/>
                <a:gd name="T3" fmla="*/ 161290000 h 9"/>
                <a:gd name="T4" fmla="*/ 715596 w 26"/>
                <a:gd name="T5" fmla="*/ 282257500 h 9"/>
                <a:gd name="T6" fmla="*/ 1431681 w 26"/>
                <a:gd name="T7" fmla="*/ 322580000 h 9"/>
                <a:gd name="T8" fmla="*/ 2624504 w 26"/>
                <a:gd name="T9" fmla="*/ 362902500 h 9"/>
                <a:gd name="T10" fmla="*/ 3578958 w 26"/>
                <a:gd name="T11" fmla="*/ 322580000 h 9"/>
                <a:gd name="T12" fmla="*/ 4771781 w 26"/>
                <a:gd name="T13" fmla="*/ 282257500 h 9"/>
                <a:gd name="T14" fmla="*/ 5487865 w 26"/>
                <a:gd name="T15" fmla="*/ 161290000 h 9"/>
                <a:gd name="T16" fmla="*/ 6203462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62" name="Freeform 57">
              <a:extLst>
                <a:ext uri="{FF2B5EF4-FFF2-40B4-BE49-F238E27FC236}">
                  <a16:creationId xmlns:a16="http://schemas.microsoft.com/office/drawing/2014/main" id="{04E07AB8-093F-492D-96A5-985442D0DCC8}"/>
                </a:ext>
              </a:extLst>
            </p:cNvPr>
            <p:cNvSpPr>
              <a:spLocks/>
            </p:cNvSpPr>
            <p:nvPr>
              <p:custDataLst>
                <p:tags r:id="rId50"/>
              </p:custDataLst>
            </p:nvPr>
          </p:nvSpPr>
          <p:spPr bwMode="auto">
            <a:xfrm>
              <a:off x="1966913" y="3332163"/>
              <a:ext cx="15875" cy="57150"/>
            </a:xfrm>
            <a:custGeom>
              <a:avLst/>
              <a:gdLst>
                <a:gd name="T0" fmla="*/ 0 w 39"/>
                <a:gd name="T1" fmla="*/ 0 h 18"/>
                <a:gd name="T2" fmla="*/ 0 w 39"/>
                <a:gd name="T3" fmla="*/ 181451250 h 18"/>
                <a:gd name="T4" fmla="*/ 994019 w 39"/>
                <a:gd name="T5" fmla="*/ 181451250 h 18"/>
                <a:gd name="T6" fmla="*/ 2154115 w 39"/>
                <a:gd name="T7" fmla="*/ 181451250 h 18"/>
                <a:gd name="T8" fmla="*/ 3810814 w 39"/>
                <a:gd name="T9" fmla="*/ 171370625 h 18"/>
                <a:gd name="T10" fmla="*/ 4970910 w 39"/>
                <a:gd name="T11" fmla="*/ 141128750 h 18"/>
                <a:gd name="T12" fmla="*/ 5633590 w 39"/>
                <a:gd name="T13" fmla="*/ 120967500 h 18"/>
                <a:gd name="T14" fmla="*/ 6130599 w 39"/>
                <a:gd name="T15" fmla="*/ 100806250 h 18"/>
                <a:gd name="T16" fmla="*/ 6296269 w 39"/>
                <a:gd name="T17" fmla="*/ 80645000 h 18"/>
                <a:gd name="T18" fmla="*/ 6461939 w 39"/>
                <a:gd name="T19" fmla="*/ 60483750 h 18"/>
                <a:gd name="T20" fmla="*/ 4804833 w 39"/>
                <a:gd name="T21" fmla="*/ 50403125 h 18"/>
                <a:gd name="T22" fmla="*/ 3148135 w 39"/>
                <a:gd name="T23" fmla="*/ 30241875 h 18"/>
                <a:gd name="T24" fmla="*/ 1657106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63" name="Group 58">
              <a:extLst>
                <a:ext uri="{FF2B5EF4-FFF2-40B4-BE49-F238E27FC236}">
                  <a16:creationId xmlns:a16="http://schemas.microsoft.com/office/drawing/2014/main" id="{33CFD73C-CF04-4B9D-A483-DD64C2FF20D7}"/>
                </a:ext>
              </a:extLst>
            </p:cNvPr>
            <p:cNvGrpSpPr>
              <a:grpSpLocks/>
            </p:cNvGrpSpPr>
            <p:nvPr>
              <p:custDataLst>
                <p:tags r:id="rId51"/>
              </p:custDataLst>
            </p:nvPr>
          </p:nvGrpSpPr>
          <p:grpSpPr bwMode="auto">
            <a:xfrm>
              <a:off x="2092325" y="3165475"/>
              <a:ext cx="131763" cy="195263"/>
              <a:chOff x="1199" y="2121"/>
              <a:chExt cx="97" cy="123"/>
            </a:xfrm>
          </p:grpSpPr>
          <p:sp>
            <p:nvSpPr>
              <p:cNvPr id="554" name="Freeform 59">
                <a:extLst>
                  <a:ext uri="{FF2B5EF4-FFF2-40B4-BE49-F238E27FC236}">
                    <a16:creationId xmlns:a16="http://schemas.microsoft.com/office/drawing/2014/main" id="{F35896AC-3936-4DDB-B0AB-4AEF249E9F18}"/>
                  </a:ext>
                </a:extLst>
              </p:cNvPr>
              <p:cNvSpPr>
                <a:spLocks/>
              </p:cNvSpPr>
              <p:nvPr/>
            </p:nvSpPr>
            <p:spPr bwMode="auto">
              <a:xfrm>
                <a:off x="1274" y="2236"/>
                <a:ext cx="16" cy="8"/>
              </a:xfrm>
              <a:custGeom>
                <a:avLst/>
                <a:gdLst>
                  <a:gd name="T0" fmla="*/ 0 w 52"/>
                  <a:gd name="T1" fmla="*/ 3 h 25"/>
                  <a:gd name="T2" fmla="*/ 1 w 52"/>
                  <a:gd name="T3" fmla="*/ 3 h 25"/>
                  <a:gd name="T4" fmla="*/ 2 w 52"/>
                  <a:gd name="T5" fmla="*/ 3 h 25"/>
                  <a:gd name="T6" fmla="*/ 2 w 52"/>
                  <a:gd name="T7" fmla="*/ 2 h 25"/>
                  <a:gd name="T8" fmla="*/ 3 w 52"/>
                  <a:gd name="T9" fmla="*/ 2 h 25"/>
                  <a:gd name="T10" fmla="*/ 4 w 52"/>
                  <a:gd name="T11" fmla="*/ 2 h 25"/>
                  <a:gd name="T12" fmla="*/ 4 w 52"/>
                  <a:gd name="T13" fmla="*/ 1 h 25"/>
                  <a:gd name="T14" fmla="*/ 5 w 52"/>
                  <a:gd name="T15" fmla="*/ 1 h 25"/>
                  <a:gd name="T16" fmla="*/ 5 w 52"/>
                  <a:gd name="T17" fmla="*/ 0 h 25"/>
                  <a:gd name="T18" fmla="*/ 4 w 52"/>
                  <a:gd name="T19" fmla="*/ 0 h 25"/>
                  <a:gd name="T20" fmla="*/ 3 w 52"/>
                  <a:gd name="T21" fmla="*/ 0 h 25"/>
                  <a:gd name="T22" fmla="*/ 2 w 52"/>
                  <a:gd name="T23" fmla="*/ 0 h 25"/>
                  <a:gd name="T24" fmla="*/ 2 w 52"/>
                  <a:gd name="T25" fmla="*/ 0 h 25"/>
                  <a:gd name="T26" fmla="*/ 1 w 52"/>
                  <a:gd name="T27" fmla="*/ 1 h 25"/>
                  <a:gd name="T28" fmla="*/ 1 w 52"/>
                  <a:gd name="T29" fmla="*/ 1 h 25"/>
                  <a:gd name="T30" fmla="*/ 0 w 52"/>
                  <a:gd name="T31" fmla="*/ 2 h 25"/>
                  <a:gd name="T32" fmla="*/ 0 w 52"/>
                  <a:gd name="T33" fmla="*/ 3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US"/>
              </a:p>
            </p:txBody>
          </p:sp>
          <p:sp>
            <p:nvSpPr>
              <p:cNvPr id="555" name="Freeform 60">
                <a:extLst>
                  <a:ext uri="{FF2B5EF4-FFF2-40B4-BE49-F238E27FC236}">
                    <a16:creationId xmlns:a16="http://schemas.microsoft.com/office/drawing/2014/main" id="{B045441B-8A0F-4234-BAB9-E47E664C2F4B}"/>
                  </a:ext>
                </a:extLst>
              </p:cNvPr>
              <p:cNvSpPr>
                <a:spLocks/>
              </p:cNvSpPr>
              <p:nvPr/>
            </p:nvSpPr>
            <p:spPr bwMode="auto">
              <a:xfrm>
                <a:off x="1199" y="2131"/>
                <a:ext cx="11" cy="4"/>
              </a:xfrm>
              <a:custGeom>
                <a:avLst/>
                <a:gdLst>
                  <a:gd name="T0" fmla="*/ 0 w 33"/>
                  <a:gd name="T1" fmla="*/ 0 h 13"/>
                  <a:gd name="T2" fmla="*/ 0 w 33"/>
                  <a:gd name="T3" fmla="*/ 1 h 13"/>
                  <a:gd name="T4" fmla="*/ 0 w 33"/>
                  <a:gd name="T5" fmla="*/ 1 h 13"/>
                  <a:gd name="T6" fmla="*/ 1 w 33"/>
                  <a:gd name="T7" fmla="*/ 1 h 13"/>
                  <a:gd name="T8" fmla="*/ 2 w 33"/>
                  <a:gd name="T9" fmla="*/ 1 h 13"/>
                  <a:gd name="T10" fmla="*/ 3 w 33"/>
                  <a:gd name="T11" fmla="*/ 1 h 13"/>
                  <a:gd name="T12" fmla="*/ 4 w 33"/>
                  <a:gd name="T13" fmla="*/ 1 h 13"/>
                  <a:gd name="T14" fmla="*/ 3 w 33"/>
                  <a:gd name="T15" fmla="*/ 0 h 13"/>
                  <a:gd name="T16" fmla="*/ 2 w 33"/>
                  <a:gd name="T17" fmla="*/ 0 h 13"/>
                  <a:gd name="T18" fmla="*/ 1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56" name="Freeform 61">
                <a:extLst>
                  <a:ext uri="{FF2B5EF4-FFF2-40B4-BE49-F238E27FC236}">
                    <a16:creationId xmlns:a16="http://schemas.microsoft.com/office/drawing/2014/main" id="{44161900-EF2A-4A38-A41E-27DD41FB4A55}"/>
                  </a:ext>
                </a:extLst>
              </p:cNvPr>
              <p:cNvSpPr>
                <a:spLocks/>
              </p:cNvSpPr>
              <p:nvPr/>
            </p:nvSpPr>
            <p:spPr bwMode="auto">
              <a:xfrm>
                <a:off x="1210" y="2121"/>
                <a:ext cx="20" cy="28"/>
              </a:xfrm>
              <a:custGeom>
                <a:avLst/>
                <a:gdLst>
                  <a:gd name="T0" fmla="*/ 2 w 67"/>
                  <a:gd name="T1" fmla="*/ 2 h 86"/>
                  <a:gd name="T2" fmla="*/ 0 w 67"/>
                  <a:gd name="T3" fmla="*/ 0 h 86"/>
                  <a:gd name="T4" fmla="*/ 2 w 67"/>
                  <a:gd name="T5" fmla="*/ 0 h 86"/>
                  <a:gd name="T6" fmla="*/ 3 w 67"/>
                  <a:gd name="T7" fmla="*/ 0 h 86"/>
                  <a:gd name="T8" fmla="*/ 3 w 67"/>
                  <a:gd name="T9" fmla="*/ 1 h 86"/>
                  <a:gd name="T10" fmla="*/ 3 w 67"/>
                  <a:gd name="T11" fmla="*/ 1 h 86"/>
                  <a:gd name="T12" fmla="*/ 4 w 67"/>
                  <a:gd name="T13" fmla="*/ 2 h 86"/>
                  <a:gd name="T14" fmla="*/ 4 w 67"/>
                  <a:gd name="T15" fmla="*/ 2 h 86"/>
                  <a:gd name="T16" fmla="*/ 5 w 67"/>
                  <a:gd name="T17" fmla="*/ 2 h 86"/>
                  <a:gd name="T18" fmla="*/ 5 w 67"/>
                  <a:gd name="T19" fmla="*/ 3 h 86"/>
                  <a:gd name="T20" fmla="*/ 6 w 67"/>
                  <a:gd name="T21" fmla="*/ 4 h 86"/>
                  <a:gd name="T22" fmla="*/ 6 w 67"/>
                  <a:gd name="T23" fmla="*/ 5 h 86"/>
                  <a:gd name="T24" fmla="*/ 6 w 67"/>
                  <a:gd name="T25" fmla="*/ 5 h 86"/>
                  <a:gd name="T26" fmla="*/ 6 w 67"/>
                  <a:gd name="T27" fmla="*/ 6 h 86"/>
                  <a:gd name="T28" fmla="*/ 6 w 67"/>
                  <a:gd name="T29" fmla="*/ 7 h 86"/>
                  <a:gd name="T30" fmla="*/ 6 w 67"/>
                  <a:gd name="T31" fmla="*/ 8 h 86"/>
                  <a:gd name="T32" fmla="*/ 5 w 67"/>
                  <a:gd name="T33" fmla="*/ 9 h 86"/>
                  <a:gd name="T34" fmla="*/ 5 w 67"/>
                  <a:gd name="T35" fmla="*/ 7 h 86"/>
                  <a:gd name="T36" fmla="*/ 4 w 67"/>
                  <a:gd name="T37" fmla="*/ 6 h 86"/>
                  <a:gd name="T38" fmla="*/ 4 w 67"/>
                  <a:gd name="T39" fmla="*/ 5 h 86"/>
                  <a:gd name="T40" fmla="*/ 4 w 67"/>
                  <a:gd name="T41" fmla="*/ 4 h 86"/>
                  <a:gd name="T42" fmla="*/ 4 w 67"/>
                  <a:gd name="T43" fmla="*/ 4 h 86"/>
                  <a:gd name="T44" fmla="*/ 5 w 67"/>
                  <a:gd name="T45" fmla="*/ 3 h 86"/>
                  <a:gd name="T46" fmla="*/ 4 w 67"/>
                  <a:gd name="T47" fmla="*/ 3 h 86"/>
                  <a:gd name="T48" fmla="*/ 3 w 67"/>
                  <a:gd name="T49" fmla="*/ 3 h 86"/>
                  <a:gd name="T50" fmla="*/ 3 w 67"/>
                  <a:gd name="T51" fmla="*/ 3 h 86"/>
                  <a:gd name="T52" fmla="*/ 2 w 67"/>
                  <a:gd name="T53" fmla="*/ 3 h 86"/>
                  <a:gd name="T54" fmla="*/ 2 w 67"/>
                  <a:gd name="T55" fmla="*/ 2 h 86"/>
                  <a:gd name="T56" fmla="*/ 2 w 67"/>
                  <a:gd name="T57" fmla="*/ 2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US"/>
              </a:p>
            </p:txBody>
          </p:sp>
          <p:sp>
            <p:nvSpPr>
              <p:cNvPr id="557" name="Freeform 62">
                <a:extLst>
                  <a:ext uri="{FF2B5EF4-FFF2-40B4-BE49-F238E27FC236}">
                    <a16:creationId xmlns:a16="http://schemas.microsoft.com/office/drawing/2014/main" id="{E8C44D1C-FBE9-4327-8005-C093F5892FED}"/>
                  </a:ext>
                </a:extLst>
              </p:cNvPr>
              <p:cNvSpPr>
                <a:spLocks/>
              </p:cNvSpPr>
              <p:nvPr/>
            </p:nvSpPr>
            <p:spPr bwMode="auto">
              <a:xfrm>
                <a:off x="1201" y="2159"/>
                <a:ext cx="16" cy="28"/>
              </a:xfrm>
              <a:custGeom>
                <a:avLst/>
                <a:gdLst>
                  <a:gd name="T0" fmla="*/ 3 w 49"/>
                  <a:gd name="T1" fmla="*/ 1 h 86"/>
                  <a:gd name="T2" fmla="*/ 2 w 49"/>
                  <a:gd name="T3" fmla="*/ 1 h 86"/>
                  <a:gd name="T4" fmla="*/ 2 w 49"/>
                  <a:gd name="T5" fmla="*/ 0 h 86"/>
                  <a:gd name="T6" fmla="*/ 1 w 49"/>
                  <a:gd name="T7" fmla="*/ 1 h 86"/>
                  <a:gd name="T8" fmla="*/ 1 w 49"/>
                  <a:gd name="T9" fmla="*/ 1 h 86"/>
                  <a:gd name="T10" fmla="*/ 0 w 49"/>
                  <a:gd name="T11" fmla="*/ 2 h 86"/>
                  <a:gd name="T12" fmla="*/ 0 w 49"/>
                  <a:gd name="T13" fmla="*/ 3 h 86"/>
                  <a:gd name="T14" fmla="*/ 0 w 49"/>
                  <a:gd name="T15" fmla="*/ 4 h 86"/>
                  <a:gd name="T16" fmla="*/ 0 w 49"/>
                  <a:gd name="T17" fmla="*/ 5 h 86"/>
                  <a:gd name="T18" fmla="*/ 1 w 49"/>
                  <a:gd name="T19" fmla="*/ 5 h 86"/>
                  <a:gd name="T20" fmla="*/ 1 w 49"/>
                  <a:gd name="T21" fmla="*/ 6 h 86"/>
                  <a:gd name="T22" fmla="*/ 1 w 49"/>
                  <a:gd name="T23" fmla="*/ 7 h 86"/>
                  <a:gd name="T24" fmla="*/ 2 w 49"/>
                  <a:gd name="T25" fmla="*/ 8 h 86"/>
                  <a:gd name="T26" fmla="*/ 2 w 49"/>
                  <a:gd name="T27" fmla="*/ 8 h 86"/>
                  <a:gd name="T28" fmla="*/ 3 w 49"/>
                  <a:gd name="T29" fmla="*/ 9 h 86"/>
                  <a:gd name="T30" fmla="*/ 3 w 49"/>
                  <a:gd name="T31" fmla="*/ 8 h 86"/>
                  <a:gd name="T32" fmla="*/ 4 w 49"/>
                  <a:gd name="T33" fmla="*/ 7 h 86"/>
                  <a:gd name="T34" fmla="*/ 5 w 49"/>
                  <a:gd name="T35" fmla="*/ 6 h 86"/>
                  <a:gd name="T36" fmla="*/ 5 w 49"/>
                  <a:gd name="T37" fmla="*/ 5 h 86"/>
                  <a:gd name="T38" fmla="*/ 5 w 49"/>
                  <a:gd name="T39" fmla="*/ 4 h 86"/>
                  <a:gd name="T40" fmla="*/ 5 w 49"/>
                  <a:gd name="T41" fmla="*/ 4 h 86"/>
                  <a:gd name="T42" fmla="*/ 5 w 49"/>
                  <a:gd name="T43" fmla="*/ 3 h 86"/>
                  <a:gd name="T44" fmla="*/ 5 w 49"/>
                  <a:gd name="T45" fmla="*/ 2 h 86"/>
                  <a:gd name="T46" fmla="*/ 5 w 49"/>
                  <a:gd name="T47" fmla="*/ 2 h 86"/>
                  <a:gd name="T48" fmla="*/ 4 w 49"/>
                  <a:gd name="T49" fmla="*/ 2 h 86"/>
                  <a:gd name="T50" fmla="*/ 4 w 49"/>
                  <a:gd name="T51" fmla="*/ 1 h 86"/>
                  <a:gd name="T52" fmla="*/ 3 w 49"/>
                  <a:gd name="T53" fmla="*/ 1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US"/>
              </a:p>
            </p:txBody>
          </p:sp>
          <p:sp>
            <p:nvSpPr>
              <p:cNvPr id="558" name="Freeform 63">
                <a:extLst>
                  <a:ext uri="{FF2B5EF4-FFF2-40B4-BE49-F238E27FC236}">
                    <a16:creationId xmlns:a16="http://schemas.microsoft.com/office/drawing/2014/main" id="{D3E696CD-408F-49D3-917C-7546B55D547B}"/>
                  </a:ext>
                </a:extLst>
              </p:cNvPr>
              <p:cNvSpPr>
                <a:spLocks/>
              </p:cNvSpPr>
              <p:nvPr/>
            </p:nvSpPr>
            <p:spPr bwMode="auto">
              <a:xfrm>
                <a:off x="1226" y="2161"/>
                <a:ext cx="2" cy="4"/>
              </a:xfrm>
              <a:custGeom>
                <a:avLst/>
                <a:gdLst>
                  <a:gd name="T0" fmla="*/ 0 w 6"/>
                  <a:gd name="T1" fmla="*/ 1 h 12"/>
                  <a:gd name="T2" fmla="*/ 1 w 6"/>
                  <a:gd name="T3" fmla="*/ 0 h 12"/>
                  <a:gd name="T4" fmla="*/ 0 w 6"/>
                  <a:gd name="T5" fmla="*/ 0 h 12"/>
                  <a:gd name="T6" fmla="*/ 0 w 6"/>
                  <a:gd name="T7" fmla="*/ 0 h 12"/>
                  <a:gd name="T8" fmla="*/ 0 w 6"/>
                  <a:gd name="T9" fmla="*/ 0 h 12"/>
                  <a:gd name="T10" fmla="*/ 0 w 6"/>
                  <a:gd name="T11" fmla="*/ 1 h 12"/>
                  <a:gd name="T12" fmla="*/ 0 w 6"/>
                  <a:gd name="T13" fmla="*/ 1 h 12"/>
                  <a:gd name="T14" fmla="*/ 0 w 6"/>
                  <a:gd name="T15" fmla="*/ 1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59" name="Freeform 64">
                <a:extLst>
                  <a:ext uri="{FF2B5EF4-FFF2-40B4-BE49-F238E27FC236}">
                    <a16:creationId xmlns:a16="http://schemas.microsoft.com/office/drawing/2014/main" id="{39D1FED8-83BD-4698-9E92-D8CF09F727F1}"/>
                  </a:ext>
                </a:extLst>
              </p:cNvPr>
              <p:cNvSpPr>
                <a:spLocks/>
              </p:cNvSpPr>
              <p:nvPr/>
            </p:nvSpPr>
            <p:spPr bwMode="auto">
              <a:xfrm>
                <a:off x="1230" y="2154"/>
                <a:ext cx="13" cy="15"/>
              </a:xfrm>
              <a:custGeom>
                <a:avLst/>
                <a:gdLst>
                  <a:gd name="T0" fmla="*/ 0 w 39"/>
                  <a:gd name="T1" fmla="*/ 0 h 48"/>
                  <a:gd name="T2" fmla="*/ 1 w 39"/>
                  <a:gd name="T3" fmla="*/ 1 h 48"/>
                  <a:gd name="T4" fmla="*/ 2 w 39"/>
                  <a:gd name="T5" fmla="*/ 2 h 48"/>
                  <a:gd name="T6" fmla="*/ 4 w 39"/>
                  <a:gd name="T7" fmla="*/ 3 h 48"/>
                  <a:gd name="T8" fmla="*/ 4 w 39"/>
                  <a:gd name="T9" fmla="*/ 3 h 48"/>
                  <a:gd name="T10" fmla="*/ 4 w 39"/>
                  <a:gd name="T11" fmla="*/ 4 h 48"/>
                  <a:gd name="T12" fmla="*/ 4 w 39"/>
                  <a:gd name="T13" fmla="*/ 5 h 48"/>
                  <a:gd name="T14" fmla="*/ 2 w 39"/>
                  <a:gd name="T15" fmla="*/ 3 h 48"/>
                  <a:gd name="T16" fmla="*/ 1 w 39"/>
                  <a:gd name="T17" fmla="*/ 3 h 48"/>
                  <a:gd name="T18" fmla="*/ 0 w 39"/>
                  <a:gd name="T19" fmla="*/ 2 h 48"/>
                  <a:gd name="T20" fmla="*/ 0 w 39"/>
                  <a:gd name="T21" fmla="*/ 2 h 48"/>
                  <a:gd name="T22" fmla="*/ 0 w 39"/>
                  <a:gd name="T23" fmla="*/ 1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60" name="Freeform 65">
                <a:extLst>
                  <a:ext uri="{FF2B5EF4-FFF2-40B4-BE49-F238E27FC236}">
                    <a16:creationId xmlns:a16="http://schemas.microsoft.com/office/drawing/2014/main" id="{6AC704E3-A9EC-4A4F-ADDE-4138078FF72A}"/>
                  </a:ext>
                </a:extLst>
              </p:cNvPr>
              <p:cNvSpPr>
                <a:spLocks/>
              </p:cNvSpPr>
              <p:nvPr/>
            </p:nvSpPr>
            <p:spPr bwMode="auto">
              <a:xfrm>
                <a:off x="1247" y="2167"/>
                <a:ext cx="6" cy="14"/>
              </a:xfrm>
              <a:custGeom>
                <a:avLst/>
                <a:gdLst>
                  <a:gd name="T0" fmla="*/ 1 w 16"/>
                  <a:gd name="T1" fmla="*/ 0 h 43"/>
                  <a:gd name="T2" fmla="*/ 2 w 16"/>
                  <a:gd name="T3" fmla="*/ 1 h 43"/>
                  <a:gd name="T4" fmla="*/ 2 w 16"/>
                  <a:gd name="T5" fmla="*/ 2 h 43"/>
                  <a:gd name="T6" fmla="*/ 2 w 16"/>
                  <a:gd name="T7" fmla="*/ 2 h 43"/>
                  <a:gd name="T8" fmla="*/ 2 w 16"/>
                  <a:gd name="T9" fmla="*/ 3 h 43"/>
                  <a:gd name="T10" fmla="*/ 2 w 16"/>
                  <a:gd name="T11" fmla="*/ 3 h 43"/>
                  <a:gd name="T12" fmla="*/ 2 w 16"/>
                  <a:gd name="T13" fmla="*/ 4 h 43"/>
                  <a:gd name="T14" fmla="*/ 1 w 16"/>
                  <a:gd name="T15" fmla="*/ 4 h 43"/>
                  <a:gd name="T16" fmla="*/ 0 w 16"/>
                  <a:gd name="T17" fmla="*/ 5 h 43"/>
                  <a:gd name="T18" fmla="*/ 0 w 16"/>
                  <a:gd name="T19" fmla="*/ 3 h 43"/>
                  <a:gd name="T20" fmla="*/ 1 w 16"/>
                  <a:gd name="T21" fmla="*/ 2 h 43"/>
                  <a:gd name="T22" fmla="*/ 1 w 16"/>
                  <a:gd name="T23" fmla="*/ 1 h 43"/>
                  <a:gd name="T24" fmla="*/ 1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561" name="Freeform 66">
                <a:extLst>
                  <a:ext uri="{FF2B5EF4-FFF2-40B4-BE49-F238E27FC236}">
                    <a16:creationId xmlns:a16="http://schemas.microsoft.com/office/drawing/2014/main" id="{FC68DA48-7F8C-4A81-BE84-B37787381EB7}"/>
                  </a:ext>
                </a:extLst>
              </p:cNvPr>
              <p:cNvSpPr>
                <a:spLocks/>
              </p:cNvSpPr>
              <p:nvPr/>
            </p:nvSpPr>
            <p:spPr bwMode="auto">
              <a:xfrm>
                <a:off x="1248" y="2190"/>
                <a:ext cx="8" cy="12"/>
              </a:xfrm>
              <a:custGeom>
                <a:avLst/>
                <a:gdLst>
                  <a:gd name="T0" fmla="*/ 3 w 24"/>
                  <a:gd name="T1" fmla="*/ 4 h 37"/>
                  <a:gd name="T2" fmla="*/ 2 w 24"/>
                  <a:gd name="T3" fmla="*/ 3 h 37"/>
                  <a:gd name="T4" fmla="*/ 2 w 24"/>
                  <a:gd name="T5" fmla="*/ 2 h 37"/>
                  <a:gd name="T6" fmla="*/ 1 w 24"/>
                  <a:gd name="T7" fmla="*/ 1 h 37"/>
                  <a:gd name="T8" fmla="*/ 1 w 24"/>
                  <a:gd name="T9" fmla="*/ 0 h 37"/>
                  <a:gd name="T10" fmla="*/ 1 w 24"/>
                  <a:gd name="T11" fmla="*/ 1 h 37"/>
                  <a:gd name="T12" fmla="*/ 0 w 24"/>
                  <a:gd name="T13" fmla="*/ 2 h 37"/>
                  <a:gd name="T14" fmla="*/ 0 w 24"/>
                  <a:gd name="T15" fmla="*/ 3 h 37"/>
                  <a:gd name="T16" fmla="*/ 0 w 24"/>
                  <a:gd name="T17" fmla="*/ 3 h 37"/>
                  <a:gd name="T18" fmla="*/ 0 w 24"/>
                  <a:gd name="T19" fmla="*/ 4 h 37"/>
                  <a:gd name="T20" fmla="*/ 0 w 24"/>
                  <a:gd name="T21" fmla="*/ 4 h 37"/>
                  <a:gd name="T22" fmla="*/ 0 w 24"/>
                  <a:gd name="T23" fmla="*/ 4 h 37"/>
                  <a:gd name="T24" fmla="*/ 1 w 24"/>
                  <a:gd name="T25" fmla="*/ 4 h 37"/>
                  <a:gd name="T26" fmla="*/ 2 w 24"/>
                  <a:gd name="T27" fmla="*/ 4 h 37"/>
                  <a:gd name="T28" fmla="*/ 3 w 24"/>
                  <a:gd name="T29" fmla="*/ 4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US"/>
              </a:p>
            </p:txBody>
          </p:sp>
          <p:sp>
            <p:nvSpPr>
              <p:cNvPr id="562" name="Freeform 67">
                <a:extLst>
                  <a:ext uri="{FF2B5EF4-FFF2-40B4-BE49-F238E27FC236}">
                    <a16:creationId xmlns:a16="http://schemas.microsoft.com/office/drawing/2014/main" id="{C8491929-FE5A-4289-A2B1-9B34EC25D262}"/>
                  </a:ext>
                </a:extLst>
              </p:cNvPr>
              <p:cNvSpPr>
                <a:spLocks/>
              </p:cNvSpPr>
              <p:nvPr/>
            </p:nvSpPr>
            <p:spPr bwMode="auto">
              <a:xfrm>
                <a:off x="1265" y="2204"/>
                <a:ext cx="11" cy="17"/>
              </a:xfrm>
              <a:custGeom>
                <a:avLst/>
                <a:gdLst>
                  <a:gd name="T0" fmla="*/ 4 w 34"/>
                  <a:gd name="T1" fmla="*/ 0 h 55"/>
                  <a:gd name="T2" fmla="*/ 4 w 34"/>
                  <a:gd name="T3" fmla="*/ 1 h 55"/>
                  <a:gd name="T4" fmla="*/ 4 w 34"/>
                  <a:gd name="T5" fmla="*/ 2 h 55"/>
                  <a:gd name="T6" fmla="*/ 4 w 34"/>
                  <a:gd name="T7" fmla="*/ 3 h 55"/>
                  <a:gd name="T8" fmla="*/ 3 w 34"/>
                  <a:gd name="T9" fmla="*/ 4 h 55"/>
                  <a:gd name="T10" fmla="*/ 3 w 34"/>
                  <a:gd name="T11" fmla="*/ 4 h 55"/>
                  <a:gd name="T12" fmla="*/ 3 w 34"/>
                  <a:gd name="T13" fmla="*/ 5 h 55"/>
                  <a:gd name="T14" fmla="*/ 2 w 34"/>
                  <a:gd name="T15" fmla="*/ 5 h 55"/>
                  <a:gd name="T16" fmla="*/ 2 w 34"/>
                  <a:gd name="T17" fmla="*/ 5 h 55"/>
                  <a:gd name="T18" fmla="*/ 1 w 34"/>
                  <a:gd name="T19" fmla="*/ 5 h 55"/>
                  <a:gd name="T20" fmla="*/ 0 w 34"/>
                  <a:gd name="T21" fmla="*/ 5 h 55"/>
                  <a:gd name="T22" fmla="*/ 1 w 34"/>
                  <a:gd name="T23" fmla="*/ 3 h 55"/>
                  <a:gd name="T24" fmla="*/ 2 w 34"/>
                  <a:gd name="T25" fmla="*/ 2 h 55"/>
                  <a:gd name="T26" fmla="*/ 2 w 34"/>
                  <a:gd name="T27" fmla="*/ 2 h 55"/>
                  <a:gd name="T28" fmla="*/ 2 w 34"/>
                  <a:gd name="T29" fmla="*/ 1 h 55"/>
                  <a:gd name="T30" fmla="*/ 3 w 34"/>
                  <a:gd name="T31" fmla="*/ 1 h 55"/>
                  <a:gd name="T32" fmla="*/ 4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563" name="Freeform 68">
                <a:extLst>
                  <a:ext uri="{FF2B5EF4-FFF2-40B4-BE49-F238E27FC236}">
                    <a16:creationId xmlns:a16="http://schemas.microsoft.com/office/drawing/2014/main" id="{D29D30F3-1D3E-4F48-9178-6CB12DCCA66C}"/>
                  </a:ext>
                </a:extLst>
              </p:cNvPr>
              <p:cNvSpPr>
                <a:spLocks/>
              </p:cNvSpPr>
              <p:nvPr/>
            </p:nvSpPr>
            <p:spPr bwMode="auto">
              <a:xfrm>
                <a:off x="1285" y="2215"/>
                <a:ext cx="11" cy="4"/>
              </a:xfrm>
              <a:custGeom>
                <a:avLst/>
                <a:gdLst>
                  <a:gd name="T0" fmla="*/ 0 w 33"/>
                  <a:gd name="T1" fmla="*/ 0 h 12"/>
                  <a:gd name="T2" fmla="*/ 0 w 33"/>
                  <a:gd name="T3" fmla="*/ 0 h 12"/>
                  <a:gd name="T4" fmla="*/ 1 w 33"/>
                  <a:gd name="T5" fmla="*/ 1 h 12"/>
                  <a:gd name="T6" fmla="*/ 1 w 33"/>
                  <a:gd name="T7" fmla="*/ 1 h 12"/>
                  <a:gd name="T8" fmla="*/ 2 w 33"/>
                  <a:gd name="T9" fmla="*/ 1 h 12"/>
                  <a:gd name="T10" fmla="*/ 3 w 33"/>
                  <a:gd name="T11" fmla="*/ 1 h 12"/>
                  <a:gd name="T12" fmla="*/ 4 w 33"/>
                  <a:gd name="T13" fmla="*/ 1 h 12"/>
                  <a:gd name="T14" fmla="*/ 3 w 33"/>
                  <a:gd name="T15" fmla="*/ 1 h 12"/>
                  <a:gd name="T16" fmla="*/ 2 w 33"/>
                  <a:gd name="T17" fmla="*/ 0 h 12"/>
                  <a:gd name="T18" fmla="*/ 1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sp>
          <p:nvSpPr>
            <p:cNvPr id="64" name="Freeform 69">
              <a:extLst>
                <a:ext uri="{FF2B5EF4-FFF2-40B4-BE49-F238E27FC236}">
                  <a16:creationId xmlns:a16="http://schemas.microsoft.com/office/drawing/2014/main" id="{763B5557-33BB-40E9-BE94-B920C45C8BD1}"/>
                </a:ext>
              </a:extLst>
            </p:cNvPr>
            <p:cNvSpPr>
              <a:spLocks/>
            </p:cNvSpPr>
            <p:nvPr>
              <p:custDataLst>
                <p:tags r:id="rId52"/>
              </p:custDataLst>
            </p:nvPr>
          </p:nvSpPr>
          <p:spPr bwMode="auto">
            <a:xfrm>
              <a:off x="7905750" y="4592638"/>
              <a:ext cx="12700" cy="57150"/>
            </a:xfrm>
            <a:custGeom>
              <a:avLst/>
              <a:gdLst>
                <a:gd name="T0" fmla="*/ 0 w 33"/>
                <a:gd name="T1" fmla="*/ 52679395 h 62"/>
                <a:gd name="T2" fmla="*/ 0 w 33"/>
                <a:gd name="T3" fmla="*/ 45032356 h 62"/>
                <a:gd name="T4" fmla="*/ 0 w 33"/>
                <a:gd name="T5" fmla="*/ 38235194 h 62"/>
                <a:gd name="T6" fmla="*/ 0 w 33"/>
                <a:gd name="T7" fmla="*/ 31438031 h 62"/>
                <a:gd name="T8" fmla="*/ 0 w 33"/>
                <a:gd name="T9" fmla="*/ 26339698 h 62"/>
                <a:gd name="T10" fmla="*/ 0 w 33"/>
                <a:gd name="T11" fmla="*/ 22091240 h 62"/>
                <a:gd name="T12" fmla="*/ 296333 w 33"/>
                <a:gd name="T13" fmla="*/ 18692659 h 62"/>
                <a:gd name="T14" fmla="*/ 592282 w 33"/>
                <a:gd name="T15" fmla="*/ 14444202 h 62"/>
                <a:gd name="T16" fmla="*/ 1184948 w 33"/>
                <a:gd name="T17" fmla="*/ 11045620 h 62"/>
                <a:gd name="T18" fmla="*/ 2073564 w 33"/>
                <a:gd name="T19" fmla="*/ 5098333 h 62"/>
                <a:gd name="T20" fmla="*/ 2962179 w 33"/>
                <a:gd name="T21" fmla="*/ 0 h 62"/>
                <a:gd name="T22" fmla="*/ 3850794 w 33"/>
                <a:gd name="T23" fmla="*/ 5098333 h 62"/>
                <a:gd name="T24" fmla="*/ 4887576 w 33"/>
                <a:gd name="T25" fmla="*/ 11045620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US"/>
            </a:p>
          </p:txBody>
        </p:sp>
        <p:sp>
          <p:nvSpPr>
            <p:cNvPr id="65" name="Freeform 70">
              <a:extLst>
                <a:ext uri="{FF2B5EF4-FFF2-40B4-BE49-F238E27FC236}">
                  <a16:creationId xmlns:a16="http://schemas.microsoft.com/office/drawing/2014/main" id="{34140743-3160-4B01-B9AC-DBB9604F9CD2}"/>
                </a:ext>
              </a:extLst>
            </p:cNvPr>
            <p:cNvSpPr>
              <a:spLocks/>
            </p:cNvSpPr>
            <p:nvPr>
              <p:custDataLst>
                <p:tags r:id="rId53"/>
              </p:custDataLst>
            </p:nvPr>
          </p:nvSpPr>
          <p:spPr bwMode="auto">
            <a:xfrm>
              <a:off x="7915275" y="4683125"/>
              <a:ext cx="9525" cy="58738"/>
            </a:xfrm>
            <a:custGeom>
              <a:avLst/>
              <a:gdLst>
                <a:gd name="T0" fmla="*/ 0 w 26"/>
                <a:gd name="T1" fmla="*/ 191668621 h 18"/>
                <a:gd name="T2" fmla="*/ 0 w 26"/>
                <a:gd name="T3" fmla="*/ 0 h 18"/>
                <a:gd name="T4" fmla="*/ 3489447 w 26"/>
                <a:gd name="T5" fmla="*/ 0 h 18"/>
                <a:gd name="T6" fmla="*/ 805229 w 26"/>
                <a:gd name="T7" fmla="*/ 127779080 h 18"/>
                <a:gd name="T8" fmla="*/ 805229 w 26"/>
                <a:gd name="T9" fmla="*/ 6388954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66" name="Freeform 71">
              <a:extLst>
                <a:ext uri="{FF2B5EF4-FFF2-40B4-BE49-F238E27FC236}">
                  <a16:creationId xmlns:a16="http://schemas.microsoft.com/office/drawing/2014/main" id="{B49DB6AA-8495-4F90-BF73-CD12299D073A}"/>
                </a:ext>
              </a:extLst>
            </p:cNvPr>
            <p:cNvSpPr>
              <a:spLocks/>
            </p:cNvSpPr>
            <p:nvPr>
              <p:custDataLst>
                <p:tags r:id="rId54"/>
              </p:custDataLst>
            </p:nvPr>
          </p:nvSpPr>
          <p:spPr bwMode="auto">
            <a:xfrm>
              <a:off x="8029575" y="4592638"/>
              <a:ext cx="77788" cy="130175"/>
            </a:xfrm>
            <a:custGeom>
              <a:avLst/>
              <a:gdLst>
                <a:gd name="T0" fmla="*/ 33616516 w 180"/>
                <a:gd name="T1" fmla="*/ 65310967 h 240"/>
                <a:gd name="T2" fmla="*/ 32682628 w 180"/>
                <a:gd name="T3" fmla="*/ 65604946 h 240"/>
                <a:gd name="T4" fmla="*/ 31935863 w 180"/>
                <a:gd name="T5" fmla="*/ 65604946 h 240"/>
                <a:gd name="T6" fmla="*/ 31188666 w 180"/>
                <a:gd name="T7" fmla="*/ 66193445 h 240"/>
                <a:gd name="T8" fmla="*/ 30628593 w 180"/>
                <a:gd name="T9" fmla="*/ 66781945 h 240"/>
                <a:gd name="T10" fmla="*/ 29508013 w 180"/>
                <a:gd name="T11" fmla="*/ 68252922 h 240"/>
                <a:gd name="T12" fmla="*/ 28574125 w 180"/>
                <a:gd name="T13" fmla="*/ 70606378 h 240"/>
                <a:gd name="T14" fmla="*/ 26146275 w 180"/>
                <a:gd name="T15" fmla="*/ 68252922 h 240"/>
                <a:gd name="T16" fmla="*/ 24465190 w 180"/>
                <a:gd name="T17" fmla="*/ 65604946 h 240"/>
                <a:gd name="T18" fmla="*/ 22971229 w 180"/>
                <a:gd name="T19" fmla="*/ 62957512 h 240"/>
                <a:gd name="T20" fmla="*/ 22037340 w 180"/>
                <a:gd name="T21" fmla="*/ 60604056 h 240"/>
                <a:gd name="T22" fmla="*/ 20916761 w 180"/>
                <a:gd name="T23" fmla="*/ 57367580 h 240"/>
                <a:gd name="T24" fmla="*/ 19796182 w 180"/>
                <a:gd name="T25" fmla="*/ 54425625 h 240"/>
                <a:gd name="T26" fmla="*/ 18302220 w 180"/>
                <a:gd name="T27" fmla="*/ 51189692 h 240"/>
                <a:gd name="T28" fmla="*/ 16248185 w 180"/>
                <a:gd name="T29" fmla="*/ 47365259 h 240"/>
                <a:gd name="T30" fmla="*/ 15314296 w 180"/>
                <a:gd name="T31" fmla="*/ 45011803 h 240"/>
                <a:gd name="T32" fmla="*/ 14007026 w 180"/>
                <a:gd name="T33" fmla="*/ 42952326 h 240"/>
                <a:gd name="T34" fmla="*/ 13073138 w 180"/>
                <a:gd name="T35" fmla="*/ 40892849 h 240"/>
                <a:gd name="T36" fmla="*/ 11579176 w 180"/>
                <a:gd name="T37" fmla="*/ 39127893 h 240"/>
                <a:gd name="T38" fmla="*/ 8964203 w 180"/>
                <a:gd name="T39" fmla="*/ 35597439 h 240"/>
                <a:gd name="T40" fmla="*/ 6162970 w 180"/>
                <a:gd name="T41" fmla="*/ 32361505 h 240"/>
                <a:gd name="T42" fmla="*/ 5042391 w 180"/>
                <a:gd name="T43" fmla="*/ 30596007 h 240"/>
                <a:gd name="T44" fmla="*/ 3921812 w 180"/>
                <a:gd name="T45" fmla="*/ 28831051 h 240"/>
                <a:gd name="T46" fmla="*/ 2801232 w 180"/>
                <a:gd name="T47" fmla="*/ 27065552 h 240"/>
                <a:gd name="T48" fmla="*/ 1867776 w 180"/>
                <a:gd name="T49" fmla="*/ 24712097 h 240"/>
                <a:gd name="T50" fmla="*/ 1120579 w 180"/>
                <a:gd name="T51" fmla="*/ 22652620 h 240"/>
                <a:gd name="T52" fmla="*/ 747197 w 180"/>
                <a:gd name="T53" fmla="*/ 20005186 h 240"/>
                <a:gd name="T54" fmla="*/ 186691 w 180"/>
                <a:gd name="T55" fmla="*/ 17651730 h 240"/>
                <a:gd name="T56" fmla="*/ 0 w 180"/>
                <a:gd name="T57" fmla="*/ 14709775 h 240"/>
                <a:gd name="T58" fmla="*/ 0 w 180"/>
                <a:gd name="T59" fmla="*/ 10296843 h 240"/>
                <a:gd name="T60" fmla="*/ 0 w 180"/>
                <a:gd name="T61" fmla="*/ 7354888 h 240"/>
                <a:gd name="T62" fmla="*/ 0 w 180"/>
                <a:gd name="T63" fmla="*/ 4412933 h 240"/>
                <a:gd name="T64" fmla="*/ 0 w 180"/>
                <a:gd name="T65" fmla="*/ 0 h 240"/>
                <a:gd name="T66" fmla="*/ 1867776 w 180"/>
                <a:gd name="T67" fmla="*/ 2353456 h 240"/>
                <a:gd name="T68" fmla="*/ 3548429 w 180"/>
                <a:gd name="T69" fmla="*/ 5001432 h 240"/>
                <a:gd name="T70" fmla="*/ 5042391 w 180"/>
                <a:gd name="T71" fmla="*/ 7943387 h 240"/>
                <a:gd name="T72" fmla="*/ 6349662 w 180"/>
                <a:gd name="T73" fmla="*/ 11179321 h 240"/>
                <a:gd name="T74" fmla="*/ 7656932 w 180"/>
                <a:gd name="T75" fmla="*/ 14121276 h 240"/>
                <a:gd name="T76" fmla="*/ 8590820 w 180"/>
                <a:gd name="T77" fmla="*/ 17063231 h 240"/>
                <a:gd name="T78" fmla="*/ 9524708 w 180"/>
                <a:gd name="T79" fmla="*/ 19416686 h 240"/>
                <a:gd name="T80" fmla="*/ 10084782 w 180"/>
                <a:gd name="T81" fmla="*/ 21770142 h 240"/>
                <a:gd name="T82" fmla="*/ 11205361 w 180"/>
                <a:gd name="T83" fmla="*/ 25300596 h 240"/>
                <a:gd name="T84" fmla="*/ 12325941 w 180"/>
                <a:gd name="T85" fmla="*/ 28831051 h 240"/>
                <a:gd name="T86" fmla="*/ 13820335 w 180"/>
                <a:gd name="T87" fmla="*/ 31478485 h 240"/>
                <a:gd name="T88" fmla="*/ 15314296 w 180"/>
                <a:gd name="T89" fmla="*/ 34126461 h 240"/>
                <a:gd name="T90" fmla="*/ 18676034 w 180"/>
                <a:gd name="T91" fmla="*/ 39127893 h 240"/>
                <a:gd name="T92" fmla="*/ 22224464 w 180"/>
                <a:gd name="T93" fmla="*/ 43834804 h 240"/>
                <a:gd name="T94" fmla="*/ 25959584 w 180"/>
                <a:gd name="T95" fmla="*/ 48247737 h 240"/>
                <a:gd name="T96" fmla="*/ 28947508 w 180"/>
                <a:gd name="T97" fmla="*/ 52954648 h 240"/>
                <a:gd name="T98" fmla="*/ 30441469 w 180"/>
                <a:gd name="T99" fmla="*/ 55602624 h 240"/>
                <a:gd name="T100" fmla="*/ 31562049 w 180"/>
                <a:gd name="T101" fmla="*/ 58544579 h 240"/>
                <a:gd name="T102" fmla="*/ 32682628 w 180"/>
                <a:gd name="T103" fmla="*/ 61780513 h 240"/>
                <a:gd name="T104" fmla="*/ 33616516 w 180"/>
                <a:gd name="T105" fmla="*/ 6531096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US"/>
            </a:p>
          </p:txBody>
        </p:sp>
        <p:sp>
          <p:nvSpPr>
            <p:cNvPr id="67" name="Freeform 72">
              <a:extLst>
                <a:ext uri="{FF2B5EF4-FFF2-40B4-BE49-F238E27FC236}">
                  <a16:creationId xmlns:a16="http://schemas.microsoft.com/office/drawing/2014/main" id="{7FD7751E-3374-4F7B-B03B-6A51A0841DF0}"/>
                </a:ext>
              </a:extLst>
            </p:cNvPr>
            <p:cNvSpPr>
              <a:spLocks/>
            </p:cNvSpPr>
            <p:nvPr>
              <p:custDataLst>
                <p:tags r:id="rId55"/>
              </p:custDataLst>
            </p:nvPr>
          </p:nvSpPr>
          <p:spPr bwMode="auto">
            <a:xfrm>
              <a:off x="8029575" y="4565650"/>
              <a:ext cx="14288" cy="57150"/>
            </a:xfrm>
            <a:custGeom>
              <a:avLst/>
              <a:gdLst>
                <a:gd name="T0" fmla="*/ 0 w 27"/>
                <a:gd name="T1" fmla="*/ 0 h 30"/>
                <a:gd name="T2" fmla="*/ 279939 w 27"/>
                <a:gd name="T3" fmla="*/ 18145125 h 30"/>
                <a:gd name="T4" fmla="*/ 840346 w 27"/>
                <a:gd name="T5" fmla="*/ 39919275 h 30"/>
                <a:gd name="T6" fmla="*/ 1120285 w 27"/>
                <a:gd name="T7" fmla="*/ 50806350 h 30"/>
                <a:gd name="T8" fmla="*/ 1120285 w 27"/>
                <a:gd name="T9" fmla="*/ 68951475 h 30"/>
                <a:gd name="T10" fmla="*/ 840346 w 27"/>
                <a:gd name="T11" fmla="*/ 87096600 h 30"/>
                <a:gd name="T12" fmla="*/ 0 w 27"/>
                <a:gd name="T13" fmla="*/ 108870750 h 30"/>
                <a:gd name="T14" fmla="*/ 4760550 w 27"/>
                <a:gd name="T15" fmla="*/ 97983675 h 30"/>
                <a:gd name="T16" fmla="*/ 7560998 w 27"/>
                <a:gd name="T17" fmla="*/ 87096600 h 30"/>
                <a:gd name="T18" fmla="*/ 6440713 w 27"/>
                <a:gd name="T19" fmla="*/ 72580500 h 30"/>
                <a:gd name="T20" fmla="*/ 4760550 w 27"/>
                <a:gd name="T21" fmla="*/ 43548300 h 30"/>
                <a:gd name="T22" fmla="*/ 3080387 w 27"/>
                <a:gd name="T23" fmla="*/ 29032200 h 30"/>
                <a:gd name="T24" fmla="*/ 1960102 w 27"/>
                <a:gd name="T25" fmla="*/ 14516100 h 30"/>
                <a:gd name="T26" fmla="*/ 1120285 w 27"/>
                <a:gd name="T27" fmla="*/ 362902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68" name="Group 73">
              <a:extLst>
                <a:ext uri="{FF2B5EF4-FFF2-40B4-BE49-F238E27FC236}">
                  <a16:creationId xmlns:a16="http://schemas.microsoft.com/office/drawing/2014/main" id="{A872C968-8D0C-48C9-9CA7-EEF8DBF08F5E}"/>
                </a:ext>
              </a:extLst>
            </p:cNvPr>
            <p:cNvGrpSpPr>
              <a:grpSpLocks/>
            </p:cNvGrpSpPr>
            <p:nvPr>
              <p:custDataLst>
                <p:tags r:id="rId56"/>
              </p:custDataLst>
            </p:nvPr>
          </p:nvGrpSpPr>
          <p:grpSpPr bwMode="auto">
            <a:xfrm>
              <a:off x="7720013" y="5086350"/>
              <a:ext cx="458787" cy="404813"/>
              <a:chOff x="5372" y="3323"/>
              <a:chExt cx="341" cy="253"/>
            </a:xfrm>
          </p:grpSpPr>
          <p:sp>
            <p:nvSpPr>
              <p:cNvPr id="551" name="Freeform 74">
                <a:extLst>
                  <a:ext uri="{FF2B5EF4-FFF2-40B4-BE49-F238E27FC236}">
                    <a16:creationId xmlns:a16="http://schemas.microsoft.com/office/drawing/2014/main" id="{5A1A6A64-EF6A-4B15-AA21-6B5E494A9CF8}"/>
                  </a:ext>
                </a:extLst>
              </p:cNvPr>
              <p:cNvSpPr>
                <a:spLocks/>
              </p:cNvSpPr>
              <p:nvPr/>
            </p:nvSpPr>
            <p:spPr bwMode="auto">
              <a:xfrm>
                <a:off x="5372" y="3565"/>
                <a:ext cx="16" cy="11"/>
              </a:xfrm>
              <a:custGeom>
                <a:avLst/>
                <a:gdLst>
                  <a:gd name="T0" fmla="*/ 0 w 53"/>
                  <a:gd name="T1" fmla="*/ 3 h 33"/>
                  <a:gd name="T2" fmla="*/ 0 w 53"/>
                  <a:gd name="T3" fmla="*/ 3 h 33"/>
                  <a:gd name="T4" fmla="*/ 1 w 53"/>
                  <a:gd name="T5" fmla="*/ 2 h 33"/>
                  <a:gd name="T6" fmla="*/ 2 w 53"/>
                  <a:gd name="T7" fmla="*/ 2 h 33"/>
                  <a:gd name="T8" fmla="*/ 2 w 53"/>
                  <a:gd name="T9" fmla="*/ 1 h 33"/>
                  <a:gd name="T10" fmla="*/ 3 w 53"/>
                  <a:gd name="T11" fmla="*/ 1 h 33"/>
                  <a:gd name="T12" fmla="*/ 3 w 53"/>
                  <a:gd name="T13" fmla="*/ 0 h 33"/>
                  <a:gd name="T14" fmla="*/ 4 w 53"/>
                  <a:gd name="T15" fmla="*/ 0 h 33"/>
                  <a:gd name="T16" fmla="*/ 5 w 53"/>
                  <a:gd name="T17" fmla="*/ 0 h 33"/>
                  <a:gd name="T18" fmla="*/ 5 w 53"/>
                  <a:gd name="T19" fmla="*/ 2 h 33"/>
                  <a:gd name="T20" fmla="*/ 3 w 53"/>
                  <a:gd name="T21" fmla="*/ 3 h 33"/>
                  <a:gd name="T22" fmla="*/ 2 w 53"/>
                  <a:gd name="T23" fmla="*/ 3 h 33"/>
                  <a:gd name="T24" fmla="*/ 2 w 53"/>
                  <a:gd name="T25" fmla="*/ 4 h 33"/>
                  <a:gd name="T26" fmla="*/ 2 w 53"/>
                  <a:gd name="T27" fmla="*/ 4 h 33"/>
                  <a:gd name="T28" fmla="*/ 1 w 53"/>
                  <a:gd name="T29" fmla="*/ 4 h 33"/>
                  <a:gd name="T30" fmla="*/ 0 w 53"/>
                  <a:gd name="T31" fmla="*/ 3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52" name="Freeform 75">
                <a:extLst>
                  <a:ext uri="{FF2B5EF4-FFF2-40B4-BE49-F238E27FC236}">
                    <a16:creationId xmlns:a16="http://schemas.microsoft.com/office/drawing/2014/main" id="{B6434DC8-6666-486B-AF1C-41DE7C6756B4}"/>
                  </a:ext>
                </a:extLst>
              </p:cNvPr>
              <p:cNvSpPr>
                <a:spLocks/>
              </p:cNvSpPr>
              <p:nvPr/>
            </p:nvSpPr>
            <p:spPr bwMode="auto">
              <a:xfrm>
                <a:off x="5379" y="3446"/>
                <a:ext cx="202" cy="117"/>
              </a:xfrm>
              <a:custGeom>
                <a:avLst/>
                <a:gdLst>
                  <a:gd name="T0" fmla="*/ 3 w 631"/>
                  <a:gd name="T1" fmla="*/ 32 h 358"/>
                  <a:gd name="T2" fmla="*/ 5 w 631"/>
                  <a:gd name="T3" fmla="*/ 31 h 358"/>
                  <a:gd name="T4" fmla="*/ 7 w 631"/>
                  <a:gd name="T5" fmla="*/ 30 h 358"/>
                  <a:gd name="T6" fmla="*/ 8 w 631"/>
                  <a:gd name="T7" fmla="*/ 27 h 358"/>
                  <a:gd name="T8" fmla="*/ 10 w 631"/>
                  <a:gd name="T9" fmla="*/ 27 h 358"/>
                  <a:gd name="T10" fmla="*/ 13 w 631"/>
                  <a:gd name="T11" fmla="*/ 27 h 358"/>
                  <a:gd name="T12" fmla="*/ 14 w 631"/>
                  <a:gd name="T13" fmla="*/ 26 h 358"/>
                  <a:gd name="T14" fmla="*/ 17 w 631"/>
                  <a:gd name="T15" fmla="*/ 25 h 358"/>
                  <a:gd name="T16" fmla="*/ 19 w 631"/>
                  <a:gd name="T17" fmla="*/ 22 h 358"/>
                  <a:gd name="T18" fmla="*/ 22 w 631"/>
                  <a:gd name="T19" fmla="*/ 21 h 358"/>
                  <a:gd name="T20" fmla="*/ 27 w 631"/>
                  <a:gd name="T21" fmla="*/ 19 h 358"/>
                  <a:gd name="T22" fmla="*/ 34 w 631"/>
                  <a:gd name="T23" fmla="*/ 16 h 358"/>
                  <a:gd name="T24" fmla="*/ 37 w 631"/>
                  <a:gd name="T25" fmla="*/ 15 h 358"/>
                  <a:gd name="T26" fmla="*/ 40 w 631"/>
                  <a:gd name="T27" fmla="*/ 14 h 358"/>
                  <a:gd name="T28" fmla="*/ 42 w 631"/>
                  <a:gd name="T29" fmla="*/ 14 h 358"/>
                  <a:gd name="T30" fmla="*/ 45 w 631"/>
                  <a:gd name="T31" fmla="*/ 11 h 358"/>
                  <a:gd name="T32" fmla="*/ 48 w 631"/>
                  <a:gd name="T33" fmla="*/ 8 h 358"/>
                  <a:gd name="T34" fmla="*/ 49 w 631"/>
                  <a:gd name="T35" fmla="*/ 7 h 358"/>
                  <a:gd name="T36" fmla="*/ 52 w 631"/>
                  <a:gd name="T37" fmla="*/ 6 h 358"/>
                  <a:gd name="T38" fmla="*/ 55 w 631"/>
                  <a:gd name="T39" fmla="*/ 4 h 358"/>
                  <a:gd name="T40" fmla="*/ 58 w 631"/>
                  <a:gd name="T41" fmla="*/ 1 h 358"/>
                  <a:gd name="T42" fmla="*/ 61 w 631"/>
                  <a:gd name="T43" fmla="*/ 0 h 358"/>
                  <a:gd name="T44" fmla="*/ 62 w 631"/>
                  <a:gd name="T45" fmla="*/ 2 h 358"/>
                  <a:gd name="T46" fmla="*/ 63 w 631"/>
                  <a:gd name="T47" fmla="*/ 3 h 358"/>
                  <a:gd name="T48" fmla="*/ 64 w 631"/>
                  <a:gd name="T49" fmla="*/ 5 h 358"/>
                  <a:gd name="T50" fmla="*/ 61 w 631"/>
                  <a:gd name="T51" fmla="*/ 9 h 358"/>
                  <a:gd name="T52" fmla="*/ 58 w 631"/>
                  <a:gd name="T53" fmla="*/ 13 h 358"/>
                  <a:gd name="T54" fmla="*/ 54 w 631"/>
                  <a:gd name="T55" fmla="*/ 16 h 358"/>
                  <a:gd name="T56" fmla="*/ 50 w 631"/>
                  <a:gd name="T57" fmla="*/ 19 h 358"/>
                  <a:gd name="T58" fmla="*/ 45 w 631"/>
                  <a:gd name="T59" fmla="*/ 19 h 358"/>
                  <a:gd name="T60" fmla="*/ 45 w 631"/>
                  <a:gd name="T61" fmla="*/ 21 h 358"/>
                  <a:gd name="T62" fmla="*/ 44 w 631"/>
                  <a:gd name="T63" fmla="*/ 21 h 358"/>
                  <a:gd name="T64" fmla="*/ 40 w 631"/>
                  <a:gd name="T65" fmla="*/ 21 h 358"/>
                  <a:gd name="T66" fmla="*/ 37 w 631"/>
                  <a:gd name="T67" fmla="*/ 23 h 358"/>
                  <a:gd name="T68" fmla="*/ 36 w 631"/>
                  <a:gd name="T69" fmla="*/ 23 h 358"/>
                  <a:gd name="T70" fmla="*/ 35 w 631"/>
                  <a:gd name="T71" fmla="*/ 22 h 358"/>
                  <a:gd name="T72" fmla="*/ 32 w 631"/>
                  <a:gd name="T73" fmla="*/ 26 h 358"/>
                  <a:gd name="T74" fmla="*/ 28 w 631"/>
                  <a:gd name="T75" fmla="*/ 30 h 358"/>
                  <a:gd name="T76" fmla="*/ 22 w 631"/>
                  <a:gd name="T77" fmla="*/ 34 h 358"/>
                  <a:gd name="T78" fmla="*/ 17 w 631"/>
                  <a:gd name="T79" fmla="*/ 37 h 358"/>
                  <a:gd name="T80" fmla="*/ 11 w 631"/>
                  <a:gd name="T81" fmla="*/ 38 h 358"/>
                  <a:gd name="T82" fmla="*/ 7 w 631"/>
                  <a:gd name="T83" fmla="*/ 38 h 358"/>
                  <a:gd name="T84" fmla="*/ 6 w 631"/>
                  <a:gd name="T85" fmla="*/ 37 h 358"/>
                  <a:gd name="T86" fmla="*/ 4 w 631"/>
                  <a:gd name="T87" fmla="*/ 36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53" name="Freeform 76">
                <a:extLst>
                  <a:ext uri="{FF2B5EF4-FFF2-40B4-BE49-F238E27FC236}">
                    <a16:creationId xmlns:a16="http://schemas.microsoft.com/office/drawing/2014/main" id="{D6CFA8FB-61C6-4401-A1FA-076D1882135B}"/>
                  </a:ext>
                </a:extLst>
              </p:cNvPr>
              <p:cNvSpPr>
                <a:spLocks/>
              </p:cNvSpPr>
              <p:nvPr/>
            </p:nvSpPr>
            <p:spPr bwMode="auto">
              <a:xfrm>
                <a:off x="5597" y="3323"/>
                <a:ext cx="116" cy="141"/>
              </a:xfrm>
              <a:custGeom>
                <a:avLst/>
                <a:gdLst>
                  <a:gd name="T0" fmla="*/ 6 w 359"/>
                  <a:gd name="T1" fmla="*/ 31 h 431"/>
                  <a:gd name="T2" fmla="*/ 10 w 359"/>
                  <a:gd name="T3" fmla="*/ 29 h 431"/>
                  <a:gd name="T4" fmla="*/ 17 w 359"/>
                  <a:gd name="T5" fmla="*/ 22 h 431"/>
                  <a:gd name="T6" fmla="*/ 18 w 359"/>
                  <a:gd name="T7" fmla="*/ 18 h 431"/>
                  <a:gd name="T8" fmla="*/ 19 w 359"/>
                  <a:gd name="T9" fmla="*/ 16 h 431"/>
                  <a:gd name="T10" fmla="*/ 20 w 359"/>
                  <a:gd name="T11" fmla="*/ 15 h 431"/>
                  <a:gd name="T12" fmla="*/ 20 w 359"/>
                  <a:gd name="T13" fmla="*/ 13 h 431"/>
                  <a:gd name="T14" fmla="*/ 19 w 359"/>
                  <a:gd name="T15" fmla="*/ 10 h 431"/>
                  <a:gd name="T16" fmla="*/ 18 w 359"/>
                  <a:gd name="T17" fmla="*/ 4 h 431"/>
                  <a:gd name="T18" fmla="*/ 19 w 359"/>
                  <a:gd name="T19" fmla="*/ 0 h 431"/>
                  <a:gd name="T20" fmla="*/ 20 w 359"/>
                  <a:gd name="T21" fmla="*/ 1 h 431"/>
                  <a:gd name="T22" fmla="*/ 22 w 359"/>
                  <a:gd name="T23" fmla="*/ 3 h 431"/>
                  <a:gd name="T24" fmla="*/ 24 w 359"/>
                  <a:gd name="T25" fmla="*/ 6 h 431"/>
                  <a:gd name="T26" fmla="*/ 25 w 359"/>
                  <a:gd name="T27" fmla="*/ 8 h 431"/>
                  <a:gd name="T28" fmla="*/ 25 w 359"/>
                  <a:gd name="T29" fmla="*/ 9 h 431"/>
                  <a:gd name="T30" fmla="*/ 24 w 359"/>
                  <a:gd name="T31" fmla="*/ 11 h 431"/>
                  <a:gd name="T32" fmla="*/ 21 w 359"/>
                  <a:gd name="T33" fmla="*/ 13 h 431"/>
                  <a:gd name="T34" fmla="*/ 21 w 359"/>
                  <a:gd name="T35" fmla="*/ 14 h 431"/>
                  <a:gd name="T36" fmla="*/ 21 w 359"/>
                  <a:gd name="T37" fmla="*/ 16 h 431"/>
                  <a:gd name="T38" fmla="*/ 21 w 359"/>
                  <a:gd name="T39" fmla="*/ 17 h 431"/>
                  <a:gd name="T40" fmla="*/ 24 w 359"/>
                  <a:gd name="T41" fmla="*/ 17 h 431"/>
                  <a:gd name="T42" fmla="*/ 24 w 359"/>
                  <a:gd name="T43" fmla="*/ 16 h 431"/>
                  <a:gd name="T44" fmla="*/ 24 w 359"/>
                  <a:gd name="T45" fmla="*/ 14 h 431"/>
                  <a:gd name="T46" fmla="*/ 27 w 359"/>
                  <a:gd name="T47" fmla="*/ 21 h 431"/>
                  <a:gd name="T48" fmla="*/ 28 w 359"/>
                  <a:gd name="T49" fmla="*/ 22 h 431"/>
                  <a:gd name="T50" fmla="*/ 30 w 359"/>
                  <a:gd name="T51" fmla="*/ 24 h 431"/>
                  <a:gd name="T52" fmla="*/ 31 w 359"/>
                  <a:gd name="T53" fmla="*/ 23 h 431"/>
                  <a:gd name="T54" fmla="*/ 33 w 359"/>
                  <a:gd name="T55" fmla="*/ 22 h 431"/>
                  <a:gd name="T56" fmla="*/ 36 w 359"/>
                  <a:gd name="T57" fmla="*/ 21 h 431"/>
                  <a:gd name="T58" fmla="*/ 37 w 359"/>
                  <a:gd name="T59" fmla="*/ 22 h 431"/>
                  <a:gd name="T60" fmla="*/ 36 w 359"/>
                  <a:gd name="T61" fmla="*/ 26 h 431"/>
                  <a:gd name="T62" fmla="*/ 34 w 359"/>
                  <a:gd name="T63" fmla="*/ 28 h 431"/>
                  <a:gd name="T64" fmla="*/ 31 w 359"/>
                  <a:gd name="T65" fmla="*/ 29 h 431"/>
                  <a:gd name="T66" fmla="*/ 26 w 359"/>
                  <a:gd name="T67" fmla="*/ 31 h 431"/>
                  <a:gd name="T68" fmla="*/ 22 w 359"/>
                  <a:gd name="T69" fmla="*/ 32 h 431"/>
                  <a:gd name="T70" fmla="*/ 20 w 359"/>
                  <a:gd name="T71" fmla="*/ 33 h 431"/>
                  <a:gd name="T72" fmla="*/ 19 w 359"/>
                  <a:gd name="T73" fmla="*/ 36 h 431"/>
                  <a:gd name="T74" fmla="*/ 17 w 359"/>
                  <a:gd name="T75" fmla="*/ 38 h 431"/>
                  <a:gd name="T76" fmla="*/ 11 w 359"/>
                  <a:gd name="T77" fmla="*/ 42 h 431"/>
                  <a:gd name="T78" fmla="*/ 5 w 359"/>
                  <a:gd name="T79" fmla="*/ 45 h 431"/>
                  <a:gd name="T80" fmla="*/ 2 w 359"/>
                  <a:gd name="T81" fmla="*/ 46 h 431"/>
                  <a:gd name="T82" fmla="*/ 1 w 359"/>
                  <a:gd name="T83" fmla="*/ 45 h 431"/>
                  <a:gd name="T84" fmla="*/ 0 w 359"/>
                  <a:gd name="T85" fmla="*/ 44 h 431"/>
                  <a:gd name="T86" fmla="*/ 0 w 359"/>
                  <a:gd name="T87" fmla="*/ 43 h 431"/>
                  <a:gd name="T88" fmla="*/ 1 w 359"/>
                  <a:gd name="T89" fmla="*/ 42 h 431"/>
                  <a:gd name="T90" fmla="*/ 6 w 359"/>
                  <a:gd name="T91" fmla="*/ 40 h 431"/>
                  <a:gd name="T92" fmla="*/ 8 w 359"/>
                  <a:gd name="T93" fmla="*/ 38 h 431"/>
                  <a:gd name="T94" fmla="*/ 7 w 359"/>
                  <a:gd name="T95" fmla="*/ 36 h 431"/>
                  <a:gd name="T96" fmla="*/ 7 w 359"/>
                  <a:gd name="T97" fmla="*/ 35 h 431"/>
                  <a:gd name="T98" fmla="*/ 5 w 359"/>
                  <a:gd name="T99" fmla="*/ 34 h 431"/>
                  <a:gd name="T100" fmla="*/ 2 w 359"/>
                  <a:gd name="T101" fmla="*/ 34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69" name="Freeform 77">
              <a:extLst>
                <a:ext uri="{FF2B5EF4-FFF2-40B4-BE49-F238E27FC236}">
                  <a16:creationId xmlns:a16="http://schemas.microsoft.com/office/drawing/2014/main" id="{CAE4B453-403A-4093-A863-359A90E795CB}"/>
                </a:ext>
              </a:extLst>
            </p:cNvPr>
            <p:cNvSpPr>
              <a:spLocks/>
            </p:cNvSpPr>
            <p:nvPr>
              <p:custDataLst>
                <p:tags r:id="rId57"/>
              </p:custDataLst>
            </p:nvPr>
          </p:nvSpPr>
          <p:spPr bwMode="auto">
            <a:xfrm>
              <a:off x="7362825" y="3743325"/>
              <a:ext cx="9525" cy="57150"/>
            </a:xfrm>
            <a:custGeom>
              <a:avLst/>
              <a:gdLst>
                <a:gd name="T0" fmla="*/ 0 w 21"/>
                <a:gd name="T1" fmla="*/ 36535442 h 62"/>
                <a:gd name="T2" fmla="*/ 205921 w 21"/>
                <a:gd name="T3" fmla="*/ 24639946 h 62"/>
                <a:gd name="T4" fmla="*/ 617311 w 21"/>
                <a:gd name="T5" fmla="*/ 14444202 h 62"/>
                <a:gd name="T6" fmla="*/ 822779 w 21"/>
                <a:gd name="T7" fmla="*/ 9346790 h 62"/>
                <a:gd name="T8" fmla="*/ 1234168 w 21"/>
                <a:gd name="T9" fmla="*/ 5947287 h 62"/>
                <a:gd name="T10" fmla="*/ 1851479 w 21"/>
                <a:gd name="T11" fmla="*/ 2548706 h 62"/>
                <a:gd name="T12" fmla="*/ 3086100 w 21"/>
                <a:gd name="T13" fmla="*/ 0 h 62"/>
                <a:gd name="T14" fmla="*/ 3086100 w 21"/>
                <a:gd name="T15" fmla="*/ 12745372 h 62"/>
                <a:gd name="T16" fmla="*/ 3702957 w 21"/>
                <a:gd name="T17" fmla="*/ 26339698 h 62"/>
                <a:gd name="T18" fmla="*/ 4114346 w 21"/>
                <a:gd name="T19" fmla="*/ 37385318 h 62"/>
                <a:gd name="T20" fmla="*/ 4320268 w 21"/>
                <a:gd name="T21" fmla="*/ 41633775 h 62"/>
                <a:gd name="T22" fmla="*/ 2057400 w 21"/>
                <a:gd name="T23" fmla="*/ 46732108 h 62"/>
                <a:gd name="T24" fmla="*/ 0 w 21"/>
                <a:gd name="T25" fmla="*/ 52679395 h 62"/>
                <a:gd name="T26" fmla="*/ 0 w 21"/>
                <a:gd name="T27" fmla="*/ 36535442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70" name="Freeform 78">
              <a:extLst>
                <a:ext uri="{FF2B5EF4-FFF2-40B4-BE49-F238E27FC236}">
                  <a16:creationId xmlns:a16="http://schemas.microsoft.com/office/drawing/2014/main" id="{DE9ED4DD-E8A6-42E3-B3C5-3A13A9CF663C}"/>
                </a:ext>
              </a:extLst>
            </p:cNvPr>
            <p:cNvSpPr>
              <a:spLocks/>
            </p:cNvSpPr>
            <p:nvPr>
              <p:custDataLst>
                <p:tags r:id="rId58"/>
              </p:custDataLst>
            </p:nvPr>
          </p:nvSpPr>
          <p:spPr bwMode="auto">
            <a:xfrm>
              <a:off x="8089900" y="4645025"/>
              <a:ext cx="14288" cy="57150"/>
            </a:xfrm>
            <a:custGeom>
              <a:avLst/>
              <a:gdLst>
                <a:gd name="T0" fmla="*/ 0 w 33"/>
                <a:gd name="T1" fmla="*/ 0 h 24"/>
                <a:gd name="T2" fmla="*/ 937379 w 33"/>
                <a:gd name="T3" fmla="*/ 28351163 h 24"/>
                <a:gd name="T4" fmla="*/ 1874759 w 33"/>
                <a:gd name="T5" fmla="*/ 56704706 h 24"/>
                <a:gd name="T6" fmla="*/ 2062235 w 33"/>
                <a:gd name="T7" fmla="*/ 73713975 h 24"/>
                <a:gd name="T8" fmla="*/ 2249711 w 33"/>
                <a:gd name="T9" fmla="*/ 90725625 h 24"/>
                <a:gd name="T10" fmla="*/ 2437186 w 33"/>
                <a:gd name="T11" fmla="*/ 113407031 h 24"/>
                <a:gd name="T12" fmla="*/ 2437186 w 33"/>
                <a:gd name="T13" fmla="*/ 136088438 h 24"/>
                <a:gd name="T14" fmla="*/ 6186271 w 33"/>
                <a:gd name="T15" fmla="*/ 0 h 24"/>
                <a:gd name="T16" fmla="*/ 4498988 w 33"/>
                <a:gd name="T17" fmla="*/ 0 h 24"/>
                <a:gd name="T18" fmla="*/ 2999614 w 33"/>
                <a:gd name="T19" fmla="*/ 0 h 24"/>
                <a:gd name="T20" fmla="*/ 1687283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1" name="Freeform 79">
              <a:extLst>
                <a:ext uri="{FF2B5EF4-FFF2-40B4-BE49-F238E27FC236}">
                  <a16:creationId xmlns:a16="http://schemas.microsoft.com/office/drawing/2014/main" id="{A229B802-A3D1-4DD7-8CA3-C47ED2E575DD}"/>
                </a:ext>
              </a:extLst>
            </p:cNvPr>
            <p:cNvSpPr>
              <a:spLocks/>
            </p:cNvSpPr>
            <p:nvPr>
              <p:custDataLst>
                <p:tags r:id="rId59"/>
              </p:custDataLst>
            </p:nvPr>
          </p:nvSpPr>
          <p:spPr bwMode="auto">
            <a:xfrm>
              <a:off x="8112125" y="4654550"/>
              <a:ext cx="17463" cy="58738"/>
            </a:xfrm>
            <a:custGeom>
              <a:avLst/>
              <a:gdLst>
                <a:gd name="T0" fmla="*/ 7281013 w 33"/>
                <a:gd name="T1" fmla="*/ 138001407 h 25"/>
                <a:gd name="T2" fmla="*/ 8120824 w 33"/>
                <a:gd name="T3" fmla="*/ 121442272 h 25"/>
                <a:gd name="T4" fmla="*/ 9241102 w 33"/>
                <a:gd name="T5" fmla="*/ 99361859 h 25"/>
                <a:gd name="T6" fmla="*/ 9241102 w 33"/>
                <a:gd name="T7" fmla="*/ 0 h 25"/>
                <a:gd name="T8" fmla="*/ 7001075 w 33"/>
                <a:gd name="T9" fmla="*/ 0 h 25"/>
                <a:gd name="T10" fmla="*/ 4480582 w 33"/>
                <a:gd name="T11" fmla="*/ 0 h 25"/>
                <a:gd name="T12" fmla="*/ 1680152 w 33"/>
                <a:gd name="T13" fmla="*/ 0 h 25"/>
                <a:gd name="T14" fmla="*/ 0 w 33"/>
                <a:gd name="T15" fmla="*/ 0 h 25"/>
                <a:gd name="T16" fmla="*/ 7281013 w 33"/>
                <a:gd name="T17" fmla="*/ 13800140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US"/>
            </a:p>
          </p:txBody>
        </p:sp>
        <p:sp>
          <p:nvSpPr>
            <p:cNvPr id="72" name="Freeform 80">
              <a:extLst>
                <a:ext uri="{FF2B5EF4-FFF2-40B4-BE49-F238E27FC236}">
                  <a16:creationId xmlns:a16="http://schemas.microsoft.com/office/drawing/2014/main" id="{4935F527-2B4A-4673-ADB5-AFF9DA1829CE}"/>
                </a:ext>
              </a:extLst>
            </p:cNvPr>
            <p:cNvSpPr>
              <a:spLocks/>
            </p:cNvSpPr>
            <p:nvPr>
              <p:custDataLst>
                <p:tags r:id="rId60"/>
              </p:custDataLst>
            </p:nvPr>
          </p:nvSpPr>
          <p:spPr bwMode="auto">
            <a:xfrm>
              <a:off x="7426325" y="3732213"/>
              <a:ext cx="1588" cy="55562"/>
            </a:xfrm>
            <a:custGeom>
              <a:avLst/>
              <a:gdLst>
                <a:gd name="T0" fmla="*/ 0 w 7"/>
                <a:gd name="T1" fmla="*/ 0 h 55563"/>
                <a:gd name="T2" fmla="*/ 360249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3" name="Freeform 81">
              <a:extLst>
                <a:ext uri="{FF2B5EF4-FFF2-40B4-BE49-F238E27FC236}">
                  <a16:creationId xmlns:a16="http://schemas.microsoft.com/office/drawing/2014/main" id="{4AFF16FB-9489-447C-B571-B21ED97BAFC1}"/>
                </a:ext>
              </a:extLst>
            </p:cNvPr>
            <p:cNvSpPr>
              <a:spLocks/>
            </p:cNvSpPr>
            <p:nvPr>
              <p:custDataLst>
                <p:tags r:id="rId61"/>
              </p:custDataLst>
            </p:nvPr>
          </p:nvSpPr>
          <p:spPr bwMode="auto">
            <a:xfrm>
              <a:off x="7485063" y="3676650"/>
              <a:ext cx="6350" cy="57150"/>
            </a:xfrm>
            <a:custGeom>
              <a:avLst/>
              <a:gdLst>
                <a:gd name="T0" fmla="*/ 2520156 w 16"/>
                <a:gd name="T1" fmla="*/ 0 h 25"/>
                <a:gd name="T2" fmla="*/ 2520156 w 16"/>
                <a:gd name="T3" fmla="*/ 31354776 h 25"/>
                <a:gd name="T4" fmla="*/ 2205038 w 16"/>
                <a:gd name="T5" fmla="*/ 67935348 h 25"/>
                <a:gd name="T6" fmla="*/ 2047478 w 16"/>
                <a:gd name="T7" fmla="*/ 83612736 h 25"/>
                <a:gd name="T8" fmla="*/ 1732756 w 16"/>
                <a:gd name="T9" fmla="*/ 104515920 h 25"/>
                <a:gd name="T10" fmla="*/ 1102519 w 16"/>
                <a:gd name="T11" fmla="*/ 120193308 h 25"/>
                <a:gd name="T12" fmla="*/ 472678 w 16"/>
                <a:gd name="T13" fmla="*/ 130644900 h 25"/>
                <a:gd name="T14" fmla="*/ 157559 w 16"/>
                <a:gd name="T15" fmla="*/ 125419104 h 25"/>
                <a:gd name="T16" fmla="*/ 0 w 16"/>
                <a:gd name="T17" fmla="*/ 109741716 h 25"/>
                <a:gd name="T18" fmla="*/ 157559 w 16"/>
                <a:gd name="T19" fmla="*/ 94064328 h 25"/>
                <a:gd name="T20" fmla="*/ 315119 w 16"/>
                <a:gd name="T21" fmla="*/ 67935348 h 25"/>
                <a:gd name="T22" fmla="*/ 630238 w 16"/>
                <a:gd name="T23" fmla="*/ 47032164 h 25"/>
                <a:gd name="T24" fmla="*/ 1102519 w 16"/>
                <a:gd name="T25" fmla="*/ 20903184 h 25"/>
                <a:gd name="T26" fmla="*/ 1732756 w 16"/>
                <a:gd name="T27" fmla="*/ 5225796 h 25"/>
                <a:gd name="T28" fmla="*/ 2520156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US"/>
            </a:p>
          </p:txBody>
        </p:sp>
        <p:sp>
          <p:nvSpPr>
            <p:cNvPr id="74" name="Freeform 82">
              <a:extLst>
                <a:ext uri="{FF2B5EF4-FFF2-40B4-BE49-F238E27FC236}">
                  <a16:creationId xmlns:a16="http://schemas.microsoft.com/office/drawing/2014/main" id="{BD8CF4C9-42D9-4A08-BF23-F57E816F3138}"/>
                </a:ext>
              </a:extLst>
            </p:cNvPr>
            <p:cNvSpPr>
              <a:spLocks/>
            </p:cNvSpPr>
            <p:nvPr>
              <p:custDataLst>
                <p:tags r:id="rId62"/>
              </p:custDataLst>
            </p:nvPr>
          </p:nvSpPr>
          <p:spPr bwMode="auto">
            <a:xfrm>
              <a:off x="7597775" y="3565525"/>
              <a:ext cx="4763" cy="57150"/>
            </a:xfrm>
            <a:custGeom>
              <a:avLst/>
              <a:gdLst>
                <a:gd name="T0" fmla="*/ 0 w 14"/>
                <a:gd name="T1" fmla="*/ 0 h 18"/>
                <a:gd name="T2" fmla="*/ 347359 w 14"/>
                <a:gd name="T3" fmla="*/ 10080625 h 18"/>
                <a:gd name="T4" fmla="*/ 578705 w 14"/>
                <a:gd name="T5" fmla="*/ 20161250 h 18"/>
                <a:gd name="T6" fmla="*/ 810390 w 14"/>
                <a:gd name="T7" fmla="*/ 40322500 h 18"/>
                <a:gd name="T8" fmla="*/ 1041736 w 14"/>
                <a:gd name="T9" fmla="*/ 70564375 h 18"/>
                <a:gd name="T10" fmla="*/ 1504768 w 14"/>
                <a:gd name="T11" fmla="*/ 131048125 h 18"/>
                <a:gd name="T12" fmla="*/ 1620441 w 14"/>
                <a:gd name="T13" fmla="*/ 1814512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5" name="Freeform 83">
              <a:extLst>
                <a:ext uri="{FF2B5EF4-FFF2-40B4-BE49-F238E27FC236}">
                  <a16:creationId xmlns:a16="http://schemas.microsoft.com/office/drawing/2014/main" id="{0FE9B79E-D4E7-44A3-B639-AC329952AA64}"/>
                </a:ext>
              </a:extLst>
            </p:cNvPr>
            <p:cNvSpPr>
              <a:spLocks/>
            </p:cNvSpPr>
            <p:nvPr>
              <p:custDataLst>
                <p:tags r:id="rId63"/>
              </p:custDataLst>
            </p:nvPr>
          </p:nvSpPr>
          <p:spPr bwMode="auto">
            <a:xfrm>
              <a:off x="7750175" y="4264025"/>
              <a:ext cx="26988" cy="58738"/>
            </a:xfrm>
            <a:custGeom>
              <a:avLst/>
              <a:gdLst>
                <a:gd name="T0" fmla="*/ 0 w 67"/>
                <a:gd name="T1" fmla="*/ 0 h 74"/>
                <a:gd name="T2" fmla="*/ 162331 w 67"/>
                <a:gd name="T3" fmla="*/ 10710771 h 74"/>
                <a:gd name="T4" fmla="*/ 486590 w 67"/>
                <a:gd name="T5" fmla="*/ 18900614 h 74"/>
                <a:gd name="T6" fmla="*/ 1135913 w 67"/>
                <a:gd name="T7" fmla="*/ 25830786 h 74"/>
                <a:gd name="T8" fmla="*/ 1947164 w 67"/>
                <a:gd name="T9" fmla="*/ 31501288 h 74"/>
                <a:gd name="T10" fmla="*/ 2758415 w 67"/>
                <a:gd name="T11" fmla="*/ 36541558 h 74"/>
                <a:gd name="T12" fmla="*/ 3731997 w 67"/>
                <a:gd name="T13" fmla="*/ 40322157 h 74"/>
                <a:gd name="T14" fmla="*/ 4543249 w 67"/>
                <a:gd name="T15" fmla="*/ 43471730 h 74"/>
                <a:gd name="T16" fmla="*/ 5354500 w 67"/>
                <a:gd name="T17" fmla="*/ 46622097 h 74"/>
                <a:gd name="T18" fmla="*/ 7138930 w 67"/>
                <a:gd name="T19" fmla="*/ 40951595 h 74"/>
                <a:gd name="T20" fmla="*/ 8923763 w 67"/>
                <a:gd name="T21" fmla="*/ 34651655 h 74"/>
                <a:gd name="T22" fmla="*/ 9573087 w 67"/>
                <a:gd name="T23" fmla="*/ 30871056 h 74"/>
                <a:gd name="T24" fmla="*/ 10222007 w 67"/>
                <a:gd name="T25" fmla="*/ 27091251 h 74"/>
                <a:gd name="T26" fmla="*/ 10708597 w 67"/>
                <a:gd name="T27" fmla="*/ 23311445 h 74"/>
                <a:gd name="T28" fmla="*/ 10870928 w 67"/>
                <a:gd name="T29" fmla="*/ 18900614 h 74"/>
                <a:gd name="T30" fmla="*/ 10870928 w 67"/>
                <a:gd name="T31" fmla="*/ 15751041 h 74"/>
                <a:gd name="T32" fmla="*/ 10870928 w 67"/>
                <a:gd name="T33" fmla="*/ 11340210 h 74"/>
                <a:gd name="T34" fmla="*/ 10870928 w 67"/>
                <a:gd name="T35" fmla="*/ 5670502 h 74"/>
                <a:gd name="T36" fmla="*/ 10870928 w 67"/>
                <a:gd name="T37" fmla="*/ 0 h 74"/>
                <a:gd name="T38" fmla="*/ 7788253 w 67"/>
                <a:gd name="T39" fmla="*/ 0 h 74"/>
                <a:gd name="T40" fmla="*/ 5354500 w 67"/>
                <a:gd name="T41" fmla="*/ 0 h 74"/>
                <a:gd name="T42" fmla="*/ 2758415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6" name="Freeform 84">
              <a:extLst>
                <a:ext uri="{FF2B5EF4-FFF2-40B4-BE49-F238E27FC236}">
                  <a16:creationId xmlns:a16="http://schemas.microsoft.com/office/drawing/2014/main" id="{4AF56EAF-1CC4-46F2-BFAE-67897A8F4091}"/>
                </a:ext>
              </a:extLst>
            </p:cNvPr>
            <p:cNvSpPr>
              <a:spLocks/>
            </p:cNvSpPr>
            <p:nvPr>
              <p:custDataLst>
                <p:tags r:id="rId64"/>
              </p:custDataLst>
            </p:nvPr>
          </p:nvSpPr>
          <p:spPr bwMode="auto">
            <a:xfrm>
              <a:off x="7813675" y="4278313"/>
              <a:ext cx="12700" cy="57150"/>
            </a:xfrm>
            <a:custGeom>
              <a:avLst/>
              <a:gdLst>
                <a:gd name="T0" fmla="*/ 0 w 34"/>
                <a:gd name="T1" fmla="*/ 0 h 38"/>
                <a:gd name="T2" fmla="*/ 279026 w 34"/>
                <a:gd name="T3" fmla="*/ 6785811 h 38"/>
                <a:gd name="T4" fmla="*/ 558053 w 34"/>
                <a:gd name="T5" fmla="*/ 15833558 h 38"/>
                <a:gd name="T6" fmla="*/ 697753 w 34"/>
                <a:gd name="T7" fmla="*/ 24879801 h 38"/>
                <a:gd name="T8" fmla="*/ 837079 w 34"/>
                <a:gd name="T9" fmla="*/ 36189486 h 38"/>
                <a:gd name="T10" fmla="*/ 1395132 w 34"/>
                <a:gd name="T11" fmla="*/ 63332728 h 38"/>
                <a:gd name="T12" fmla="*/ 1813859 w 34"/>
                <a:gd name="T13" fmla="*/ 85950592 h 38"/>
                <a:gd name="T14" fmla="*/ 2232212 w 34"/>
                <a:gd name="T15" fmla="*/ 83688655 h 38"/>
                <a:gd name="T16" fmla="*/ 2790638 w 34"/>
                <a:gd name="T17" fmla="*/ 81426718 h 38"/>
                <a:gd name="T18" fmla="*/ 3208991 w 34"/>
                <a:gd name="T19" fmla="*/ 76902845 h 38"/>
                <a:gd name="T20" fmla="*/ 3627718 w 34"/>
                <a:gd name="T21" fmla="*/ 70117034 h 38"/>
                <a:gd name="T22" fmla="*/ 3906744 w 34"/>
                <a:gd name="T23" fmla="*/ 63332728 h 38"/>
                <a:gd name="T24" fmla="*/ 4464797 w 34"/>
                <a:gd name="T25" fmla="*/ 54284980 h 38"/>
                <a:gd name="T26" fmla="*/ 4604124 w 34"/>
                <a:gd name="T27" fmla="*/ 47499170 h 38"/>
                <a:gd name="T28" fmla="*/ 4743824 w 34"/>
                <a:gd name="T29" fmla="*/ 42975296 h 38"/>
                <a:gd name="T30" fmla="*/ 4325097 w 34"/>
                <a:gd name="T31" fmla="*/ 40713359 h 38"/>
                <a:gd name="T32" fmla="*/ 3906744 w 34"/>
                <a:gd name="T33" fmla="*/ 38451422 h 38"/>
                <a:gd name="T34" fmla="*/ 3627718 w 34"/>
                <a:gd name="T35" fmla="*/ 31665612 h 38"/>
                <a:gd name="T36" fmla="*/ 3348691 w 34"/>
                <a:gd name="T37" fmla="*/ 27141738 h 38"/>
                <a:gd name="T38" fmla="*/ 2650938 w 34"/>
                <a:gd name="T39" fmla="*/ 13571621 h 38"/>
                <a:gd name="T40" fmla="*/ 1813859 w 34"/>
                <a:gd name="T41" fmla="*/ 0 h 38"/>
                <a:gd name="T42" fmla="*/ 837079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7" name="Freeform 85">
              <a:extLst>
                <a:ext uri="{FF2B5EF4-FFF2-40B4-BE49-F238E27FC236}">
                  <a16:creationId xmlns:a16="http://schemas.microsoft.com/office/drawing/2014/main" id="{18FC17B6-F17D-419D-B782-E6CF90918803}"/>
                </a:ext>
              </a:extLst>
            </p:cNvPr>
            <p:cNvSpPr>
              <a:spLocks/>
            </p:cNvSpPr>
            <p:nvPr>
              <p:custDataLst>
                <p:tags r:id="rId65"/>
              </p:custDataLst>
            </p:nvPr>
          </p:nvSpPr>
          <p:spPr bwMode="auto">
            <a:xfrm>
              <a:off x="7670800" y="4054475"/>
              <a:ext cx="25400" cy="55563"/>
            </a:xfrm>
            <a:custGeom>
              <a:avLst/>
              <a:gdLst>
                <a:gd name="T0" fmla="*/ 12172830 w 53"/>
                <a:gd name="T1" fmla="*/ 134223298 h 23"/>
                <a:gd name="T2" fmla="*/ 12172830 w 53"/>
                <a:gd name="T3" fmla="*/ 23343287 h 23"/>
                <a:gd name="T4" fmla="*/ 11254117 w 53"/>
                <a:gd name="T5" fmla="*/ 11670436 h 23"/>
                <a:gd name="T6" fmla="*/ 10335404 w 53"/>
                <a:gd name="T7" fmla="*/ 5836426 h 23"/>
                <a:gd name="T8" fmla="*/ 9646249 w 53"/>
                <a:gd name="T9" fmla="*/ 0 h 23"/>
                <a:gd name="T10" fmla="*/ 8727536 w 53"/>
                <a:gd name="T11" fmla="*/ 0 h 23"/>
                <a:gd name="T12" fmla="*/ 7120147 w 53"/>
                <a:gd name="T13" fmla="*/ 5836426 h 23"/>
                <a:gd name="T14" fmla="*/ 5512279 w 53"/>
                <a:gd name="T15" fmla="*/ 23343287 h 23"/>
                <a:gd name="T16" fmla="*/ 2526581 w 53"/>
                <a:gd name="T17" fmla="*/ 75866287 h 23"/>
                <a:gd name="T18" fmla="*/ 0 w 53"/>
                <a:gd name="T19" fmla="*/ 134223298 h 23"/>
                <a:gd name="T20" fmla="*/ 12172830 w 53"/>
                <a:gd name="T21" fmla="*/ 134223298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US"/>
            </a:p>
          </p:txBody>
        </p:sp>
        <p:sp>
          <p:nvSpPr>
            <p:cNvPr id="78" name="Freeform 86">
              <a:extLst>
                <a:ext uri="{FF2B5EF4-FFF2-40B4-BE49-F238E27FC236}">
                  <a16:creationId xmlns:a16="http://schemas.microsoft.com/office/drawing/2014/main" id="{6A102533-543F-4E30-BCFD-B1E56EE67BD6}"/>
                </a:ext>
              </a:extLst>
            </p:cNvPr>
            <p:cNvSpPr>
              <a:spLocks/>
            </p:cNvSpPr>
            <p:nvPr>
              <p:custDataLst>
                <p:tags r:id="rId66"/>
              </p:custDataLst>
            </p:nvPr>
          </p:nvSpPr>
          <p:spPr bwMode="auto">
            <a:xfrm>
              <a:off x="7613650" y="4029075"/>
              <a:ext cx="11113" cy="57150"/>
            </a:xfrm>
            <a:custGeom>
              <a:avLst/>
              <a:gdLst>
                <a:gd name="T0" fmla="*/ 0 w 26"/>
                <a:gd name="T1" fmla="*/ 0 h 12"/>
                <a:gd name="T2" fmla="*/ 730893 w 26"/>
                <a:gd name="T3" fmla="*/ 90725625 h 12"/>
                <a:gd name="T4" fmla="*/ 2009743 w 26"/>
                <a:gd name="T5" fmla="*/ 181451250 h 12"/>
                <a:gd name="T6" fmla="*/ 2557700 w 26"/>
                <a:gd name="T7" fmla="*/ 204135038 h 12"/>
                <a:gd name="T8" fmla="*/ 3288593 w 26"/>
                <a:gd name="T9" fmla="*/ 249497850 h 12"/>
                <a:gd name="T10" fmla="*/ 4019059 w 26"/>
                <a:gd name="T11" fmla="*/ 249497850 h 12"/>
                <a:gd name="T12" fmla="*/ 4749953 w 26"/>
                <a:gd name="T13" fmla="*/ 272176875 h 12"/>
                <a:gd name="T14" fmla="*/ 3836550 w 26"/>
                <a:gd name="T15" fmla="*/ 158772225 h 12"/>
                <a:gd name="T16" fmla="*/ 2375190 w 26"/>
                <a:gd name="T17" fmla="*/ 68046600 h 12"/>
                <a:gd name="T18" fmla="*/ 913403 w 26"/>
                <a:gd name="T19" fmla="*/ 22683788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9" name="Freeform 87">
              <a:extLst>
                <a:ext uri="{FF2B5EF4-FFF2-40B4-BE49-F238E27FC236}">
                  <a16:creationId xmlns:a16="http://schemas.microsoft.com/office/drawing/2014/main" id="{1FE7E922-B106-46C4-A8EC-9807B1FD1DA8}"/>
                </a:ext>
              </a:extLst>
            </p:cNvPr>
            <p:cNvSpPr>
              <a:spLocks/>
            </p:cNvSpPr>
            <p:nvPr>
              <p:custDataLst>
                <p:tags r:id="rId67"/>
              </p:custDataLst>
            </p:nvPr>
          </p:nvSpPr>
          <p:spPr bwMode="auto">
            <a:xfrm>
              <a:off x="7813675" y="4360863"/>
              <a:ext cx="31750" cy="57150"/>
            </a:xfrm>
            <a:custGeom>
              <a:avLst/>
              <a:gdLst>
                <a:gd name="T0" fmla="*/ 0 w 73"/>
                <a:gd name="T1" fmla="*/ 0 h 57150"/>
                <a:gd name="T2" fmla="*/ 3783469 w 73"/>
                <a:gd name="T3" fmla="*/ 0 h 57150"/>
                <a:gd name="T4" fmla="*/ 6998918 w 73"/>
                <a:gd name="T5" fmla="*/ 0 h 57150"/>
                <a:gd name="T6" fmla="*/ 10403997 w 73"/>
                <a:gd name="T7" fmla="*/ 0 h 57150"/>
                <a:gd name="T8" fmla="*/ 13809075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US"/>
            </a:p>
          </p:txBody>
        </p:sp>
        <p:sp>
          <p:nvSpPr>
            <p:cNvPr id="80" name="Freeform 88">
              <a:extLst>
                <a:ext uri="{FF2B5EF4-FFF2-40B4-BE49-F238E27FC236}">
                  <a16:creationId xmlns:a16="http://schemas.microsoft.com/office/drawing/2014/main" id="{E768AAFE-9B53-4FCB-B825-1AE42D72E43B}"/>
                </a:ext>
              </a:extLst>
            </p:cNvPr>
            <p:cNvSpPr>
              <a:spLocks/>
            </p:cNvSpPr>
            <p:nvPr>
              <p:custDataLst>
                <p:tags r:id="rId68"/>
              </p:custDataLst>
            </p:nvPr>
          </p:nvSpPr>
          <p:spPr bwMode="auto">
            <a:xfrm>
              <a:off x="7769225" y="4349750"/>
              <a:ext cx="22225" cy="57150"/>
            </a:xfrm>
            <a:custGeom>
              <a:avLst/>
              <a:gdLst>
                <a:gd name="T0" fmla="*/ 0 w 53"/>
                <a:gd name="T1" fmla="*/ 0 h 3"/>
                <a:gd name="T2" fmla="*/ 2461943 w 53"/>
                <a:gd name="T3" fmla="*/ 0 h 3"/>
                <a:gd name="T4" fmla="*/ 4747763 w 53"/>
                <a:gd name="T5" fmla="*/ 1088707500 h 3"/>
                <a:gd name="T6" fmla="*/ 5627118 w 53"/>
                <a:gd name="T7" fmla="*/ 1088707500 h 3"/>
                <a:gd name="T8" fmla="*/ 6857880 w 53"/>
                <a:gd name="T9" fmla="*/ 1088707500 h 3"/>
                <a:gd name="T10" fmla="*/ 7912939 w 53"/>
                <a:gd name="T11" fmla="*/ 362902500 h 3"/>
                <a:gd name="T12" fmla="*/ 9319823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US"/>
            </a:p>
          </p:txBody>
        </p:sp>
        <p:sp>
          <p:nvSpPr>
            <p:cNvPr id="81" name="Line 89">
              <a:extLst>
                <a:ext uri="{FF2B5EF4-FFF2-40B4-BE49-F238E27FC236}">
                  <a16:creationId xmlns:a16="http://schemas.microsoft.com/office/drawing/2014/main" id="{4794F321-C78C-4456-95D2-22E11D775D1C}"/>
                </a:ext>
              </a:extLst>
            </p:cNvPr>
            <p:cNvSpPr>
              <a:spLocks noChangeShapeType="1"/>
            </p:cNvSpPr>
            <p:nvPr>
              <p:custDataLst>
                <p:tags r:id="rId69"/>
              </p:custDataLst>
            </p:nvPr>
          </p:nvSpPr>
          <p:spPr bwMode="auto">
            <a:xfrm>
              <a:off x="7802563" y="4335463"/>
              <a:ext cx="20637"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 name="Freeform 90">
              <a:extLst>
                <a:ext uri="{FF2B5EF4-FFF2-40B4-BE49-F238E27FC236}">
                  <a16:creationId xmlns:a16="http://schemas.microsoft.com/office/drawing/2014/main" id="{217D3096-9CAD-4FF7-A5FC-DE9E5D9173CF}"/>
                </a:ext>
              </a:extLst>
            </p:cNvPr>
            <p:cNvSpPr>
              <a:spLocks/>
            </p:cNvSpPr>
            <p:nvPr>
              <p:custDataLst>
                <p:tags r:id="rId70"/>
              </p:custDataLst>
            </p:nvPr>
          </p:nvSpPr>
          <p:spPr bwMode="auto">
            <a:xfrm>
              <a:off x="7823200" y="4341813"/>
              <a:ext cx="1588" cy="57150"/>
            </a:xfrm>
            <a:custGeom>
              <a:avLst/>
              <a:gdLst>
                <a:gd name="T0" fmla="*/ 0 w 1588"/>
                <a:gd name="T1" fmla="*/ 0 h 13"/>
                <a:gd name="T2" fmla="*/ 0 w 1588"/>
                <a:gd name="T3" fmla="*/ 115957350 h 13"/>
                <a:gd name="T4" fmla="*/ 0 w 1588"/>
                <a:gd name="T5" fmla="*/ 251240192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US"/>
            </a:p>
          </p:txBody>
        </p:sp>
        <p:sp>
          <p:nvSpPr>
            <p:cNvPr id="83" name="Freeform 91">
              <a:extLst>
                <a:ext uri="{FF2B5EF4-FFF2-40B4-BE49-F238E27FC236}">
                  <a16:creationId xmlns:a16="http://schemas.microsoft.com/office/drawing/2014/main" id="{7B521C24-AF13-4A1C-9CB5-80FD05F2C457}"/>
                </a:ext>
              </a:extLst>
            </p:cNvPr>
            <p:cNvSpPr>
              <a:spLocks/>
            </p:cNvSpPr>
            <p:nvPr>
              <p:custDataLst>
                <p:tags r:id="rId71"/>
              </p:custDataLst>
            </p:nvPr>
          </p:nvSpPr>
          <p:spPr bwMode="auto">
            <a:xfrm>
              <a:off x="7777163" y="4335463"/>
              <a:ext cx="14287" cy="58737"/>
            </a:xfrm>
            <a:custGeom>
              <a:avLst/>
              <a:gdLst>
                <a:gd name="T0" fmla="*/ 0 w 26"/>
                <a:gd name="T1" fmla="*/ 0 h 58738"/>
                <a:gd name="T2" fmla="*/ 4529529 w 26"/>
                <a:gd name="T3" fmla="*/ 0 h 58738"/>
                <a:gd name="T4" fmla="*/ 785070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US"/>
            </a:p>
          </p:txBody>
        </p:sp>
        <p:sp>
          <p:nvSpPr>
            <p:cNvPr id="84" name="Freeform 92">
              <a:extLst>
                <a:ext uri="{FF2B5EF4-FFF2-40B4-BE49-F238E27FC236}">
                  <a16:creationId xmlns:a16="http://schemas.microsoft.com/office/drawing/2014/main" id="{35207221-1072-4C3D-B0D6-910DE9810BDD}"/>
                </a:ext>
              </a:extLst>
            </p:cNvPr>
            <p:cNvSpPr>
              <a:spLocks/>
            </p:cNvSpPr>
            <p:nvPr>
              <p:custDataLst>
                <p:tags r:id="rId72"/>
              </p:custDataLst>
            </p:nvPr>
          </p:nvSpPr>
          <p:spPr bwMode="auto">
            <a:xfrm>
              <a:off x="7770813" y="4316413"/>
              <a:ext cx="6350" cy="60325"/>
            </a:xfrm>
            <a:custGeom>
              <a:avLst/>
              <a:gdLst>
                <a:gd name="T0" fmla="*/ 2016125 w 20"/>
                <a:gd name="T1" fmla="*/ 0 h 25"/>
                <a:gd name="T2" fmla="*/ 0 w 20"/>
                <a:gd name="T3" fmla="*/ 75693397 h 25"/>
                <a:gd name="T4" fmla="*/ 403225 w 20"/>
                <a:gd name="T5" fmla="*/ 104806242 h 25"/>
                <a:gd name="T6" fmla="*/ 1008063 w 20"/>
                <a:gd name="T7" fmla="*/ 122273949 h 25"/>
                <a:gd name="T8" fmla="*/ 1411288 w 20"/>
                <a:gd name="T9" fmla="*/ 139741656 h 25"/>
                <a:gd name="T10" fmla="*/ 2016125 w 20"/>
                <a:gd name="T11" fmla="*/ 145564225 h 25"/>
                <a:gd name="T12" fmla="*/ 2016125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85" name="Freeform 93">
              <a:extLst>
                <a:ext uri="{FF2B5EF4-FFF2-40B4-BE49-F238E27FC236}">
                  <a16:creationId xmlns:a16="http://schemas.microsoft.com/office/drawing/2014/main" id="{3D35CE3A-8E72-44EE-BCF0-C80363A52EEB}"/>
                </a:ext>
              </a:extLst>
            </p:cNvPr>
            <p:cNvSpPr>
              <a:spLocks/>
            </p:cNvSpPr>
            <p:nvPr>
              <p:custDataLst>
                <p:tags r:id="rId73"/>
              </p:custDataLst>
            </p:nvPr>
          </p:nvSpPr>
          <p:spPr bwMode="auto">
            <a:xfrm>
              <a:off x="7851775" y="4043363"/>
              <a:ext cx="1588" cy="57150"/>
            </a:xfrm>
            <a:custGeom>
              <a:avLst/>
              <a:gdLst>
                <a:gd name="T0" fmla="*/ 0 w 6"/>
                <a:gd name="T1" fmla="*/ 136088438 h 24"/>
                <a:gd name="T2" fmla="*/ 0 w 6"/>
                <a:gd name="T3" fmla="*/ 0 h 24"/>
                <a:gd name="T4" fmla="*/ 420291 w 6"/>
                <a:gd name="T5" fmla="*/ 68044219 h 24"/>
                <a:gd name="T6" fmla="*/ 0 w 6"/>
                <a:gd name="T7" fmla="*/ 13608843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US"/>
            </a:p>
          </p:txBody>
        </p:sp>
        <p:grpSp>
          <p:nvGrpSpPr>
            <p:cNvPr id="86" name="Group 94">
              <a:extLst>
                <a:ext uri="{FF2B5EF4-FFF2-40B4-BE49-F238E27FC236}">
                  <a16:creationId xmlns:a16="http://schemas.microsoft.com/office/drawing/2014/main" id="{AC26940C-ED0F-439D-94F8-3CFA0EC3B17F}"/>
                </a:ext>
              </a:extLst>
            </p:cNvPr>
            <p:cNvGrpSpPr>
              <a:grpSpLocks/>
            </p:cNvGrpSpPr>
            <p:nvPr>
              <p:custDataLst>
                <p:tags r:id="rId74"/>
              </p:custDataLst>
            </p:nvPr>
          </p:nvGrpSpPr>
          <p:grpSpPr bwMode="auto">
            <a:xfrm>
              <a:off x="7726363" y="3714750"/>
              <a:ext cx="163512" cy="114300"/>
              <a:chOff x="5379" y="2466"/>
              <a:chExt cx="122" cy="71"/>
            </a:xfrm>
          </p:grpSpPr>
          <p:sp>
            <p:nvSpPr>
              <p:cNvPr id="542" name="Freeform 95">
                <a:extLst>
                  <a:ext uri="{FF2B5EF4-FFF2-40B4-BE49-F238E27FC236}">
                    <a16:creationId xmlns:a16="http://schemas.microsoft.com/office/drawing/2014/main" id="{98687BBF-A19B-4436-ADCD-42F71C37FDD2}"/>
                  </a:ext>
                </a:extLst>
              </p:cNvPr>
              <p:cNvSpPr>
                <a:spLocks/>
              </p:cNvSpPr>
              <p:nvPr/>
            </p:nvSpPr>
            <p:spPr bwMode="auto">
              <a:xfrm>
                <a:off x="5428" y="2492"/>
                <a:ext cx="6" cy="9"/>
              </a:xfrm>
              <a:custGeom>
                <a:avLst/>
                <a:gdLst>
                  <a:gd name="T0" fmla="*/ 2 w 19"/>
                  <a:gd name="T1" fmla="*/ 3 h 25"/>
                  <a:gd name="T2" fmla="*/ 2 w 19"/>
                  <a:gd name="T3" fmla="*/ 3 h 25"/>
                  <a:gd name="T4" fmla="*/ 2 w 19"/>
                  <a:gd name="T5" fmla="*/ 1 h 25"/>
                  <a:gd name="T6" fmla="*/ 2 w 19"/>
                  <a:gd name="T7" fmla="*/ 1 h 25"/>
                  <a:gd name="T8" fmla="*/ 2 w 19"/>
                  <a:gd name="T9" fmla="*/ 1 h 25"/>
                  <a:gd name="T10" fmla="*/ 2 w 19"/>
                  <a:gd name="T11" fmla="*/ 0 h 25"/>
                  <a:gd name="T12" fmla="*/ 2 w 19"/>
                  <a:gd name="T13" fmla="*/ 0 h 25"/>
                  <a:gd name="T14" fmla="*/ 0 w 19"/>
                  <a:gd name="T15" fmla="*/ 0 h 25"/>
                  <a:gd name="T16" fmla="*/ 0 w 19"/>
                  <a:gd name="T17" fmla="*/ 1 h 25"/>
                  <a:gd name="T18" fmla="*/ 1 w 19"/>
                  <a:gd name="T19" fmla="*/ 2 h 25"/>
                  <a:gd name="T20" fmla="*/ 1 w 19"/>
                  <a:gd name="T21" fmla="*/ 3 h 25"/>
                  <a:gd name="T22" fmla="*/ 1 w 19"/>
                  <a:gd name="T23" fmla="*/ 3 h 25"/>
                  <a:gd name="T24" fmla="*/ 2 w 19"/>
                  <a:gd name="T25" fmla="*/ 3 h 25"/>
                  <a:gd name="T26" fmla="*/ 2 w 19"/>
                  <a:gd name="T27" fmla="*/ 3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US"/>
              </a:p>
            </p:txBody>
          </p:sp>
          <p:sp>
            <p:nvSpPr>
              <p:cNvPr id="543" name="Freeform 96">
                <a:extLst>
                  <a:ext uri="{FF2B5EF4-FFF2-40B4-BE49-F238E27FC236}">
                    <a16:creationId xmlns:a16="http://schemas.microsoft.com/office/drawing/2014/main" id="{E26F9E47-6CD5-4D1C-AEB7-801D645E3CDA}"/>
                  </a:ext>
                </a:extLst>
              </p:cNvPr>
              <p:cNvSpPr>
                <a:spLocks/>
              </p:cNvSpPr>
              <p:nvPr/>
            </p:nvSpPr>
            <p:spPr bwMode="auto">
              <a:xfrm>
                <a:off x="5379" y="2505"/>
                <a:ext cx="7" cy="6"/>
              </a:xfrm>
              <a:custGeom>
                <a:avLst/>
                <a:gdLst>
                  <a:gd name="T0" fmla="*/ 2 w 26"/>
                  <a:gd name="T1" fmla="*/ 2 h 18"/>
                  <a:gd name="T2" fmla="*/ 1 w 26"/>
                  <a:gd name="T3" fmla="*/ 2 h 18"/>
                  <a:gd name="T4" fmla="*/ 0 w 26"/>
                  <a:gd name="T5" fmla="*/ 1 h 18"/>
                  <a:gd name="T6" fmla="*/ 0 w 26"/>
                  <a:gd name="T7" fmla="*/ 0 h 18"/>
                  <a:gd name="T8" fmla="*/ 1 w 26"/>
                  <a:gd name="T9" fmla="*/ 0 h 18"/>
                  <a:gd name="T10" fmla="*/ 1 w 26"/>
                  <a:gd name="T11" fmla="*/ 1 h 18"/>
                  <a:gd name="T12" fmla="*/ 1 w 26"/>
                  <a:gd name="T13" fmla="*/ 1 h 18"/>
                  <a:gd name="T14" fmla="*/ 2 w 26"/>
                  <a:gd name="T15" fmla="*/ 2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US"/>
              </a:p>
            </p:txBody>
          </p:sp>
          <p:sp>
            <p:nvSpPr>
              <p:cNvPr id="544" name="Freeform 97">
                <a:extLst>
                  <a:ext uri="{FF2B5EF4-FFF2-40B4-BE49-F238E27FC236}">
                    <a16:creationId xmlns:a16="http://schemas.microsoft.com/office/drawing/2014/main" id="{41010E8E-A163-45BC-9FF6-B92F9BCD49FF}"/>
                  </a:ext>
                </a:extLst>
              </p:cNvPr>
              <p:cNvSpPr>
                <a:spLocks/>
              </p:cNvSpPr>
              <p:nvPr/>
            </p:nvSpPr>
            <p:spPr bwMode="auto">
              <a:xfrm>
                <a:off x="5392" y="2466"/>
                <a:ext cx="5" cy="6"/>
              </a:xfrm>
              <a:custGeom>
                <a:avLst/>
                <a:gdLst>
                  <a:gd name="T0" fmla="*/ 0 w 13"/>
                  <a:gd name="T1" fmla="*/ 2 h 18"/>
                  <a:gd name="T2" fmla="*/ 2 w 13"/>
                  <a:gd name="T3" fmla="*/ 0 h 18"/>
                  <a:gd name="T4" fmla="*/ 0 w 13"/>
                  <a:gd name="T5" fmla="*/ 2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545" name="Freeform 98">
                <a:extLst>
                  <a:ext uri="{FF2B5EF4-FFF2-40B4-BE49-F238E27FC236}">
                    <a16:creationId xmlns:a16="http://schemas.microsoft.com/office/drawing/2014/main" id="{57F082AF-98AC-41DE-B80E-F4744DB2FF30}"/>
                  </a:ext>
                </a:extLst>
              </p:cNvPr>
              <p:cNvSpPr>
                <a:spLocks/>
              </p:cNvSpPr>
              <p:nvPr/>
            </p:nvSpPr>
            <p:spPr bwMode="auto">
              <a:xfrm>
                <a:off x="5426" y="2468"/>
                <a:ext cx="8" cy="8"/>
              </a:xfrm>
              <a:custGeom>
                <a:avLst/>
                <a:gdLst>
                  <a:gd name="T0" fmla="*/ 0 w 26"/>
                  <a:gd name="T1" fmla="*/ 3 h 24"/>
                  <a:gd name="T2" fmla="*/ 0 w 26"/>
                  <a:gd name="T3" fmla="*/ 3 h 24"/>
                  <a:gd name="T4" fmla="*/ 1 w 26"/>
                  <a:gd name="T5" fmla="*/ 2 h 24"/>
                  <a:gd name="T6" fmla="*/ 1 w 26"/>
                  <a:gd name="T7" fmla="*/ 2 h 24"/>
                  <a:gd name="T8" fmla="*/ 2 w 26"/>
                  <a:gd name="T9" fmla="*/ 2 h 24"/>
                  <a:gd name="T10" fmla="*/ 2 w 26"/>
                  <a:gd name="T11" fmla="*/ 1 h 24"/>
                  <a:gd name="T12" fmla="*/ 2 w 26"/>
                  <a:gd name="T13" fmla="*/ 1 h 24"/>
                  <a:gd name="T14" fmla="*/ 2 w 26"/>
                  <a:gd name="T15" fmla="*/ 0 h 24"/>
                  <a:gd name="T16" fmla="*/ 2 w 26"/>
                  <a:gd name="T17" fmla="*/ 0 h 24"/>
                  <a:gd name="T18" fmla="*/ 0 w 26"/>
                  <a:gd name="T19" fmla="*/ 3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US"/>
              </a:p>
            </p:txBody>
          </p:sp>
          <p:sp>
            <p:nvSpPr>
              <p:cNvPr id="546" name="Freeform 99">
                <a:extLst>
                  <a:ext uri="{FF2B5EF4-FFF2-40B4-BE49-F238E27FC236}">
                    <a16:creationId xmlns:a16="http://schemas.microsoft.com/office/drawing/2014/main" id="{CFBCFF18-5241-4259-A693-E2BDDBEF52A2}"/>
                  </a:ext>
                </a:extLst>
              </p:cNvPr>
              <p:cNvSpPr>
                <a:spLocks/>
              </p:cNvSpPr>
              <p:nvPr/>
            </p:nvSpPr>
            <p:spPr bwMode="auto">
              <a:xfrm>
                <a:off x="5490" y="2490"/>
                <a:ext cx="11" cy="2"/>
              </a:xfrm>
              <a:custGeom>
                <a:avLst/>
                <a:gdLst>
                  <a:gd name="T0" fmla="*/ 0 w 34"/>
                  <a:gd name="T1" fmla="*/ 1 h 6"/>
                  <a:gd name="T2" fmla="*/ 1 w 34"/>
                  <a:gd name="T3" fmla="*/ 1 h 6"/>
                  <a:gd name="T4" fmla="*/ 2 w 34"/>
                  <a:gd name="T5" fmla="*/ 1 h 6"/>
                  <a:gd name="T6" fmla="*/ 3 w 34"/>
                  <a:gd name="T7" fmla="*/ 0 h 6"/>
                  <a:gd name="T8" fmla="*/ 4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547" name="Line 100">
                <a:extLst>
                  <a:ext uri="{FF2B5EF4-FFF2-40B4-BE49-F238E27FC236}">
                    <a16:creationId xmlns:a16="http://schemas.microsoft.com/office/drawing/2014/main" id="{BFD93E41-3A45-4F6C-A6FC-711794A9A9A7}"/>
                  </a:ext>
                </a:extLst>
              </p:cNvPr>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8" name="Freeform 101">
                <a:extLst>
                  <a:ext uri="{FF2B5EF4-FFF2-40B4-BE49-F238E27FC236}">
                    <a16:creationId xmlns:a16="http://schemas.microsoft.com/office/drawing/2014/main" id="{8473899B-0C83-4602-8D11-454BC3248A31}"/>
                  </a:ext>
                </a:extLst>
              </p:cNvPr>
              <p:cNvSpPr>
                <a:spLocks/>
              </p:cNvSpPr>
              <p:nvPr/>
            </p:nvSpPr>
            <p:spPr bwMode="auto">
              <a:xfrm>
                <a:off x="5464" y="2530"/>
                <a:ext cx="1" cy="7"/>
              </a:xfrm>
              <a:custGeom>
                <a:avLst/>
                <a:gdLst>
                  <a:gd name="T0" fmla="*/ 0 w 1"/>
                  <a:gd name="T1" fmla="*/ 3 h 19"/>
                  <a:gd name="T2" fmla="*/ 0 w 1"/>
                  <a:gd name="T3" fmla="*/ 1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49" name="Line 102">
                <a:extLst>
                  <a:ext uri="{FF2B5EF4-FFF2-40B4-BE49-F238E27FC236}">
                    <a16:creationId xmlns:a16="http://schemas.microsoft.com/office/drawing/2014/main" id="{F65B3FA1-DD8F-435F-B2A7-96002483961B}"/>
                  </a:ext>
                </a:extLst>
              </p:cNvPr>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0" name="Freeform 103">
                <a:extLst>
                  <a:ext uri="{FF2B5EF4-FFF2-40B4-BE49-F238E27FC236}">
                    <a16:creationId xmlns:a16="http://schemas.microsoft.com/office/drawing/2014/main" id="{02A48880-99DC-4749-AB6B-A6DF440AB6DC}"/>
                  </a:ext>
                </a:extLst>
              </p:cNvPr>
              <p:cNvSpPr>
                <a:spLocks/>
              </p:cNvSpPr>
              <p:nvPr/>
            </p:nvSpPr>
            <p:spPr bwMode="auto">
              <a:xfrm>
                <a:off x="5466" y="2530"/>
                <a:ext cx="4" cy="2"/>
              </a:xfrm>
              <a:custGeom>
                <a:avLst/>
                <a:gdLst>
                  <a:gd name="T0" fmla="*/ 1 w 14"/>
                  <a:gd name="T1" fmla="*/ 0 h 6"/>
                  <a:gd name="T2" fmla="*/ 1 w 14"/>
                  <a:gd name="T3" fmla="*/ 0 h 6"/>
                  <a:gd name="T4" fmla="*/ 0 w 14"/>
                  <a:gd name="T5" fmla="*/ 1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US"/>
              </a:p>
            </p:txBody>
          </p:sp>
        </p:grpSp>
        <p:sp>
          <p:nvSpPr>
            <p:cNvPr id="87" name="Freeform 104">
              <a:extLst>
                <a:ext uri="{FF2B5EF4-FFF2-40B4-BE49-F238E27FC236}">
                  <a16:creationId xmlns:a16="http://schemas.microsoft.com/office/drawing/2014/main" id="{582571FF-C371-4C27-9E85-7F495D8E67F1}"/>
                </a:ext>
              </a:extLst>
            </p:cNvPr>
            <p:cNvSpPr>
              <a:spLocks/>
            </p:cNvSpPr>
            <p:nvPr>
              <p:custDataLst>
                <p:tags r:id="rId75"/>
              </p:custDataLst>
            </p:nvPr>
          </p:nvSpPr>
          <p:spPr bwMode="auto">
            <a:xfrm>
              <a:off x="6310313" y="3576638"/>
              <a:ext cx="6350" cy="57150"/>
            </a:xfrm>
            <a:custGeom>
              <a:avLst/>
              <a:gdLst>
                <a:gd name="T0" fmla="*/ 775433 w 26"/>
                <a:gd name="T1" fmla="*/ 29424527 h 111"/>
                <a:gd name="T2" fmla="*/ 536819 w 26"/>
                <a:gd name="T3" fmla="*/ 27303799 h 111"/>
                <a:gd name="T4" fmla="*/ 238613 w 26"/>
                <a:gd name="T5" fmla="*/ 25183070 h 111"/>
                <a:gd name="T6" fmla="*/ 119185 w 26"/>
                <a:gd name="T7" fmla="*/ 24122964 h 111"/>
                <a:gd name="T8" fmla="*/ 59592 w 26"/>
                <a:gd name="T9" fmla="*/ 23062342 h 111"/>
                <a:gd name="T10" fmla="*/ 0 w 26"/>
                <a:gd name="T11" fmla="*/ 21206769 h 111"/>
                <a:gd name="T12" fmla="*/ 0 w 26"/>
                <a:gd name="T13" fmla="*/ 19616351 h 111"/>
                <a:gd name="T14" fmla="*/ 0 w 26"/>
                <a:gd name="T15" fmla="*/ 16170361 h 111"/>
                <a:gd name="T16" fmla="*/ 59592 w 26"/>
                <a:gd name="T17" fmla="*/ 13519322 h 111"/>
                <a:gd name="T18" fmla="*/ 179021 w 26"/>
                <a:gd name="T19" fmla="*/ 10868282 h 111"/>
                <a:gd name="T20" fmla="*/ 298206 w 26"/>
                <a:gd name="T21" fmla="*/ 8748069 h 111"/>
                <a:gd name="T22" fmla="*/ 536819 w 26"/>
                <a:gd name="T23" fmla="*/ 6362185 h 111"/>
                <a:gd name="T24" fmla="*/ 835025 w 26"/>
                <a:gd name="T25" fmla="*/ 4506612 h 111"/>
                <a:gd name="T26" fmla="*/ 1193067 w 26"/>
                <a:gd name="T27" fmla="*/ 2385884 h 111"/>
                <a:gd name="T28" fmla="*/ 1550865 w 26"/>
                <a:gd name="T29" fmla="*/ 0 h 111"/>
                <a:gd name="T30" fmla="*/ 1550865 w 26"/>
                <a:gd name="T31" fmla="*/ 1590418 h 111"/>
                <a:gd name="T32" fmla="*/ 1550865 w 26"/>
                <a:gd name="T33" fmla="*/ 3445991 h 111"/>
                <a:gd name="T34" fmla="*/ 1550865 w 26"/>
                <a:gd name="T35" fmla="*/ 5831874 h 111"/>
                <a:gd name="T36" fmla="*/ 1550865 w 26"/>
                <a:gd name="T37" fmla="*/ 8482914 h 111"/>
                <a:gd name="T38" fmla="*/ 1491273 w 26"/>
                <a:gd name="T39" fmla="*/ 11663749 h 111"/>
                <a:gd name="T40" fmla="*/ 1312252 w 26"/>
                <a:gd name="T41" fmla="*/ 14844584 h 111"/>
                <a:gd name="T42" fmla="*/ 1073638 w 26"/>
                <a:gd name="T43" fmla="*/ 17760778 h 111"/>
                <a:gd name="T44" fmla="*/ 775433 w 26"/>
                <a:gd name="T45" fmla="*/ 21206769 h 111"/>
                <a:gd name="T46" fmla="*/ 775433 w 26"/>
                <a:gd name="T47" fmla="*/ 2942452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US"/>
            </a:p>
          </p:txBody>
        </p:sp>
        <p:sp>
          <p:nvSpPr>
            <p:cNvPr id="88" name="Freeform 105">
              <a:extLst>
                <a:ext uri="{FF2B5EF4-FFF2-40B4-BE49-F238E27FC236}">
                  <a16:creationId xmlns:a16="http://schemas.microsoft.com/office/drawing/2014/main" id="{FC12CA94-74A2-41CA-BFA1-3F34361B2C25}"/>
                </a:ext>
              </a:extLst>
            </p:cNvPr>
            <p:cNvSpPr>
              <a:spLocks/>
            </p:cNvSpPr>
            <p:nvPr>
              <p:custDataLst>
                <p:tags r:id="rId76"/>
              </p:custDataLst>
            </p:nvPr>
          </p:nvSpPr>
          <p:spPr bwMode="auto">
            <a:xfrm>
              <a:off x="3209925" y="5716588"/>
              <a:ext cx="53975" cy="58737"/>
            </a:xfrm>
            <a:custGeom>
              <a:avLst/>
              <a:gdLst>
                <a:gd name="T0" fmla="*/ 0 w 126"/>
                <a:gd name="T1" fmla="*/ 17052968 h 62"/>
                <a:gd name="T2" fmla="*/ 2018494 w 126"/>
                <a:gd name="T3" fmla="*/ 17951091 h 62"/>
                <a:gd name="T4" fmla="*/ 3853644 w 126"/>
                <a:gd name="T5" fmla="*/ 18848266 h 62"/>
                <a:gd name="T6" fmla="*/ 5321678 w 126"/>
                <a:gd name="T7" fmla="*/ 20643565 h 62"/>
                <a:gd name="T8" fmla="*/ 6605940 w 126"/>
                <a:gd name="T9" fmla="*/ 23336039 h 62"/>
                <a:gd name="T10" fmla="*/ 9175322 w 126"/>
                <a:gd name="T11" fmla="*/ 29619110 h 62"/>
                <a:gd name="T12" fmla="*/ 11193815 w 126"/>
                <a:gd name="T13" fmla="*/ 35901234 h 62"/>
                <a:gd name="T14" fmla="*/ 12845193 w 126"/>
                <a:gd name="T15" fmla="*/ 43082428 h 62"/>
                <a:gd name="T16" fmla="*/ 14496571 w 126"/>
                <a:gd name="T17" fmla="*/ 49364552 h 62"/>
                <a:gd name="T18" fmla="*/ 15414146 w 126"/>
                <a:gd name="T19" fmla="*/ 52057026 h 62"/>
                <a:gd name="T20" fmla="*/ 16331721 w 126"/>
                <a:gd name="T21" fmla="*/ 53852325 h 62"/>
                <a:gd name="T22" fmla="*/ 17432640 w 126"/>
                <a:gd name="T23" fmla="*/ 54750448 h 62"/>
                <a:gd name="T24" fmla="*/ 18350215 w 126"/>
                <a:gd name="T25" fmla="*/ 55647623 h 62"/>
                <a:gd name="T26" fmla="*/ 19267790 w 126"/>
                <a:gd name="T27" fmla="*/ 54750448 h 62"/>
                <a:gd name="T28" fmla="*/ 20002021 w 126"/>
                <a:gd name="T29" fmla="*/ 53852325 h 62"/>
                <a:gd name="T30" fmla="*/ 20735824 w 126"/>
                <a:gd name="T31" fmla="*/ 52057026 h 62"/>
                <a:gd name="T32" fmla="*/ 21470056 w 126"/>
                <a:gd name="T33" fmla="*/ 50262675 h 62"/>
                <a:gd name="T34" fmla="*/ 22387631 w 126"/>
                <a:gd name="T35" fmla="*/ 45774902 h 62"/>
                <a:gd name="T36" fmla="*/ 23121434 w 126"/>
                <a:gd name="T37" fmla="*/ 43979604 h 62"/>
                <a:gd name="T38" fmla="*/ 20185365 w 126"/>
                <a:gd name="T39" fmla="*/ 29619110 h 62"/>
                <a:gd name="T40" fmla="*/ 17616412 w 126"/>
                <a:gd name="T41" fmla="*/ 18848266 h 62"/>
                <a:gd name="T42" fmla="*/ 16331721 w 126"/>
                <a:gd name="T43" fmla="*/ 13463318 h 62"/>
                <a:gd name="T44" fmla="*/ 14863687 w 126"/>
                <a:gd name="T45" fmla="*/ 8077422 h 62"/>
                <a:gd name="T46" fmla="*/ 13212309 w 126"/>
                <a:gd name="T47" fmla="*/ 4487773 h 62"/>
                <a:gd name="T48" fmla="*/ 11193815 w 126"/>
                <a:gd name="T49" fmla="*/ 0 h 62"/>
                <a:gd name="T50" fmla="*/ 0 w 126"/>
                <a:gd name="T51" fmla="*/ 0 h 62"/>
                <a:gd name="T52" fmla="*/ 0 w 126"/>
                <a:gd name="T53" fmla="*/ 8077422 h 62"/>
                <a:gd name="T54" fmla="*/ 0 w 126"/>
                <a:gd name="T55" fmla="*/ 17052968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89" name="Freeform 106">
              <a:extLst>
                <a:ext uri="{FF2B5EF4-FFF2-40B4-BE49-F238E27FC236}">
                  <a16:creationId xmlns:a16="http://schemas.microsoft.com/office/drawing/2014/main" id="{184227F9-A762-4BB3-9701-B96FE0590230}"/>
                </a:ext>
              </a:extLst>
            </p:cNvPr>
            <p:cNvSpPr>
              <a:spLocks/>
            </p:cNvSpPr>
            <p:nvPr>
              <p:custDataLst>
                <p:tags r:id="rId77"/>
              </p:custDataLst>
            </p:nvPr>
          </p:nvSpPr>
          <p:spPr bwMode="auto">
            <a:xfrm>
              <a:off x="5511800" y="5554663"/>
              <a:ext cx="30163" cy="55562"/>
            </a:xfrm>
            <a:custGeom>
              <a:avLst/>
              <a:gdLst>
                <a:gd name="T0" fmla="*/ 0 w 66"/>
                <a:gd name="T1" fmla="*/ 0 h 44"/>
                <a:gd name="T2" fmla="*/ 2715127 w 66"/>
                <a:gd name="T3" fmla="*/ 1594911 h 44"/>
                <a:gd name="T4" fmla="*/ 4803686 w 66"/>
                <a:gd name="T5" fmla="*/ 3189821 h 44"/>
                <a:gd name="T6" fmla="*/ 6683390 w 66"/>
                <a:gd name="T7" fmla="*/ 6378380 h 44"/>
                <a:gd name="T8" fmla="*/ 7936982 w 66"/>
                <a:gd name="T9" fmla="*/ 11163112 h 44"/>
                <a:gd name="T10" fmla="*/ 9190118 w 66"/>
                <a:gd name="T11" fmla="*/ 14351670 h 44"/>
                <a:gd name="T12" fmla="*/ 10443253 w 66"/>
                <a:gd name="T13" fmla="*/ 17541492 h 44"/>
                <a:gd name="T14" fmla="*/ 11905245 w 66"/>
                <a:gd name="T15" fmla="*/ 19136402 h 44"/>
                <a:gd name="T16" fmla="*/ 13784948 w 66"/>
                <a:gd name="T17" fmla="*/ 20730050 h 44"/>
                <a:gd name="T18" fmla="*/ 13576092 w 66"/>
                <a:gd name="T19" fmla="*/ 27109693 h 44"/>
                <a:gd name="T20" fmla="*/ 12949524 w 66"/>
                <a:gd name="T21" fmla="*/ 33488073 h 44"/>
                <a:gd name="T22" fmla="*/ 12531812 w 66"/>
                <a:gd name="T23" fmla="*/ 39866453 h 44"/>
                <a:gd name="T24" fmla="*/ 11905245 w 66"/>
                <a:gd name="T25" fmla="*/ 44649922 h 44"/>
                <a:gd name="T26" fmla="*/ 10234397 w 66"/>
                <a:gd name="T27" fmla="*/ 54218123 h 44"/>
                <a:gd name="T28" fmla="*/ 8354694 w 66"/>
                <a:gd name="T29" fmla="*/ 62191413 h 44"/>
                <a:gd name="T30" fmla="*/ 6474534 w 66"/>
                <a:gd name="T31" fmla="*/ 66974883 h 44"/>
                <a:gd name="T32" fmla="*/ 4385974 w 66"/>
                <a:gd name="T33" fmla="*/ 70164704 h 44"/>
                <a:gd name="T34" fmla="*/ 2088559 w 66"/>
                <a:gd name="T35" fmla="*/ 70164704 h 44"/>
                <a:gd name="T36" fmla="*/ 0 w 66"/>
                <a:gd name="T37" fmla="*/ 68569793 h 44"/>
                <a:gd name="T38" fmla="*/ 0 w 66"/>
                <a:gd name="T39" fmla="*/ 49434654 h 44"/>
                <a:gd name="T40" fmla="*/ 0 w 66"/>
                <a:gd name="T41" fmla="*/ 35082983 h 44"/>
                <a:gd name="T42" fmla="*/ 0 w 66"/>
                <a:gd name="T43" fmla="*/ 19136402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90" name="Freeform 107">
              <a:extLst>
                <a:ext uri="{FF2B5EF4-FFF2-40B4-BE49-F238E27FC236}">
                  <a16:creationId xmlns:a16="http://schemas.microsoft.com/office/drawing/2014/main" id="{43AFA2E5-6FED-4C37-9C13-54F9CCE03DA0}"/>
                </a:ext>
              </a:extLst>
            </p:cNvPr>
            <p:cNvSpPr>
              <a:spLocks/>
            </p:cNvSpPr>
            <p:nvPr>
              <p:custDataLst>
                <p:tags r:id="rId78"/>
              </p:custDataLst>
            </p:nvPr>
          </p:nvSpPr>
          <p:spPr bwMode="auto">
            <a:xfrm>
              <a:off x="7666038" y="2325688"/>
              <a:ext cx="20637" cy="57150"/>
            </a:xfrm>
            <a:custGeom>
              <a:avLst/>
              <a:gdLst>
                <a:gd name="T0" fmla="*/ 9258386 w 46"/>
                <a:gd name="T1" fmla="*/ 0 h 16"/>
                <a:gd name="T2" fmla="*/ 8050673 w 46"/>
                <a:gd name="T3" fmla="*/ 89307591 h 16"/>
                <a:gd name="T4" fmla="*/ 7044395 w 46"/>
                <a:gd name="T5" fmla="*/ 165856444 h 16"/>
                <a:gd name="T6" fmla="*/ 6239552 w 46"/>
                <a:gd name="T7" fmla="*/ 178615181 h 16"/>
                <a:gd name="T8" fmla="*/ 5836682 w 46"/>
                <a:gd name="T9" fmla="*/ 191373919 h 16"/>
                <a:gd name="T10" fmla="*/ 5232825 w 46"/>
                <a:gd name="T11" fmla="*/ 204132656 h 16"/>
                <a:gd name="T12" fmla="*/ 4629417 w 46"/>
                <a:gd name="T13" fmla="*/ 204132656 h 16"/>
                <a:gd name="T14" fmla="*/ 3220269 w 46"/>
                <a:gd name="T15" fmla="*/ 178615181 h 16"/>
                <a:gd name="T16" fmla="*/ 2213991 w 46"/>
                <a:gd name="T17" fmla="*/ 140342541 h 16"/>
                <a:gd name="T18" fmla="*/ 1006278 w 46"/>
                <a:gd name="T19" fmla="*/ 76548853 h 16"/>
                <a:gd name="T20" fmla="*/ 0 w 46"/>
                <a:gd name="T21" fmla="*/ 0 h 16"/>
                <a:gd name="T22" fmla="*/ 9258386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US"/>
            </a:p>
          </p:txBody>
        </p:sp>
        <p:sp>
          <p:nvSpPr>
            <p:cNvPr id="91" name="Freeform 108">
              <a:extLst>
                <a:ext uri="{FF2B5EF4-FFF2-40B4-BE49-F238E27FC236}">
                  <a16:creationId xmlns:a16="http://schemas.microsoft.com/office/drawing/2014/main" id="{3AC76DCB-59AD-4254-ADB9-80B2E150C608}"/>
                </a:ext>
              </a:extLst>
            </p:cNvPr>
            <p:cNvSpPr>
              <a:spLocks/>
            </p:cNvSpPr>
            <p:nvPr>
              <p:custDataLst>
                <p:tags r:id="rId79"/>
              </p:custDataLst>
            </p:nvPr>
          </p:nvSpPr>
          <p:spPr bwMode="auto">
            <a:xfrm>
              <a:off x="7842250" y="2359025"/>
              <a:ext cx="15875" cy="57150"/>
            </a:xfrm>
            <a:custGeom>
              <a:avLst/>
              <a:gdLst>
                <a:gd name="T0" fmla="*/ 6461939 w 39"/>
                <a:gd name="T1" fmla="*/ 120788723 h 26"/>
                <a:gd name="T2" fmla="*/ 5964929 w 39"/>
                <a:gd name="T3" fmla="*/ 125620096 h 26"/>
                <a:gd name="T4" fmla="*/ 5302250 w 39"/>
                <a:gd name="T5" fmla="*/ 125620096 h 26"/>
                <a:gd name="T6" fmla="*/ 4639163 w 39"/>
                <a:gd name="T7" fmla="*/ 125620096 h 26"/>
                <a:gd name="T8" fmla="*/ 4142154 w 39"/>
                <a:gd name="T9" fmla="*/ 120788723 h 26"/>
                <a:gd name="T10" fmla="*/ 2982465 w 39"/>
                <a:gd name="T11" fmla="*/ 106294604 h 26"/>
                <a:gd name="T12" fmla="*/ 1988446 w 39"/>
                <a:gd name="T13" fmla="*/ 86966913 h 26"/>
                <a:gd name="T14" fmla="*/ 1159689 w 39"/>
                <a:gd name="T15" fmla="*/ 62810048 h 26"/>
                <a:gd name="T16" fmla="*/ 497010 w 39"/>
                <a:gd name="T17" fmla="*/ 33821810 h 26"/>
                <a:gd name="T18" fmla="*/ 165670 w 39"/>
                <a:gd name="T19" fmla="*/ 14494119 h 26"/>
                <a:gd name="T20" fmla="*/ 0 w 39"/>
                <a:gd name="T21" fmla="*/ 0 h 26"/>
                <a:gd name="T22" fmla="*/ 1822776 w 39"/>
                <a:gd name="T23" fmla="*/ 28988238 h 26"/>
                <a:gd name="T24" fmla="*/ 3645144 w 39"/>
                <a:gd name="T25" fmla="*/ 62810048 h 26"/>
                <a:gd name="T26" fmla="*/ 5467920 w 39"/>
                <a:gd name="T27" fmla="*/ 96631858 h 26"/>
                <a:gd name="T28" fmla="*/ 6461939 w 39"/>
                <a:gd name="T29" fmla="*/ 120788723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en-US"/>
            </a:p>
          </p:txBody>
        </p:sp>
        <p:sp>
          <p:nvSpPr>
            <p:cNvPr id="92" name="Freeform 109">
              <a:extLst>
                <a:ext uri="{FF2B5EF4-FFF2-40B4-BE49-F238E27FC236}">
                  <a16:creationId xmlns:a16="http://schemas.microsoft.com/office/drawing/2014/main" id="{FFAEA6B9-8408-4FCA-ACD3-25A687C01B7B}"/>
                </a:ext>
              </a:extLst>
            </p:cNvPr>
            <p:cNvSpPr>
              <a:spLocks/>
            </p:cNvSpPr>
            <p:nvPr>
              <p:custDataLst>
                <p:tags r:id="rId80"/>
              </p:custDataLst>
            </p:nvPr>
          </p:nvSpPr>
          <p:spPr bwMode="auto">
            <a:xfrm>
              <a:off x="7291388" y="2589213"/>
              <a:ext cx="4762" cy="58737"/>
            </a:xfrm>
            <a:custGeom>
              <a:avLst/>
              <a:gdLst>
                <a:gd name="T0" fmla="*/ 2061513 w 11"/>
                <a:gd name="T1" fmla="*/ 0 h 25"/>
                <a:gd name="T2" fmla="*/ 2061513 w 11"/>
                <a:gd name="T3" fmla="*/ 27602161 h 25"/>
                <a:gd name="T4" fmla="*/ 1874063 w 11"/>
                <a:gd name="T5" fmla="*/ 66242367 h 25"/>
                <a:gd name="T6" fmla="*/ 1686614 w 11"/>
                <a:gd name="T7" fmla="*/ 110403945 h 25"/>
                <a:gd name="T8" fmla="*/ 749799 w 11"/>
                <a:gd name="T9" fmla="*/ 138006106 h 25"/>
                <a:gd name="T10" fmla="*/ 374899 w 11"/>
                <a:gd name="T11" fmla="*/ 126965711 h 25"/>
                <a:gd name="T12" fmla="*/ 187450 w 11"/>
                <a:gd name="T13" fmla="*/ 110403945 h 25"/>
                <a:gd name="T14" fmla="*/ 0 w 11"/>
                <a:gd name="T15" fmla="*/ 82804133 h 25"/>
                <a:gd name="T16" fmla="*/ 0 w 11"/>
                <a:gd name="T17" fmla="*/ 66242367 h 25"/>
                <a:gd name="T18" fmla="*/ 187450 w 11"/>
                <a:gd name="T19" fmla="*/ 49682950 h 25"/>
                <a:gd name="T20" fmla="*/ 562349 w 11"/>
                <a:gd name="T21" fmla="*/ 27602161 h 25"/>
                <a:gd name="T22" fmla="*/ 1124265 w 11"/>
                <a:gd name="T23" fmla="*/ 11040394 h 25"/>
                <a:gd name="T24" fmla="*/ 2061513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US"/>
            </a:p>
          </p:txBody>
        </p:sp>
        <p:sp>
          <p:nvSpPr>
            <p:cNvPr id="93" name="Freeform 110">
              <a:extLst>
                <a:ext uri="{FF2B5EF4-FFF2-40B4-BE49-F238E27FC236}">
                  <a16:creationId xmlns:a16="http://schemas.microsoft.com/office/drawing/2014/main" id="{E19EE63F-D494-4C1A-8880-D26A045A4670}"/>
                </a:ext>
              </a:extLst>
            </p:cNvPr>
            <p:cNvSpPr>
              <a:spLocks/>
            </p:cNvSpPr>
            <p:nvPr>
              <p:custDataLst>
                <p:tags r:id="rId81"/>
              </p:custDataLst>
            </p:nvPr>
          </p:nvSpPr>
          <p:spPr bwMode="auto">
            <a:xfrm>
              <a:off x="7105650" y="3151188"/>
              <a:ext cx="14288" cy="58737"/>
            </a:xfrm>
            <a:custGeom>
              <a:avLst/>
              <a:gdLst>
                <a:gd name="T0" fmla="*/ 10207347 w 20"/>
                <a:gd name="T1" fmla="*/ 0 h 31"/>
                <a:gd name="T2" fmla="*/ 8165592 w 20"/>
                <a:gd name="T3" fmla="*/ 43081481 h 31"/>
                <a:gd name="T4" fmla="*/ 5103674 w 20"/>
                <a:gd name="T5" fmla="*/ 71802468 h 31"/>
                <a:gd name="T6" fmla="*/ 2551837 w 20"/>
                <a:gd name="T7" fmla="*/ 93344156 h 31"/>
                <a:gd name="T8" fmla="*/ 0 w 20"/>
                <a:gd name="T9" fmla="*/ 111295247 h 31"/>
                <a:gd name="T10" fmla="*/ 0 w 20"/>
                <a:gd name="T11" fmla="*/ 89753559 h 31"/>
                <a:gd name="T12" fmla="*/ 510082 w 20"/>
                <a:gd name="T13" fmla="*/ 68213766 h 31"/>
                <a:gd name="T14" fmla="*/ 1020878 w 20"/>
                <a:gd name="T15" fmla="*/ 46672078 h 31"/>
                <a:gd name="T16" fmla="*/ 2551837 w 20"/>
                <a:gd name="T17" fmla="*/ 32311584 h 31"/>
                <a:gd name="T18" fmla="*/ 4082796 w 20"/>
                <a:gd name="T19" fmla="*/ 21541688 h 31"/>
                <a:gd name="T20" fmla="*/ 5613755 w 20"/>
                <a:gd name="T21" fmla="*/ 10769897 h 31"/>
                <a:gd name="T22" fmla="*/ 8165592 w 20"/>
                <a:gd name="T23" fmla="*/ 0 h 31"/>
                <a:gd name="T24" fmla="*/ 102073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94" name="Freeform 111">
              <a:extLst>
                <a:ext uri="{FF2B5EF4-FFF2-40B4-BE49-F238E27FC236}">
                  <a16:creationId xmlns:a16="http://schemas.microsoft.com/office/drawing/2014/main" id="{CF15D915-D8ED-40A5-B0DF-38D1879862E6}"/>
                </a:ext>
              </a:extLst>
            </p:cNvPr>
            <p:cNvSpPr>
              <a:spLocks/>
            </p:cNvSpPr>
            <p:nvPr>
              <p:custDataLst>
                <p:tags r:id="rId82"/>
              </p:custDataLst>
            </p:nvPr>
          </p:nvSpPr>
          <p:spPr bwMode="auto">
            <a:xfrm>
              <a:off x="7123113" y="3086100"/>
              <a:ext cx="15875" cy="57150"/>
            </a:xfrm>
            <a:custGeom>
              <a:avLst/>
              <a:gdLst>
                <a:gd name="T0" fmla="*/ 4846760 w 26"/>
                <a:gd name="T1" fmla="*/ 88273581 h 37"/>
                <a:gd name="T2" fmla="*/ 0 w 26"/>
                <a:gd name="T3" fmla="*/ 28629061 h 37"/>
                <a:gd name="T4" fmla="*/ 2236543 w 26"/>
                <a:gd name="T5" fmla="*/ 16700157 h 37"/>
                <a:gd name="T6" fmla="*/ 4846760 w 26"/>
                <a:gd name="T7" fmla="*/ 9542505 h 37"/>
                <a:gd name="T8" fmla="*/ 7828817 w 26"/>
                <a:gd name="T9" fmla="*/ 2386399 h 37"/>
                <a:gd name="T10" fmla="*/ 9692909 w 26"/>
                <a:gd name="T11" fmla="*/ 0 h 37"/>
                <a:gd name="T12" fmla="*/ 9692909 w 26"/>
                <a:gd name="T13" fmla="*/ 14315303 h 37"/>
                <a:gd name="T14" fmla="*/ 9319846 w 26"/>
                <a:gd name="T15" fmla="*/ 26244207 h 37"/>
                <a:gd name="T16" fmla="*/ 8947394 w 26"/>
                <a:gd name="T17" fmla="*/ 40557965 h 37"/>
                <a:gd name="T18" fmla="*/ 8574332 w 26"/>
                <a:gd name="T19" fmla="*/ 50100470 h 37"/>
                <a:gd name="T20" fmla="*/ 6710240 w 26"/>
                <a:gd name="T21" fmla="*/ 69187026 h 37"/>
                <a:gd name="T22" fmla="*/ 4846760 w 26"/>
                <a:gd name="T23" fmla="*/ 88273581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US"/>
            </a:p>
          </p:txBody>
        </p:sp>
        <p:sp>
          <p:nvSpPr>
            <p:cNvPr id="95" name="Freeform 112">
              <a:extLst>
                <a:ext uri="{FF2B5EF4-FFF2-40B4-BE49-F238E27FC236}">
                  <a16:creationId xmlns:a16="http://schemas.microsoft.com/office/drawing/2014/main" id="{3E7C2418-D926-4E0F-83F2-034729D060CD}"/>
                </a:ext>
              </a:extLst>
            </p:cNvPr>
            <p:cNvSpPr>
              <a:spLocks/>
            </p:cNvSpPr>
            <p:nvPr>
              <p:custDataLst>
                <p:tags r:id="rId83"/>
              </p:custDataLst>
            </p:nvPr>
          </p:nvSpPr>
          <p:spPr bwMode="auto">
            <a:xfrm>
              <a:off x="7011988" y="2935288"/>
              <a:ext cx="1587" cy="60325"/>
            </a:xfrm>
            <a:custGeom>
              <a:avLst/>
              <a:gdLst>
                <a:gd name="T0" fmla="*/ 0 w 7"/>
                <a:gd name="T1" fmla="*/ 202172535 h 18"/>
                <a:gd name="T2" fmla="*/ 0 w 7"/>
                <a:gd name="T3" fmla="*/ 0 h 18"/>
                <a:gd name="T4" fmla="*/ 359796 w 7"/>
                <a:gd name="T5" fmla="*/ 134782807 h 18"/>
                <a:gd name="T6" fmla="*/ 0 w 7"/>
                <a:gd name="T7" fmla="*/ 20217253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96" name="Freeform 113">
              <a:extLst>
                <a:ext uri="{FF2B5EF4-FFF2-40B4-BE49-F238E27FC236}">
                  <a16:creationId xmlns:a16="http://schemas.microsoft.com/office/drawing/2014/main" id="{4A2A74CF-656D-44B3-B89C-15057CBDBDC1}"/>
                </a:ext>
              </a:extLst>
            </p:cNvPr>
            <p:cNvSpPr>
              <a:spLocks/>
            </p:cNvSpPr>
            <p:nvPr>
              <p:custDataLst>
                <p:tags r:id="rId84"/>
              </p:custDataLst>
            </p:nvPr>
          </p:nvSpPr>
          <p:spPr bwMode="auto">
            <a:xfrm>
              <a:off x="3863975" y="2062163"/>
              <a:ext cx="9525" cy="57150"/>
            </a:xfrm>
            <a:custGeom>
              <a:avLst/>
              <a:gdLst>
                <a:gd name="T0" fmla="*/ 0 w 33"/>
                <a:gd name="T1" fmla="*/ 40784821 h 31"/>
                <a:gd name="T2" fmla="*/ 1582882 w 33"/>
                <a:gd name="T3" fmla="*/ 0 h 31"/>
                <a:gd name="T4" fmla="*/ 1999384 w 33"/>
                <a:gd name="T5" fmla="*/ 16993829 h 31"/>
                <a:gd name="T6" fmla="*/ 2332759 w 33"/>
                <a:gd name="T7" fmla="*/ 40784821 h 31"/>
                <a:gd name="T8" fmla="*/ 2665845 w 33"/>
                <a:gd name="T9" fmla="*/ 74770635 h 31"/>
                <a:gd name="T10" fmla="*/ 2749261 w 33"/>
                <a:gd name="T11" fmla="*/ 105358790 h 31"/>
                <a:gd name="T12" fmla="*/ 2249343 w 33"/>
                <a:gd name="T13" fmla="*/ 101959287 h 31"/>
                <a:gd name="T14" fmla="*/ 1832841 w 33"/>
                <a:gd name="T15" fmla="*/ 95162124 h 31"/>
                <a:gd name="T16" fmla="*/ 1332923 w 33"/>
                <a:gd name="T17" fmla="*/ 84967302 h 31"/>
                <a:gd name="T18" fmla="*/ 916420 w 33"/>
                <a:gd name="T19" fmla="*/ 74770635 h 31"/>
                <a:gd name="T20" fmla="*/ 249959 w 33"/>
                <a:gd name="T21" fmla="*/ 50979644 h 31"/>
                <a:gd name="T22" fmla="*/ 0 w 33"/>
                <a:gd name="T23" fmla="*/ 40784821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97" name="Freeform 114">
              <a:extLst>
                <a:ext uri="{FF2B5EF4-FFF2-40B4-BE49-F238E27FC236}">
                  <a16:creationId xmlns:a16="http://schemas.microsoft.com/office/drawing/2014/main" id="{A8B7C891-24FE-46C3-A54C-6FECD82F4409}"/>
                </a:ext>
              </a:extLst>
            </p:cNvPr>
            <p:cNvSpPr>
              <a:spLocks/>
            </p:cNvSpPr>
            <p:nvPr>
              <p:custDataLst>
                <p:tags r:id="rId85"/>
              </p:custDataLst>
            </p:nvPr>
          </p:nvSpPr>
          <p:spPr bwMode="auto">
            <a:xfrm>
              <a:off x="3849688" y="1830388"/>
              <a:ext cx="3175" cy="57150"/>
            </a:xfrm>
            <a:custGeom>
              <a:avLst/>
              <a:gdLst>
                <a:gd name="T0" fmla="*/ 720045 w 14"/>
                <a:gd name="T1" fmla="*/ 0 h 6"/>
                <a:gd name="T2" fmla="*/ 0 w 14"/>
                <a:gd name="T3" fmla="*/ 544353750 h 6"/>
                <a:gd name="T4" fmla="*/ 72004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US"/>
            </a:p>
          </p:txBody>
        </p:sp>
        <p:sp>
          <p:nvSpPr>
            <p:cNvPr id="98" name="Freeform 115">
              <a:extLst>
                <a:ext uri="{FF2B5EF4-FFF2-40B4-BE49-F238E27FC236}">
                  <a16:creationId xmlns:a16="http://schemas.microsoft.com/office/drawing/2014/main" id="{6D0DFC70-F44D-4C9C-B3DC-1BFEBB1BD830}"/>
                </a:ext>
              </a:extLst>
            </p:cNvPr>
            <p:cNvSpPr>
              <a:spLocks/>
            </p:cNvSpPr>
            <p:nvPr>
              <p:custDataLst>
                <p:tags r:id="rId86"/>
              </p:custDataLst>
            </p:nvPr>
          </p:nvSpPr>
          <p:spPr bwMode="auto">
            <a:xfrm>
              <a:off x="5330825" y="3608388"/>
              <a:ext cx="25400" cy="55562"/>
            </a:xfrm>
            <a:custGeom>
              <a:avLst/>
              <a:gdLst>
                <a:gd name="T0" fmla="*/ 10934915 w 59"/>
                <a:gd name="T1" fmla="*/ 19274984 h 31"/>
                <a:gd name="T2" fmla="*/ 10564247 w 59"/>
                <a:gd name="T3" fmla="*/ 35338068 h 31"/>
                <a:gd name="T4" fmla="*/ 9822912 w 59"/>
                <a:gd name="T5" fmla="*/ 48187460 h 31"/>
                <a:gd name="T6" fmla="*/ 9081576 w 59"/>
                <a:gd name="T7" fmla="*/ 61038644 h 31"/>
                <a:gd name="T8" fmla="*/ 8340241 w 59"/>
                <a:gd name="T9" fmla="*/ 77101728 h 31"/>
                <a:gd name="T10" fmla="*/ 7413356 w 59"/>
                <a:gd name="T11" fmla="*/ 86739220 h 31"/>
                <a:gd name="T12" fmla="*/ 6672020 w 59"/>
                <a:gd name="T13" fmla="*/ 93163020 h 31"/>
                <a:gd name="T14" fmla="*/ 5560017 w 59"/>
                <a:gd name="T15" fmla="*/ 99588612 h 31"/>
                <a:gd name="T16" fmla="*/ 4818681 w 59"/>
                <a:gd name="T17" fmla="*/ 99588612 h 31"/>
                <a:gd name="T18" fmla="*/ 3892227 w 59"/>
                <a:gd name="T19" fmla="*/ 99588612 h 31"/>
                <a:gd name="T20" fmla="*/ 3150892 w 59"/>
                <a:gd name="T21" fmla="*/ 96376712 h 31"/>
                <a:gd name="T22" fmla="*/ 2594675 w 59"/>
                <a:gd name="T23" fmla="*/ 93163020 h 31"/>
                <a:gd name="T24" fmla="*/ 2038888 w 59"/>
                <a:gd name="T25" fmla="*/ 86739220 h 31"/>
                <a:gd name="T26" fmla="*/ 741336 w 59"/>
                <a:gd name="T27" fmla="*/ 64250544 h 31"/>
                <a:gd name="T28" fmla="*/ 0 w 59"/>
                <a:gd name="T29" fmla="*/ 38549968 h 31"/>
                <a:gd name="T30" fmla="*/ 185549 w 59"/>
                <a:gd name="T31" fmla="*/ 28912476 h 31"/>
                <a:gd name="T32" fmla="*/ 556217 w 59"/>
                <a:gd name="T33" fmla="*/ 19274984 h 31"/>
                <a:gd name="T34" fmla="*/ 926885 w 59"/>
                <a:gd name="T35" fmla="*/ 12849392 h 31"/>
                <a:gd name="T36" fmla="*/ 1482671 w 59"/>
                <a:gd name="T37" fmla="*/ 9637492 h 31"/>
                <a:gd name="T38" fmla="*/ 2965342 w 59"/>
                <a:gd name="T39" fmla="*/ 3211900 h 31"/>
                <a:gd name="T40" fmla="*/ 4448014 w 59"/>
                <a:gd name="T41" fmla="*/ 0 h 31"/>
                <a:gd name="T42" fmla="*/ 6301353 w 59"/>
                <a:gd name="T43" fmla="*/ 0 h 31"/>
                <a:gd name="T44" fmla="*/ 7784024 w 59"/>
                <a:gd name="T45" fmla="*/ 6425592 h 31"/>
                <a:gd name="T46" fmla="*/ 9452244 w 59"/>
                <a:gd name="T47" fmla="*/ 12849392 h 31"/>
                <a:gd name="T48" fmla="*/ 10934915 w 59"/>
                <a:gd name="T49" fmla="*/ 1927498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a:p>
          </p:txBody>
        </p:sp>
        <p:sp>
          <p:nvSpPr>
            <p:cNvPr id="99" name="Freeform 116">
              <a:extLst>
                <a:ext uri="{FF2B5EF4-FFF2-40B4-BE49-F238E27FC236}">
                  <a16:creationId xmlns:a16="http://schemas.microsoft.com/office/drawing/2014/main" id="{880AC606-420A-43A4-A724-7A861CB36346}"/>
                </a:ext>
              </a:extLst>
            </p:cNvPr>
            <p:cNvSpPr>
              <a:spLocks/>
            </p:cNvSpPr>
            <p:nvPr>
              <p:custDataLst>
                <p:tags r:id="rId87"/>
              </p:custDataLst>
            </p:nvPr>
          </p:nvSpPr>
          <p:spPr bwMode="auto">
            <a:xfrm>
              <a:off x="5033963" y="3470275"/>
              <a:ext cx="19050" cy="58738"/>
            </a:xfrm>
            <a:custGeom>
              <a:avLst/>
              <a:gdLst>
                <a:gd name="T0" fmla="*/ 2299781 w 47"/>
                <a:gd name="T1" fmla="*/ 0 h 68"/>
                <a:gd name="T2" fmla="*/ 1314450 w 47"/>
                <a:gd name="T3" fmla="*/ 7461327 h 68"/>
                <a:gd name="T4" fmla="*/ 657022 w 47"/>
                <a:gd name="T5" fmla="*/ 14176348 h 68"/>
                <a:gd name="T6" fmla="*/ 328714 w 47"/>
                <a:gd name="T7" fmla="*/ 20891369 h 68"/>
                <a:gd name="T8" fmla="*/ 0 w 47"/>
                <a:gd name="T9" fmla="*/ 27606390 h 68"/>
                <a:gd name="T10" fmla="*/ 0 w 47"/>
                <a:gd name="T11" fmla="*/ 31337053 h 68"/>
                <a:gd name="T12" fmla="*/ 328714 w 47"/>
                <a:gd name="T13" fmla="*/ 35067717 h 68"/>
                <a:gd name="T14" fmla="*/ 492868 w 47"/>
                <a:gd name="T15" fmla="*/ 38052074 h 68"/>
                <a:gd name="T16" fmla="*/ 821582 w 47"/>
                <a:gd name="T17" fmla="*/ 41036432 h 68"/>
                <a:gd name="T18" fmla="*/ 1149890 w 47"/>
                <a:gd name="T19" fmla="*/ 43274485 h 68"/>
                <a:gd name="T20" fmla="*/ 1478604 w 47"/>
                <a:gd name="T21" fmla="*/ 44767096 h 68"/>
                <a:gd name="T22" fmla="*/ 2135627 w 47"/>
                <a:gd name="T23" fmla="*/ 46258843 h 68"/>
                <a:gd name="T24" fmla="*/ 2628495 w 47"/>
                <a:gd name="T25" fmla="*/ 47751453 h 68"/>
                <a:gd name="T26" fmla="*/ 3614231 w 47"/>
                <a:gd name="T27" fmla="*/ 49989506 h 68"/>
                <a:gd name="T28" fmla="*/ 5092835 w 47"/>
                <a:gd name="T29" fmla="*/ 50735811 h 68"/>
                <a:gd name="T30" fmla="*/ 6406880 w 47"/>
                <a:gd name="T31" fmla="*/ 50735811 h 68"/>
                <a:gd name="T32" fmla="*/ 7721330 w 47"/>
                <a:gd name="T33" fmla="*/ 50735811 h 68"/>
                <a:gd name="T34" fmla="*/ 6735594 w 47"/>
                <a:gd name="T35" fmla="*/ 43274485 h 68"/>
                <a:gd name="T36" fmla="*/ 6242726 w 47"/>
                <a:gd name="T37" fmla="*/ 35813158 h 68"/>
                <a:gd name="T38" fmla="*/ 5914012 w 47"/>
                <a:gd name="T39" fmla="*/ 32083359 h 68"/>
                <a:gd name="T40" fmla="*/ 5749857 w 47"/>
                <a:gd name="T41" fmla="*/ 28352695 h 68"/>
                <a:gd name="T42" fmla="*/ 5421549 w 47"/>
                <a:gd name="T43" fmla="*/ 23129421 h 68"/>
                <a:gd name="T44" fmla="*/ 5421549 w 47"/>
                <a:gd name="T45" fmla="*/ 18652453 h 68"/>
                <a:gd name="T46" fmla="*/ 3942945 w 47"/>
                <a:gd name="T47" fmla="*/ 9699379 h 68"/>
                <a:gd name="T48" fmla="*/ 2299781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100" name="Group 117">
              <a:extLst>
                <a:ext uri="{FF2B5EF4-FFF2-40B4-BE49-F238E27FC236}">
                  <a16:creationId xmlns:a16="http://schemas.microsoft.com/office/drawing/2014/main" id="{3E65AF50-FB8A-4E2A-9883-869865C55FF7}"/>
                </a:ext>
              </a:extLst>
            </p:cNvPr>
            <p:cNvGrpSpPr>
              <a:grpSpLocks/>
            </p:cNvGrpSpPr>
            <p:nvPr>
              <p:custDataLst>
                <p:tags r:id="rId88"/>
              </p:custDataLst>
            </p:nvPr>
          </p:nvGrpSpPr>
          <p:grpSpPr bwMode="auto">
            <a:xfrm>
              <a:off x="5805488" y="3657600"/>
              <a:ext cx="46037" cy="374650"/>
              <a:chOff x="3950" y="2430"/>
              <a:chExt cx="36" cy="234"/>
            </a:xfrm>
          </p:grpSpPr>
          <p:sp>
            <p:nvSpPr>
              <p:cNvPr id="511" name="Freeform 118">
                <a:extLst>
                  <a:ext uri="{FF2B5EF4-FFF2-40B4-BE49-F238E27FC236}">
                    <a16:creationId xmlns:a16="http://schemas.microsoft.com/office/drawing/2014/main" id="{F73FF8B3-C4F4-4C88-884D-6D61E9891409}"/>
                  </a:ext>
                </a:extLst>
              </p:cNvPr>
              <p:cNvSpPr>
                <a:spLocks/>
              </p:cNvSpPr>
              <p:nvPr/>
            </p:nvSpPr>
            <p:spPr bwMode="auto">
              <a:xfrm>
                <a:off x="3975" y="2658"/>
                <a:ext cx="6" cy="6"/>
              </a:xfrm>
              <a:custGeom>
                <a:avLst/>
                <a:gdLst>
                  <a:gd name="T0" fmla="*/ 0 w 19"/>
                  <a:gd name="T1" fmla="*/ 0 h 20"/>
                  <a:gd name="T2" fmla="*/ 0 w 19"/>
                  <a:gd name="T3" fmla="*/ 2 h 20"/>
                  <a:gd name="T4" fmla="*/ 2 w 19"/>
                  <a:gd name="T5" fmla="*/ 1 h 20"/>
                  <a:gd name="T6" fmla="*/ 1 w 19"/>
                  <a:gd name="T7" fmla="*/ 1 h 20"/>
                  <a:gd name="T8" fmla="*/ 1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2" name="Freeform 119">
                <a:extLst>
                  <a:ext uri="{FF2B5EF4-FFF2-40B4-BE49-F238E27FC236}">
                    <a16:creationId xmlns:a16="http://schemas.microsoft.com/office/drawing/2014/main" id="{430BE367-A317-413C-B6A6-CC52602F146E}"/>
                  </a:ext>
                </a:extLst>
              </p:cNvPr>
              <p:cNvSpPr>
                <a:spLocks/>
              </p:cNvSpPr>
              <p:nvPr/>
            </p:nvSpPr>
            <p:spPr bwMode="auto">
              <a:xfrm>
                <a:off x="3975" y="2644"/>
                <a:ext cx="6" cy="4"/>
              </a:xfrm>
              <a:custGeom>
                <a:avLst/>
                <a:gdLst>
                  <a:gd name="T0" fmla="*/ 1 w 19"/>
                  <a:gd name="T1" fmla="*/ 1 h 12"/>
                  <a:gd name="T2" fmla="*/ 2 w 19"/>
                  <a:gd name="T3" fmla="*/ 0 h 12"/>
                  <a:gd name="T4" fmla="*/ 0 w 19"/>
                  <a:gd name="T5" fmla="*/ 0 h 12"/>
                  <a:gd name="T6" fmla="*/ 1 w 19"/>
                  <a:gd name="T7" fmla="*/ 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513" name="Freeform 120">
                <a:extLst>
                  <a:ext uri="{FF2B5EF4-FFF2-40B4-BE49-F238E27FC236}">
                    <a16:creationId xmlns:a16="http://schemas.microsoft.com/office/drawing/2014/main" id="{03E60010-C3CA-4F59-8BEE-7AD3171FD946}"/>
                  </a:ext>
                </a:extLst>
              </p:cNvPr>
              <p:cNvSpPr>
                <a:spLocks/>
              </p:cNvSpPr>
              <p:nvPr/>
            </p:nvSpPr>
            <p:spPr bwMode="auto">
              <a:xfrm>
                <a:off x="3975" y="2637"/>
                <a:ext cx="6" cy="1"/>
              </a:xfrm>
              <a:custGeom>
                <a:avLst/>
                <a:gdLst>
                  <a:gd name="T0" fmla="*/ 0 w 19"/>
                  <a:gd name="T1" fmla="*/ 0 h 1"/>
                  <a:gd name="T2" fmla="*/ 1 w 19"/>
                  <a:gd name="T3" fmla="*/ 0 h 1"/>
                  <a:gd name="T4" fmla="*/ 2 w 19"/>
                  <a:gd name="T5" fmla="*/ 0 h 1"/>
                  <a:gd name="T6" fmla="*/ 1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4" name="Rectangle 121">
                <a:extLst>
                  <a:ext uri="{FF2B5EF4-FFF2-40B4-BE49-F238E27FC236}">
                    <a16:creationId xmlns:a16="http://schemas.microsoft.com/office/drawing/2014/main" id="{21F085BA-F257-430D-8742-B1E91FB74EFB}"/>
                  </a:ext>
                </a:extLst>
              </p:cNvPr>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en-US" altLang="en-US" sz="1800"/>
              </a:p>
            </p:txBody>
          </p:sp>
          <p:sp>
            <p:nvSpPr>
              <p:cNvPr id="515" name="Line 122">
                <a:extLst>
                  <a:ext uri="{FF2B5EF4-FFF2-40B4-BE49-F238E27FC236}">
                    <a16:creationId xmlns:a16="http://schemas.microsoft.com/office/drawing/2014/main" id="{16AA164E-D452-49B8-BA43-53827DE31BD4}"/>
                  </a:ext>
                </a:extLst>
              </p:cNvPr>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6" name="Freeform 123">
                <a:extLst>
                  <a:ext uri="{FF2B5EF4-FFF2-40B4-BE49-F238E27FC236}">
                    <a16:creationId xmlns:a16="http://schemas.microsoft.com/office/drawing/2014/main" id="{B63CE5AB-EE62-4570-B21D-85A4DBC76568}"/>
                  </a:ext>
                </a:extLst>
              </p:cNvPr>
              <p:cNvSpPr>
                <a:spLocks/>
              </p:cNvSpPr>
              <p:nvPr/>
            </p:nvSpPr>
            <p:spPr bwMode="auto">
              <a:xfrm>
                <a:off x="3975" y="2595"/>
                <a:ext cx="2" cy="1"/>
              </a:xfrm>
              <a:custGeom>
                <a:avLst/>
                <a:gdLst>
                  <a:gd name="T0" fmla="*/ 1 w 6"/>
                  <a:gd name="T1" fmla="*/ 0 h 3"/>
                  <a:gd name="T2" fmla="*/ 1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7" name="Freeform 124">
                <a:extLst>
                  <a:ext uri="{FF2B5EF4-FFF2-40B4-BE49-F238E27FC236}">
                    <a16:creationId xmlns:a16="http://schemas.microsoft.com/office/drawing/2014/main" id="{40FBB645-4D3C-40C6-9769-983C7A8D85E6}"/>
                  </a:ext>
                </a:extLst>
              </p:cNvPr>
              <p:cNvSpPr>
                <a:spLocks/>
              </p:cNvSpPr>
              <p:nvPr/>
            </p:nvSpPr>
            <p:spPr bwMode="auto">
              <a:xfrm>
                <a:off x="3981" y="2555"/>
                <a:ext cx="5" cy="8"/>
              </a:xfrm>
              <a:custGeom>
                <a:avLst/>
                <a:gdLst>
                  <a:gd name="T0" fmla="*/ 2 w 14"/>
                  <a:gd name="T1" fmla="*/ 0 h 24"/>
                  <a:gd name="T2" fmla="*/ 2 w 14"/>
                  <a:gd name="T3" fmla="*/ 1 h 24"/>
                  <a:gd name="T4" fmla="*/ 1 w 14"/>
                  <a:gd name="T5" fmla="*/ 1 h 24"/>
                  <a:gd name="T6" fmla="*/ 1 w 14"/>
                  <a:gd name="T7" fmla="*/ 2 h 24"/>
                  <a:gd name="T8" fmla="*/ 0 w 14"/>
                  <a:gd name="T9" fmla="*/ 3 h 24"/>
                  <a:gd name="T10" fmla="*/ 0 w 14"/>
                  <a:gd name="T11" fmla="*/ 2 h 24"/>
                  <a:gd name="T12" fmla="*/ 0 w 14"/>
                  <a:gd name="T13" fmla="*/ 1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18" name="Line 125">
                <a:extLst>
                  <a:ext uri="{FF2B5EF4-FFF2-40B4-BE49-F238E27FC236}">
                    <a16:creationId xmlns:a16="http://schemas.microsoft.com/office/drawing/2014/main" id="{76531AA8-39AF-4EDE-914D-850CDA8735F1}"/>
                  </a:ext>
                </a:extLst>
              </p:cNvPr>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9" name="Freeform 126">
                <a:extLst>
                  <a:ext uri="{FF2B5EF4-FFF2-40B4-BE49-F238E27FC236}">
                    <a16:creationId xmlns:a16="http://schemas.microsoft.com/office/drawing/2014/main" id="{CF3A0700-E217-4E69-8E95-07D0058C5A9E}"/>
                  </a:ext>
                </a:extLst>
              </p:cNvPr>
              <p:cNvSpPr>
                <a:spLocks/>
              </p:cNvSpPr>
              <p:nvPr/>
            </p:nvSpPr>
            <p:spPr bwMode="auto">
              <a:xfrm>
                <a:off x="3977" y="2572"/>
                <a:ext cx="4" cy="3"/>
              </a:xfrm>
              <a:custGeom>
                <a:avLst/>
                <a:gdLst>
                  <a:gd name="T0" fmla="*/ 1 w 13"/>
                  <a:gd name="T1" fmla="*/ 1 h 12"/>
                  <a:gd name="T2" fmla="*/ 0 w 13"/>
                  <a:gd name="T3" fmla="*/ 0 h 12"/>
                  <a:gd name="T4" fmla="*/ 1 w 13"/>
                  <a:gd name="T5" fmla="*/ 1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520" name="Freeform 127">
                <a:extLst>
                  <a:ext uri="{FF2B5EF4-FFF2-40B4-BE49-F238E27FC236}">
                    <a16:creationId xmlns:a16="http://schemas.microsoft.com/office/drawing/2014/main" id="{2629D2DF-3823-4293-8D56-69776DDEE8D7}"/>
                  </a:ext>
                </a:extLst>
              </p:cNvPr>
              <p:cNvSpPr>
                <a:spLocks/>
              </p:cNvSpPr>
              <p:nvPr/>
            </p:nvSpPr>
            <p:spPr bwMode="auto">
              <a:xfrm>
                <a:off x="3981" y="2585"/>
                <a:ext cx="2" cy="6"/>
              </a:xfrm>
              <a:custGeom>
                <a:avLst/>
                <a:gdLst>
                  <a:gd name="T0" fmla="*/ 0 w 7"/>
                  <a:gd name="T1" fmla="*/ 0 h 19"/>
                  <a:gd name="T2" fmla="*/ 0 w 7"/>
                  <a:gd name="T3" fmla="*/ 2 h 19"/>
                  <a:gd name="T4" fmla="*/ 0 w 7"/>
                  <a:gd name="T5" fmla="*/ 0 h 19"/>
                  <a:gd name="T6" fmla="*/ 1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521" name="Line 128">
                <a:extLst>
                  <a:ext uri="{FF2B5EF4-FFF2-40B4-BE49-F238E27FC236}">
                    <a16:creationId xmlns:a16="http://schemas.microsoft.com/office/drawing/2014/main" id="{FBC4E1F0-A694-49E0-B788-EDA6ADB3C246}"/>
                  </a:ext>
                </a:extLst>
              </p:cNvPr>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2" name="Freeform 129">
                <a:extLst>
                  <a:ext uri="{FF2B5EF4-FFF2-40B4-BE49-F238E27FC236}">
                    <a16:creationId xmlns:a16="http://schemas.microsoft.com/office/drawing/2014/main" id="{403B5472-703F-4CE5-B521-685783EF9860}"/>
                  </a:ext>
                </a:extLst>
              </p:cNvPr>
              <p:cNvSpPr>
                <a:spLocks/>
              </p:cNvSpPr>
              <p:nvPr/>
            </p:nvSpPr>
            <p:spPr bwMode="auto">
              <a:xfrm>
                <a:off x="3970" y="2545"/>
                <a:ext cx="2" cy="6"/>
              </a:xfrm>
              <a:custGeom>
                <a:avLst/>
                <a:gdLst>
                  <a:gd name="T0" fmla="*/ 0 w 8"/>
                  <a:gd name="T1" fmla="*/ 2 h 18"/>
                  <a:gd name="T2" fmla="*/ 1 w 8"/>
                  <a:gd name="T3" fmla="*/ 1 h 18"/>
                  <a:gd name="T4" fmla="*/ 0 w 8"/>
                  <a:gd name="T5" fmla="*/ 0 h 18"/>
                  <a:gd name="T6" fmla="*/ 0 w 8"/>
                  <a:gd name="T7" fmla="*/ 2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523" name="Freeform 130">
                <a:extLst>
                  <a:ext uri="{FF2B5EF4-FFF2-40B4-BE49-F238E27FC236}">
                    <a16:creationId xmlns:a16="http://schemas.microsoft.com/office/drawing/2014/main" id="{16BD063F-5DE9-40F8-900D-8DF507973EF6}"/>
                  </a:ext>
                </a:extLst>
              </p:cNvPr>
              <p:cNvSpPr>
                <a:spLocks/>
              </p:cNvSpPr>
              <p:nvPr/>
            </p:nvSpPr>
            <p:spPr bwMode="auto">
              <a:xfrm>
                <a:off x="3968" y="2532"/>
                <a:ext cx="2" cy="7"/>
              </a:xfrm>
              <a:custGeom>
                <a:avLst/>
                <a:gdLst>
                  <a:gd name="T0" fmla="*/ 0 w 6"/>
                  <a:gd name="T1" fmla="*/ 0 h 19"/>
                  <a:gd name="T2" fmla="*/ 0 w 6"/>
                  <a:gd name="T3" fmla="*/ 3 h 19"/>
                  <a:gd name="T4" fmla="*/ 1 w 6"/>
                  <a:gd name="T5" fmla="*/ 2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a:p>
            </p:txBody>
          </p:sp>
          <p:sp>
            <p:nvSpPr>
              <p:cNvPr id="524" name="Freeform 131">
                <a:extLst>
                  <a:ext uri="{FF2B5EF4-FFF2-40B4-BE49-F238E27FC236}">
                    <a16:creationId xmlns:a16="http://schemas.microsoft.com/office/drawing/2014/main" id="{EB918C1B-D344-4586-BEFE-2FAD33972620}"/>
                  </a:ext>
                </a:extLst>
              </p:cNvPr>
              <p:cNvSpPr>
                <a:spLocks/>
              </p:cNvSpPr>
              <p:nvPr/>
            </p:nvSpPr>
            <p:spPr bwMode="auto">
              <a:xfrm>
                <a:off x="3965" y="2513"/>
                <a:ext cx="10" cy="5"/>
              </a:xfrm>
              <a:custGeom>
                <a:avLst/>
                <a:gdLst>
                  <a:gd name="T0" fmla="*/ 0 w 28"/>
                  <a:gd name="T1" fmla="*/ 0 h 19"/>
                  <a:gd name="T2" fmla="*/ 0 w 28"/>
                  <a:gd name="T3" fmla="*/ 1 h 19"/>
                  <a:gd name="T4" fmla="*/ 4 w 28"/>
                  <a:gd name="T5" fmla="*/ 1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a:p>
            </p:txBody>
          </p:sp>
          <p:sp>
            <p:nvSpPr>
              <p:cNvPr id="525" name="Freeform 132">
                <a:extLst>
                  <a:ext uri="{FF2B5EF4-FFF2-40B4-BE49-F238E27FC236}">
                    <a16:creationId xmlns:a16="http://schemas.microsoft.com/office/drawing/2014/main" id="{A1F9F56B-CDBE-49D0-AA91-4A6E1DF37646}"/>
                  </a:ext>
                </a:extLst>
              </p:cNvPr>
              <p:cNvSpPr>
                <a:spLocks/>
              </p:cNvSpPr>
              <p:nvPr/>
            </p:nvSpPr>
            <p:spPr bwMode="auto">
              <a:xfrm>
                <a:off x="3970" y="2513"/>
                <a:ext cx="5" cy="5"/>
              </a:xfrm>
              <a:custGeom>
                <a:avLst/>
                <a:gdLst>
                  <a:gd name="T0" fmla="*/ 2 w 15"/>
                  <a:gd name="T1" fmla="*/ 1 h 19"/>
                  <a:gd name="T2" fmla="*/ 1 w 15"/>
                  <a:gd name="T3" fmla="*/ 1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26" name="Freeform 133">
                <a:extLst>
                  <a:ext uri="{FF2B5EF4-FFF2-40B4-BE49-F238E27FC236}">
                    <a16:creationId xmlns:a16="http://schemas.microsoft.com/office/drawing/2014/main" id="{D7E00FAA-D2E7-4C5A-AE4D-583B0216541A}"/>
                  </a:ext>
                </a:extLst>
              </p:cNvPr>
              <p:cNvSpPr>
                <a:spLocks/>
              </p:cNvSpPr>
              <p:nvPr/>
            </p:nvSpPr>
            <p:spPr bwMode="auto">
              <a:xfrm>
                <a:off x="3975" y="2658"/>
                <a:ext cx="6" cy="6"/>
              </a:xfrm>
              <a:custGeom>
                <a:avLst/>
                <a:gdLst>
                  <a:gd name="T0" fmla="*/ 0 w 19"/>
                  <a:gd name="T1" fmla="*/ 0 h 20"/>
                  <a:gd name="T2" fmla="*/ 0 w 19"/>
                  <a:gd name="T3" fmla="*/ 2 h 20"/>
                  <a:gd name="T4" fmla="*/ 2 w 19"/>
                  <a:gd name="T5" fmla="*/ 1 h 20"/>
                  <a:gd name="T6" fmla="*/ 1 w 19"/>
                  <a:gd name="T7" fmla="*/ 1 h 20"/>
                  <a:gd name="T8" fmla="*/ 1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27" name="Freeform 134">
                <a:extLst>
                  <a:ext uri="{FF2B5EF4-FFF2-40B4-BE49-F238E27FC236}">
                    <a16:creationId xmlns:a16="http://schemas.microsoft.com/office/drawing/2014/main" id="{14FA669A-2079-41FC-92C9-0F6FEED63A90}"/>
                  </a:ext>
                </a:extLst>
              </p:cNvPr>
              <p:cNvSpPr>
                <a:spLocks/>
              </p:cNvSpPr>
              <p:nvPr/>
            </p:nvSpPr>
            <p:spPr bwMode="auto">
              <a:xfrm>
                <a:off x="3975" y="2644"/>
                <a:ext cx="6" cy="4"/>
              </a:xfrm>
              <a:custGeom>
                <a:avLst/>
                <a:gdLst>
                  <a:gd name="T0" fmla="*/ 1 w 19"/>
                  <a:gd name="T1" fmla="*/ 1 h 12"/>
                  <a:gd name="T2" fmla="*/ 2 w 19"/>
                  <a:gd name="T3" fmla="*/ 0 h 12"/>
                  <a:gd name="T4" fmla="*/ 0 w 19"/>
                  <a:gd name="T5" fmla="*/ 0 h 12"/>
                  <a:gd name="T6" fmla="*/ 1 w 19"/>
                  <a:gd name="T7" fmla="*/ 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528" name="Freeform 135">
                <a:extLst>
                  <a:ext uri="{FF2B5EF4-FFF2-40B4-BE49-F238E27FC236}">
                    <a16:creationId xmlns:a16="http://schemas.microsoft.com/office/drawing/2014/main" id="{64F1D23A-5DBE-424F-8DB1-ED4EFC2F2145}"/>
                  </a:ext>
                </a:extLst>
              </p:cNvPr>
              <p:cNvSpPr>
                <a:spLocks/>
              </p:cNvSpPr>
              <p:nvPr/>
            </p:nvSpPr>
            <p:spPr bwMode="auto">
              <a:xfrm>
                <a:off x="3975" y="2637"/>
                <a:ext cx="6" cy="1"/>
              </a:xfrm>
              <a:custGeom>
                <a:avLst/>
                <a:gdLst>
                  <a:gd name="T0" fmla="*/ 0 w 19"/>
                  <a:gd name="T1" fmla="*/ 0 h 1"/>
                  <a:gd name="T2" fmla="*/ 1 w 19"/>
                  <a:gd name="T3" fmla="*/ 0 h 1"/>
                  <a:gd name="T4" fmla="*/ 2 w 19"/>
                  <a:gd name="T5" fmla="*/ 0 h 1"/>
                  <a:gd name="T6" fmla="*/ 1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29" name="Rectangle 136">
                <a:extLst>
                  <a:ext uri="{FF2B5EF4-FFF2-40B4-BE49-F238E27FC236}">
                    <a16:creationId xmlns:a16="http://schemas.microsoft.com/office/drawing/2014/main" id="{4CAF18F9-E478-4654-A3FC-06C676BDD0AD}"/>
                  </a:ext>
                </a:extLst>
              </p:cNvPr>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en-US" altLang="en-US" sz="1800"/>
              </a:p>
            </p:txBody>
          </p:sp>
          <p:sp>
            <p:nvSpPr>
              <p:cNvPr id="530" name="Line 137">
                <a:extLst>
                  <a:ext uri="{FF2B5EF4-FFF2-40B4-BE49-F238E27FC236}">
                    <a16:creationId xmlns:a16="http://schemas.microsoft.com/office/drawing/2014/main" id="{C837CD84-4942-4684-ACCA-C83DF5472705}"/>
                  </a:ext>
                </a:extLst>
              </p:cNvPr>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1" name="Freeform 138">
                <a:extLst>
                  <a:ext uri="{FF2B5EF4-FFF2-40B4-BE49-F238E27FC236}">
                    <a16:creationId xmlns:a16="http://schemas.microsoft.com/office/drawing/2014/main" id="{0C3A1369-C04B-46F3-990D-3786EE9E3860}"/>
                  </a:ext>
                </a:extLst>
              </p:cNvPr>
              <p:cNvSpPr>
                <a:spLocks/>
              </p:cNvSpPr>
              <p:nvPr/>
            </p:nvSpPr>
            <p:spPr bwMode="auto">
              <a:xfrm>
                <a:off x="3975" y="2595"/>
                <a:ext cx="2" cy="1"/>
              </a:xfrm>
              <a:custGeom>
                <a:avLst/>
                <a:gdLst>
                  <a:gd name="T0" fmla="*/ 1 w 6"/>
                  <a:gd name="T1" fmla="*/ 0 h 3"/>
                  <a:gd name="T2" fmla="*/ 1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32" name="Freeform 139">
                <a:extLst>
                  <a:ext uri="{FF2B5EF4-FFF2-40B4-BE49-F238E27FC236}">
                    <a16:creationId xmlns:a16="http://schemas.microsoft.com/office/drawing/2014/main" id="{1441FA99-E37B-4875-984D-9767C63FC4AC}"/>
                  </a:ext>
                </a:extLst>
              </p:cNvPr>
              <p:cNvSpPr>
                <a:spLocks/>
              </p:cNvSpPr>
              <p:nvPr/>
            </p:nvSpPr>
            <p:spPr bwMode="auto">
              <a:xfrm>
                <a:off x="3981" y="2555"/>
                <a:ext cx="5" cy="8"/>
              </a:xfrm>
              <a:custGeom>
                <a:avLst/>
                <a:gdLst>
                  <a:gd name="T0" fmla="*/ 2 w 14"/>
                  <a:gd name="T1" fmla="*/ 0 h 24"/>
                  <a:gd name="T2" fmla="*/ 2 w 14"/>
                  <a:gd name="T3" fmla="*/ 1 h 24"/>
                  <a:gd name="T4" fmla="*/ 1 w 14"/>
                  <a:gd name="T5" fmla="*/ 1 h 24"/>
                  <a:gd name="T6" fmla="*/ 1 w 14"/>
                  <a:gd name="T7" fmla="*/ 2 h 24"/>
                  <a:gd name="T8" fmla="*/ 0 w 14"/>
                  <a:gd name="T9" fmla="*/ 3 h 24"/>
                  <a:gd name="T10" fmla="*/ 0 w 14"/>
                  <a:gd name="T11" fmla="*/ 2 h 24"/>
                  <a:gd name="T12" fmla="*/ 0 w 14"/>
                  <a:gd name="T13" fmla="*/ 1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33" name="Line 140">
                <a:extLst>
                  <a:ext uri="{FF2B5EF4-FFF2-40B4-BE49-F238E27FC236}">
                    <a16:creationId xmlns:a16="http://schemas.microsoft.com/office/drawing/2014/main" id="{F5E351FA-4D8F-4E98-9F6B-ACB8A5C36FC1}"/>
                  </a:ext>
                </a:extLst>
              </p:cNvPr>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4" name="Freeform 141">
                <a:extLst>
                  <a:ext uri="{FF2B5EF4-FFF2-40B4-BE49-F238E27FC236}">
                    <a16:creationId xmlns:a16="http://schemas.microsoft.com/office/drawing/2014/main" id="{79B2CA9A-B538-4D40-89CB-99BDDC64EDA9}"/>
                  </a:ext>
                </a:extLst>
              </p:cNvPr>
              <p:cNvSpPr>
                <a:spLocks/>
              </p:cNvSpPr>
              <p:nvPr/>
            </p:nvSpPr>
            <p:spPr bwMode="auto">
              <a:xfrm>
                <a:off x="3977" y="2572"/>
                <a:ext cx="4" cy="3"/>
              </a:xfrm>
              <a:custGeom>
                <a:avLst/>
                <a:gdLst>
                  <a:gd name="T0" fmla="*/ 1 w 13"/>
                  <a:gd name="T1" fmla="*/ 1 h 12"/>
                  <a:gd name="T2" fmla="*/ 0 w 13"/>
                  <a:gd name="T3" fmla="*/ 0 h 12"/>
                  <a:gd name="T4" fmla="*/ 1 w 13"/>
                  <a:gd name="T5" fmla="*/ 1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535" name="Freeform 142">
                <a:extLst>
                  <a:ext uri="{FF2B5EF4-FFF2-40B4-BE49-F238E27FC236}">
                    <a16:creationId xmlns:a16="http://schemas.microsoft.com/office/drawing/2014/main" id="{11CEFABE-0F38-4D92-AD2A-31EBCFBB0C90}"/>
                  </a:ext>
                </a:extLst>
              </p:cNvPr>
              <p:cNvSpPr>
                <a:spLocks/>
              </p:cNvSpPr>
              <p:nvPr/>
            </p:nvSpPr>
            <p:spPr bwMode="auto">
              <a:xfrm>
                <a:off x="3981" y="2585"/>
                <a:ext cx="2" cy="6"/>
              </a:xfrm>
              <a:custGeom>
                <a:avLst/>
                <a:gdLst>
                  <a:gd name="T0" fmla="*/ 0 w 7"/>
                  <a:gd name="T1" fmla="*/ 0 h 19"/>
                  <a:gd name="T2" fmla="*/ 0 w 7"/>
                  <a:gd name="T3" fmla="*/ 2 h 19"/>
                  <a:gd name="T4" fmla="*/ 0 w 7"/>
                  <a:gd name="T5" fmla="*/ 0 h 19"/>
                  <a:gd name="T6" fmla="*/ 1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536" name="Line 143">
                <a:extLst>
                  <a:ext uri="{FF2B5EF4-FFF2-40B4-BE49-F238E27FC236}">
                    <a16:creationId xmlns:a16="http://schemas.microsoft.com/office/drawing/2014/main" id="{90BBB8CA-E436-42D8-ADB5-8AF9702892D2}"/>
                  </a:ext>
                </a:extLst>
              </p:cNvPr>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7" name="Freeform 144">
                <a:extLst>
                  <a:ext uri="{FF2B5EF4-FFF2-40B4-BE49-F238E27FC236}">
                    <a16:creationId xmlns:a16="http://schemas.microsoft.com/office/drawing/2014/main" id="{9A321F93-C0FE-48E3-B1FB-3C1ADFE86687}"/>
                  </a:ext>
                </a:extLst>
              </p:cNvPr>
              <p:cNvSpPr>
                <a:spLocks/>
              </p:cNvSpPr>
              <p:nvPr/>
            </p:nvSpPr>
            <p:spPr bwMode="auto">
              <a:xfrm>
                <a:off x="3970" y="2545"/>
                <a:ext cx="2" cy="6"/>
              </a:xfrm>
              <a:custGeom>
                <a:avLst/>
                <a:gdLst>
                  <a:gd name="T0" fmla="*/ 0 w 8"/>
                  <a:gd name="T1" fmla="*/ 2 h 18"/>
                  <a:gd name="T2" fmla="*/ 1 w 8"/>
                  <a:gd name="T3" fmla="*/ 1 h 18"/>
                  <a:gd name="T4" fmla="*/ 0 w 8"/>
                  <a:gd name="T5" fmla="*/ 0 h 18"/>
                  <a:gd name="T6" fmla="*/ 0 w 8"/>
                  <a:gd name="T7" fmla="*/ 2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538" name="Freeform 145">
                <a:extLst>
                  <a:ext uri="{FF2B5EF4-FFF2-40B4-BE49-F238E27FC236}">
                    <a16:creationId xmlns:a16="http://schemas.microsoft.com/office/drawing/2014/main" id="{AB59C60F-924C-4AEE-ADFC-870A3583950D}"/>
                  </a:ext>
                </a:extLst>
              </p:cNvPr>
              <p:cNvSpPr>
                <a:spLocks/>
              </p:cNvSpPr>
              <p:nvPr/>
            </p:nvSpPr>
            <p:spPr bwMode="auto">
              <a:xfrm>
                <a:off x="3968" y="2532"/>
                <a:ext cx="2" cy="7"/>
              </a:xfrm>
              <a:custGeom>
                <a:avLst/>
                <a:gdLst>
                  <a:gd name="T0" fmla="*/ 0 w 6"/>
                  <a:gd name="T1" fmla="*/ 0 h 19"/>
                  <a:gd name="T2" fmla="*/ 0 w 6"/>
                  <a:gd name="T3" fmla="*/ 3 h 19"/>
                  <a:gd name="T4" fmla="*/ 1 w 6"/>
                  <a:gd name="T5" fmla="*/ 2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a:p>
            </p:txBody>
          </p:sp>
          <p:sp>
            <p:nvSpPr>
              <p:cNvPr id="539" name="Freeform 146">
                <a:extLst>
                  <a:ext uri="{FF2B5EF4-FFF2-40B4-BE49-F238E27FC236}">
                    <a16:creationId xmlns:a16="http://schemas.microsoft.com/office/drawing/2014/main" id="{224496C3-9C0A-4DC7-AABB-4B3B0E23A68D}"/>
                  </a:ext>
                </a:extLst>
              </p:cNvPr>
              <p:cNvSpPr>
                <a:spLocks/>
              </p:cNvSpPr>
              <p:nvPr/>
            </p:nvSpPr>
            <p:spPr bwMode="auto">
              <a:xfrm>
                <a:off x="3965" y="2513"/>
                <a:ext cx="10" cy="5"/>
              </a:xfrm>
              <a:custGeom>
                <a:avLst/>
                <a:gdLst>
                  <a:gd name="T0" fmla="*/ 0 w 28"/>
                  <a:gd name="T1" fmla="*/ 0 h 19"/>
                  <a:gd name="T2" fmla="*/ 0 w 28"/>
                  <a:gd name="T3" fmla="*/ 1 h 19"/>
                  <a:gd name="T4" fmla="*/ 4 w 28"/>
                  <a:gd name="T5" fmla="*/ 1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a:p>
            </p:txBody>
          </p:sp>
          <p:sp>
            <p:nvSpPr>
              <p:cNvPr id="540" name="Freeform 147">
                <a:extLst>
                  <a:ext uri="{FF2B5EF4-FFF2-40B4-BE49-F238E27FC236}">
                    <a16:creationId xmlns:a16="http://schemas.microsoft.com/office/drawing/2014/main" id="{7DDA31AC-115A-4DBC-A606-D3037E6A39A9}"/>
                  </a:ext>
                </a:extLst>
              </p:cNvPr>
              <p:cNvSpPr>
                <a:spLocks/>
              </p:cNvSpPr>
              <p:nvPr/>
            </p:nvSpPr>
            <p:spPr bwMode="auto">
              <a:xfrm>
                <a:off x="3970" y="2513"/>
                <a:ext cx="5" cy="5"/>
              </a:xfrm>
              <a:custGeom>
                <a:avLst/>
                <a:gdLst>
                  <a:gd name="T0" fmla="*/ 2 w 15"/>
                  <a:gd name="T1" fmla="*/ 1 h 19"/>
                  <a:gd name="T2" fmla="*/ 1 w 15"/>
                  <a:gd name="T3" fmla="*/ 1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41" name="Freeform 148">
                <a:extLst>
                  <a:ext uri="{FF2B5EF4-FFF2-40B4-BE49-F238E27FC236}">
                    <a16:creationId xmlns:a16="http://schemas.microsoft.com/office/drawing/2014/main" id="{A0639B32-643D-45EC-ABF3-8CD20548CF1D}"/>
                  </a:ext>
                </a:extLst>
              </p:cNvPr>
              <p:cNvSpPr>
                <a:spLocks/>
              </p:cNvSpPr>
              <p:nvPr/>
            </p:nvSpPr>
            <p:spPr bwMode="auto">
              <a:xfrm>
                <a:off x="3950" y="2430"/>
                <a:ext cx="7" cy="6"/>
              </a:xfrm>
              <a:custGeom>
                <a:avLst/>
                <a:gdLst>
                  <a:gd name="T0" fmla="*/ 2 w 20"/>
                  <a:gd name="T1" fmla="*/ 2 h 18"/>
                  <a:gd name="T2" fmla="*/ 2 w 20"/>
                  <a:gd name="T3" fmla="*/ 0 h 18"/>
                  <a:gd name="T4" fmla="*/ 0 w 20"/>
                  <a:gd name="T5" fmla="*/ 0 h 18"/>
                  <a:gd name="T6" fmla="*/ 2 w 20"/>
                  <a:gd name="T7" fmla="*/ 2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US"/>
              </a:p>
            </p:txBody>
          </p:sp>
        </p:grpSp>
        <p:grpSp>
          <p:nvGrpSpPr>
            <p:cNvPr id="101" name="Group 149">
              <a:extLst>
                <a:ext uri="{FF2B5EF4-FFF2-40B4-BE49-F238E27FC236}">
                  <a16:creationId xmlns:a16="http://schemas.microsoft.com/office/drawing/2014/main" id="{3E857210-9DD9-43E0-90F8-EE78E87A1000}"/>
                </a:ext>
              </a:extLst>
            </p:cNvPr>
            <p:cNvGrpSpPr>
              <a:grpSpLocks/>
            </p:cNvGrpSpPr>
            <p:nvPr>
              <p:custDataLst>
                <p:tags r:id="rId89"/>
              </p:custDataLst>
            </p:nvPr>
          </p:nvGrpSpPr>
          <p:grpSpPr bwMode="auto">
            <a:xfrm>
              <a:off x="7870825" y="4157663"/>
              <a:ext cx="185738" cy="214312"/>
              <a:chOff x="5486" y="2743"/>
              <a:chExt cx="137" cy="132"/>
            </a:xfrm>
          </p:grpSpPr>
          <p:sp>
            <p:nvSpPr>
              <p:cNvPr id="502" name="Freeform 150">
                <a:extLst>
                  <a:ext uri="{FF2B5EF4-FFF2-40B4-BE49-F238E27FC236}">
                    <a16:creationId xmlns:a16="http://schemas.microsoft.com/office/drawing/2014/main" id="{61C4B44B-4AC0-42FC-9849-29C61449A172}"/>
                  </a:ext>
                </a:extLst>
              </p:cNvPr>
              <p:cNvSpPr>
                <a:spLocks/>
              </p:cNvSpPr>
              <p:nvPr/>
            </p:nvSpPr>
            <p:spPr bwMode="auto">
              <a:xfrm>
                <a:off x="5595" y="2806"/>
                <a:ext cx="13" cy="28"/>
              </a:xfrm>
              <a:custGeom>
                <a:avLst/>
                <a:gdLst>
                  <a:gd name="T0" fmla="*/ 0 w 40"/>
                  <a:gd name="T1" fmla="*/ 3 h 87"/>
                  <a:gd name="T2" fmla="*/ 0 w 40"/>
                  <a:gd name="T3" fmla="*/ 5 h 87"/>
                  <a:gd name="T4" fmla="*/ 0 w 40"/>
                  <a:gd name="T5" fmla="*/ 5 h 87"/>
                  <a:gd name="T6" fmla="*/ 1 w 40"/>
                  <a:gd name="T7" fmla="*/ 6 h 87"/>
                  <a:gd name="T8" fmla="*/ 1 w 40"/>
                  <a:gd name="T9" fmla="*/ 7 h 87"/>
                  <a:gd name="T10" fmla="*/ 2 w 40"/>
                  <a:gd name="T11" fmla="*/ 7 h 87"/>
                  <a:gd name="T12" fmla="*/ 2 w 40"/>
                  <a:gd name="T13" fmla="*/ 8 h 87"/>
                  <a:gd name="T14" fmla="*/ 3 w 40"/>
                  <a:gd name="T15" fmla="*/ 8 h 87"/>
                  <a:gd name="T16" fmla="*/ 4 w 40"/>
                  <a:gd name="T17" fmla="*/ 9 h 87"/>
                  <a:gd name="T18" fmla="*/ 4 w 40"/>
                  <a:gd name="T19" fmla="*/ 8 h 87"/>
                  <a:gd name="T20" fmla="*/ 3 w 40"/>
                  <a:gd name="T21" fmla="*/ 8 h 87"/>
                  <a:gd name="T22" fmla="*/ 3 w 40"/>
                  <a:gd name="T23" fmla="*/ 7 h 87"/>
                  <a:gd name="T24" fmla="*/ 3 w 40"/>
                  <a:gd name="T25" fmla="*/ 7 h 87"/>
                  <a:gd name="T26" fmla="*/ 2 w 40"/>
                  <a:gd name="T27" fmla="*/ 5 h 87"/>
                  <a:gd name="T28" fmla="*/ 2 w 40"/>
                  <a:gd name="T29" fmla="*/ 4 h 87"/>
                  <a:gd name="T30" fmla="*/ 2 w 40"/>
                  <a:gd name="T31" fmla="*/ 3 h 87"/>
                  <a:gd name="T32" fmla="*/ 1 w 40"/>
                  <a:gd name="T33" fmla="*/ 2 h 87"/>
                  <a:gd name="T34" fmla="*/ 1 w 40"/>
                  <a:gd name="T35" fmla="*/ 1 h 87"/>
                  <a:gd name="T36" fmla="*/ 1 w 40"/>
                  <a:gd name="T37" fmla="*/ 1 h 87"/>
                  <a:gd name="T38" fmla="*/ 0 w 40"/>
                  <a:gd name="T39" fmla="*/ 0 h 87"/>
                  <a:gd name="T40" fmla="*/ 0 w 40"/>
                  <a:gd name="T41" fmla="*/ 0 h 87"/>
                  <a:gd name="T42" fmla="*/ 0 w 40"/>
                  <a:gd name="T43" fmla="*/ 1 h 87"/>
                  <a:gd name="T44" fmla="*/ 0 w 40"/>
                  <a:gd name="T45" fmla="*/ 2 h 87"/>
                  <a:gd name="T46" fmla="*/ 0 w 40"/>
                  <a:gd name="T47" fmla="*/ 2 h 87"/>
                  <a:gd name="T48" fmla="*/ 0 w 40"/>
                  <a:gd name="T49" fmla="*/ 3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503" name="Freeform 151">
                <a:extLst>
                  <a:ext uri="{FF2B5EF4-FFF2-40B4-BE49-F238E27FC236}">
                    <a16:creationId xmlns:a16="http://schemas.microsoft.com/office/drawing/2014/main" id="{851BFFAF-3190-4E5F-92EA-D51F1474C15A}"/>
                  </a:ext>
                </a:extLst>
              </p:cNvPr>
              <p:cNvSpPr>
                <a:spLocks/>
              </p:cNvSpPr>
              <p:nvPr/>
            </p:nvSpPr>
            <p:spPr bwMode="auto">
              <a:xfrm>
                <a:off x="5603" y="2842"/>
                <a:ext cx="20" cy="12"/>
              </a:xfrm>
              <a:custGeom>
                <a:avLst/>
                <a:gdLst>
                  <a:gd name="T0" fmla="*/ 0 w 61"/>
                  <a:gd name="T1" fmla="*/ 3 h 37"/>
                  <a:gd name="T2" fmla="*/ 2 w 61"/>
                  <a:gd name="T3" fmla="*/ 3 h 37"/>
                  <a:gd name="T4" fmla="*/ 4 w 61"/>
                  <a:gd name="T5" fmla="*/ 4 h 37"/>
                  <a:gd name="T6" fmla="*/ 5 w 61"/>
                  <a:gd name="T7" fmla="*/ 4 h 37"/>
                  <a:gd name="T8" fmla="*/ 7 w 61"/>
                  <a:gd name="T9" fmla="*/ 4 h 37"/>
                  <a:gd name="T10" fmla="*/ 6 w 61"/>
                  <a:gd name="T11" fmla="*/ 3 h 37"/>
                  <a:gd name="T12" fmla="*/ 5 w 61"/>
                  <a:gd name="T13" fmla="*/ 2 h 37"/>
                  <a:gd name="T14" fmla="*/ 5 w 61"/>
                  <a:gd name="T15" fmla="*/ 2 h 37"/>
                  <a:gd name="T16" fmla="*/ 4 w 61"/>
                  <a:gd name="T17" fmla="*/ 1 h 37"/>
                  <a:gd name="T18" fmla="*/ 3 w 61"/>
                  <a:gd name="T19" fmla="*/ 1 h 37"/>
                  <a:gd name="T20" fmla="*/ 2 w 61"/>
                  <a:gd name="T21" fmla="*/ 1 h 37"/>
                  <a:gd name="T22" fmla="*/ 1 w 61"/>
                  <a:gd name="T23" fmla="*/ 0 h 37"/>
                  <a:gd name="T24" fmla="*/ 0 w 61"/>
                  <a:gd name="T25" fmla="*/ 0 h 37"/>
                  <a:gd name="T26" fmla="*/ 0 w 61"/>
                  <a:gd name="T27" fmla="*/ 3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504" name="Freeform 152">
                <a:extLst>
                  <a:ext uri="{FF2B5EF4-FFF2-40B4-BE49-F238E27FC236}">
                    <a16:creationId xmlns:a16="http://schemas.microsoft.com/office/drawing/2014/main" id="{C982C5BF-CA55-45B6-AB20-754C25BD16C1}"/>
                  </a:ext>
                </a:extLst>
              </p:cNvPr>
              <p:cNvSpPr>
                <a:spLocks/>
              </p:cNvSpPr>
              <p:nvPr/>
            </p:nvSpPr>
            <p:spPr bwMode="auto">
              <a:xfrm>
                <a:off x="5568" y="2865"/>
                <a:ext cx="13" cy="10"/>
              </a:xfrm>
              <a:custGeom>
                <a:avLst/>
                <a:gdLst>
                  <a:gd name="T0" fmla="*/ 4 w 40"/>
                  <a:gd name="T1" fmla="*/ 3 h 30"/>
                  <a:gd name="T2" fmla="*/ 4 w 40"/>
                  <a:gd name="T3" fmla="*/ 3 h 30"/>
                  <a:gd name="T4" fmla="*/ 3 w 40"/>
                  <a:gd name="T5" fmla="*/ 3 h 30"/>
                  <a:gd name="T6" fmla="*/ 2 w 40"/>
                  <a:gd name="T7" fmla="*/ 2 h 30"/>
                  <a:gd name="T8" fmla="*/ 2 w 40"/>
                  <a:gd name="T9" fmla="*/ 2 h 30"/>
                  <a:gd name="T10" fmla="*/ 1 w 40"/>
                  <a:gd name="T11" fmla="*/ 2 h 30"/>
                  <a:gd name="T12" fmla="*/ 1 w 40"/>
                  <a:gd name="T13" fmla="*/ 1 h 30"/>
                  <a:gd name="T14" fmla="*/ 0 w 40"/>
                  <a:gd name="T15" fmla="*/ 1 h 30"/>
                  <a:gd name="T16" fmla="*/ 0 w 40"/>
                  <a:gd name="T17" fmla="*/ 0 h 30"/>
                  <a:gd name="T18" fmla="*/ 1 w 40"/>
                  <a:gd name="T19" fmla="*/ 0 h 30"/>
                  <a:gd name="T20" fmla="*/ 2 w 40"/>
                  <a:gd name="T21" fmla="*/ 1 h 30"/>
                  <a:gd name="T22" fmla="*/ 2 w 40"/>
                  <a:gd name="T23" fmla="*/ 1 h 30"/>
                  <a:gd name="T24" fmla="*/ 3 w 40"/>
                  <a:gd name="T25" fmla="*/ 2 h 30"/>
                  <a:gd name="T26" fmla="*/ 4 w 40"/>
                  <a:gd name="T27" fmla="*/ 2 h 30"/>
                  <a:gd name="T28" fmla="*/ 4 w 40"/>
                  <a:gd name="T29" fmla="*/ 3 h 30"/>
                  <a:gd name="T30" fmla="*/ 4 w 40"/>
                  <a:gd name="T31" fmla="*/ 3 h 30"/>
                  <a:gd name="T32" fmla="*/ 4 w 40"/>
                  <a:gd name="T33" fmla="*/ 3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US"/>
              </a:p>
            </p:txBody>
          </p:sp>
          <p:sp>
            <p:nvSpPr>
              <p:cNvPr id="505" name="Freeform 153">
                <a:extLst>
                  <a:ext uri="{FF2B5EF4-FFF2-40B4-BE49-F238E27FC236}">
                    <a16:creationId xmlns:a16="http://schemas.microsoft.com/office/drawing/2014/main" id="{C3D7B91D-2846-475D-92A1-D3C8B90E9A5B}"/>
                  </a:ext>
                </a:extLst>
              </p:cNvPr>
              <p:cNvSpPr>
                <a:spLocks/>
              </p:cNvSpPr>
              <p:nvPr/>
            </p:nvSpPr>
            <p:spPr bwMode="auto">
              <a:xfrm>
                <a:off x="5515" y="2789"/>
                <a:ext cx="24" cy="26"/>
              </a:xfrm>
              <a:custGeom>
                <a:avLst/>
                <a:gdLst>
                  <a:gd name="T0" fmla="*/ 8 w 74"/>
                  <a:gd name="T1" fmla="*/ 8 h 80"/>
                  <a:gd name="T2" fmla="*/ 7 w 74"/>
                  <a:gd name="T3" fmla="*/ 8 h 80"/>
                  <a:gd name="T4" fmla="*/ 7 w 74"/>
                  <a:gd name="T5" fmla="*/ 7 h 80"/>
                  <a:gd name="T6" fmla="*/ 7 w 74"/>
                  <a:gd name="T7" fmla="*/ 7 h 80"/>
                  <a:gd name="T8" fmla="*/ 7 w 74"/>
                  <a:gd name="T9" fmla="*/ 6 h 80"/>
                  <a:gd name="T10" fmla="*/ 6 w 74"/>
                  <a:gd name="T11" fmla="*/ 5 h 80"/>
                  <a:gd name="T12" fmla="*/ 5 w 74"/>
                  <a:gd name="T13" fmla="*/ 4 h 80"/>
                  <a:gd name="T14" fmla="*/ 4 w 74"/>
                  <a:gd name="T15" fmla="*/ 3 h 80"/>
                  <a:gd name="T16" fmla="*/ 3 w 74"/>
                  <a:gd name="T17" fmla="*/ 2 h 80"/>
                  <a:gd name="T18" fmla="*/ 2 w 74"/>
                  <a:gd name="T19" fmla="*/ 1 h 80"/>
                  <a:gd name="T20" fmla="*/ 1 w 74"/>
                  <a:gd name="T21" fmla="*/ 0 h 80"/>
                  <a:gd name="T22" fmla="*/ 1 w 74"/>
                  <a:gd name="T23" fmla="*/ 1 h 80"/>
                  <a:gd name="T24" fmla="*/ 0 w 74"/>
                  <a:gd name="T25" fmla="*/ 1 h 80"/>
                  <a:gd name="T26" fmla="*/ 0 w 74"/>
                  <a:gd name="T27" fmla="*/ 2 h 80"/>
                  <a:gd name="T28" fmla="*/ 0 w 74"/>
                  <a:gd name="T29" fmla="*/ 2 h 80"/>
                  <a:gd name="T30" fmla="*/ 0 w 74"/>
                  <a:gd name="T31" fmla="*/ 3 h 80"/>
                  <a:gd name="T32" fmla="*/ 0 w 74"/>
                  <a:gd name="T33" fmla="*/ 3 h 80"/>
                  <a:gd name="T34" fmla="*/ 0 w 74"/>
                  <a:gd name="T35" fmla="*/ 4 h 80"/>
                  <a:gd name="T36" fmla="*/ 1 w 74"/>
                  <a:gd name="T37" fmla="*/ 4 h 80"/>
                  <a:gd name="T38" fmla="*/ 1 w 74"/>
                  <a:gd name="T39" fmla="*/ 5 h 80"/>
                  <a:gd name="T40" fmla="*/ 2 w 74"/>
                  <a:gd name="T41" fmla="*/ 6 h 80"/>
                  <a:gd name="T42" fmla="*/ 2 w 74"/>
                  <a:gd name="T43" fmla="*/ 6 h 80"/>
                  <a:gd name="T44" fmla="*/ 3 w 74"/>
                  <a:gd name="T45" fmla="*/ 7 h 80"/>
                  <a:gd name="T46" fmla="*/ 3 w 74"/>
                  <a:gd name="T47" fmla="*/ 7 h 80"/>
                  <a:gd name="T48" fmla="*/ 4 w 74"/>
                  <a:gd name="T49" fmla="*/ 7 h 80"/>
                  <a:gd name="T50" fmla="*/ 5 w 74"/>
                  <a:gd name="T51" fmla="*/ 7 h 80"/>
                  <a:gd name="T52" fmla="*/ 5 w 74"/>
                  <a:gd name="T53" fmla="*/ 8 h 80"/>
                  <a:gd name="T54" fmla="*/ 6 w 74"/>
                  <a:gd name="T55" fmla="*/ 8 h 80"/>
                  <a:gd name="T56" fmla="*/ 6 w 74"/>
                  <a:gd name="T57" fmla="*/ 8 h 80"/>
                  <a:gd name="T58" fmla="*/ 7 w 74"/>
                  <a:gd name="T59" fmla="*/ 8 h 80"/>
                  <a:gd name="T60" fmla="*/ 8 w 74"/>
                  <a:gd name="T61" fmla="*/ 8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US"/>
              </a:p>
            </p:txBody>
          </p:sp>
          <p:sp>
            <p:nvSpPr>
              <p:cNvPr id="506" name="Freeform 154">
                <a:extLst>
                  <a:ext uri="{FF2B5EF4-FFF2-40B4-BE49-F238E27FC236}">
                    <a16:creationId xmlns:a16="http://schemas.microsoft.com/office/drawing/2014/main" id="{7A61689E-78EA-4156-B73C-8F6725DDFD8B}"/>
                  </a:ext>
                </a:extLst>
              </p:cNvPr>
              <p:cNvSpPr>
                <a:spLocks/>
              </p:cNvSpPr>
              <p:nvPr/>
            </p:nvSpPr>
            <p:spPr bwMode="auto">
              <a:xfrm>
                <a:off x="5555" y="2785"/>
                <a:ext cx="26" cy="27"/>
              </a:xfrm>
              <a:custGeom>
                <a:avLst/>
                <a:gdLst>
                  <a:gd name="T0" fmla="*/ 5 w 86"/>
                  <a:gd name="T1" fmla="*/ 9 h 80"/>
                  <a:gd name="T2" fmla="*/ 8 w 86"/>
                  <a:gd name="T3" fmla="*/ 9 h 80"/>
                  <a:gd name="T4" fmla="*/ 8 w 86"/>
                  <a:gd name="T5" fmla="*/ 7 h 80"/>
                  <a:gd name="T6" fmla="*/ 7 w 86"/>
                  <a:gd name="T7" fmla="*/ 7 h 80"/>
                  <a:gd name="T8" fmla="*/ 7 w 86"/>
                  <a:gd name="T9" fmla="*/ 6 h 80"/>
                  <a:gd name="T10" fmla="*/ 6 w 86"/>
                  <a:gd name="T11" fmla="*/ 6 h 80"/>
                  <a:gd name="T12" fmla="*/ 5 w 86"/>
                  <a:gd name="T13" fmla="*/ 6 h 80"/>
                  <a:gd name="T14" fmla="*/ 5 w 86"/>
                  <a:gd name="T15" fmla="*/ 5 h 80"/>
                  <a:gd name="T16" fmla="*/ 4 w 86"/>
                  <a:gd name="T17" fmla="*/ 4 h 80"/>
                  <a:gd name="T18" fmla="*/ 3 w 86"/>
                  <a:gd name="T19" fmla="*/ 3 h 80"/>
                  <a:gd name="T20" fmla="*/ 2 w 86"/>
                  <a:gd name="T21" fmla="*/ 2 h 80"/>
                  <a:gd name="T22" fmla="*/ 1 w 86"/>
                  <a:gd name="T23" fmla="*/ 1 h 80"/>
                  <a:gd name="T24" fmla="*/ 0 w 86"/>
                  <a:gd name="T25" fmla="*/ 0 h 80"/>
                  <a:gd name="T26" fmla="*/ 0 w 86"/>
                  <a:gd name="T27" fmla="*/ 1 h 80"/>
                  <a:gd name="T28" fmla="*/ 1 w 86"/>
                  <a:gd name="T29" fmla="*/ 2 h 80"/>
                  <a:gd name="T30" fmla="*/ 1 w 86"/>
                  <a:gd name="T31" fmla="*/ 4 h 80"/>
                  <a:gd name="T32" fmla="*/ 2 w 86"/>
                  <a:gd name="T33" fmla="*/ 5 h 80"/>
                  <a:gd name="T34" fmla="*/ 2 w 86"/>
                  <a:gd name="T35" fmla="*/ 6 h 80"/>
                  <a:gd name="T36" fmla="*/ 3 w 86"/>
                  <a:gd name="T37" fmla="*/ 8 h 80"/>
                  <a:gd name="T38" fmla="*/ 4 w 86"/>
                  <a:gd name="T39" fmla="*/ 8 h 80"/>
                  <a:gd name="T40" fmla="*/ 4 w 86"/>
                  <a:gd name="T41" fmla="*/ 9 h 80"/>
                  <a:gd name="T42" fmla="*/ 5 w 86"/>
                  <a:gd name="T43" fmla="*/ 9 h 80"/>
                  <a:gd name="T44" fmla="*/ 5 w 86"/>
                  <a:gd name="T45" fmla="*/ 9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US"/>
              </a:p>
            </p:txBody>
          </p:sp>
          <p:sp>
            <p:nvSpPr>
              <p:cNvPr id="507" name="Freeform 155">
                <a:extLst>
                  <a:ext uri="{FF2B5EF4-FFF2-40B4-BE49-F238E27FC236}">
                    <a16:creationId xmlns:a16="http://schemas.microsoft.com/office/drawing/2014/main" id="{9D2CB2AC-46C9-4A4F-87F7-332D763E180C}"/>
                  </a:ext>
                </a:extLst>
              </p:cNvPr>
              <p:cNvSpPr>
                <a:spLocks/>
              </p:cNvSpPr>
              <p:nvPr/>
            </p:nvSpPr>
            <p:spPr bwMode="auto">
              <a:xfrm>
                <a:off x="5570" y="2825"/>
                <a:ext cx="25" cy="11"/>
              </a:xfrm>
              <a:custGeom>
                <a:avLst/>
                <a:gdLst>
                  <a:gd name="T0" fmla="*/ 0 w 74"/>
                  <a:gd name="T1" fmla="*/ 1 h 31"/>
                  <a:gd name="T2" fmla="*/ 0 w 74"/>
                  <a:gd name="T3" fmla="*/ 1 h 31"/>
                  <a:gd name="T4" fmla="*/ 1 w 74"/>
                  <a:gd name="T5" fmla="*/ 2 h 31"/>
                  <a:gd name="T6" fmla="*/ 1 w 74"/>
                  <a:gd name="T7" fmla="*/ 2 h 31"/>
                  <a:gd name="T8" fmla="*/ 2 w 74"/>
                  <a:gd name="T9" fmla="*/ 2 h 31"/>
                  <a:gd name="T10" fmla="*/ 2 w 74"/>
                  <a:gd name="T11" fmla="*/ 3 h 31"/>
                  <a:gd name="T12" fmla="*/ 3 w 74"/>
                  <a:gd name="T13" fmla="*/ 3 h 31"/>
                  <a:gd name="T14" fmla="*/ 3 w 74"/>
                  <a:gd name="T15" fmla="*/ 4 h 31"/>
                  <a:gd name="T16" fmla="*/ 4 w 74"/>
                  <a:gd name="T17" fmla="*/ 4 h 31"/>
                  <a:gd name="T18" fmla="*/ 5 w 74"/>
                  <a:gd name="T19" fmla="*/ 4 h 31"/>
                  <a:gd name="T20" fmla="*/ 7 w 74"/>
                  <a:gd name="T21" fmla="*/ 4 h 31"/>
                  <a:gd name="T22" fmla="*/ 7 w 74"/>
                  <a:gd name="T23" fmla="*/ 4 h 31"/>
                  <a:gd name="T24" fmla="*/ 8 w 74"/>
                  <a:gd name="T25" fmla="*/ 4 h 31"/>
                  <a:gd name="T26" fmla="*/ 8 w 74"/>
                  <a:gd name="T27" fmla="*/ 4 h 31"/>
                  <a:gd name="T28" fmla="*/ 8 w 74"/>
                  <a:gd name="T29" fmla="*/ 3 h 31"/>
                  <a:gd name="T30" fmla="*/ 7 w 74"/>
                  <a:gd name="T31" fmla="*/ 2 h 31"/>
                  <a:gd name="T32" fmla="*/ 6 w 74"/>
                  <a:gd name="T33" fmla="*/ 2 h 31"/>
                  <a:gd name="T34" fmla="*/ 6 w 74"/>
                  <a:gd name="T35" fmla="*/ 1 h 31"/>
                  <a:gd name="T36" fmla="*/ 5 w 74"/>
                  <a:gd name="T37" fmla="*/ 1 h 31"/>
                  <a:gd name="T38" fmla="*/ 5 w 74"/>
                  <a:gd name="T39" fmla="*/ 1 h 31"/>
                  <a:gd name="T40" fmla="*/ 5 w 74"/>
                  <a:gd name="T41" fmla="*/ 0 h 31"/>
                  <a:gd name="T42" fmla="*/ 4 w 74"/>
                  <a:gd name="T43" fmla="*/ 0 h 31"/>
                  <a:gd name="T44" fmla="*/ 3 w 74"/>
                  <a:gd name="T45" fmla="*/ 0 h 31"/>
                  <a:gd name="T46" fmla="*/ 2 w 74"/>
                  <a:gd name="T47" fmla="*/ 0 h 31"/>
                  <a:gd name="T48" fmla="*/ 2 w 74"/>
                  <a:gd name="T49" fmla="*/ 0 h 31"/>
                  <a:gd name="T50" fmla="*/ 2 w 74"/>
                  <a:gd name="T51" fmla="*/ 0 h 31"/>
                  <a:gd name="T52" fmla="*/ 1 w 74"/>
                  <a:gd name="T53" fmla="*/ 0 h 31"/>
                  <a:gd name="T54" fmla="*/ 1 w 74"/>
                  <a:gd name="T55" fmla="*/ 0 h 31"/>
                  <a:gd name="T56" fmla="*/ 0 w 74"/>
                  <a:gd name="T57" fmla="*/ 1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US"/>
              </a:p>
            </p:txBody>
          </p:sp>
          <p:sp>
            <p:nvSpPr>
              <p:cNvPr id="508" name="Freeform 156">
                <a:extLst>
                  <a:ext uri="{FF2B5EF4-FFF2-40B4-BE49-F238E27FC236}">
                    <a16:creationId xmlns:a16="http://schemas.microsoft.com/office/drawing/2014/main" id="{0BE99D13-4A2B-44E2-AAD7-8ED2FEA2C7D1}"/>
                  </a:ext>
                </a:extLst>
              </p:cNvPr>
              <p:cNvSpPr>
                <a:spLocks/>
              </p:cNvSpPr>
              <p:nvPr/>
            </p:nvSpPr>
            <p:spPr bwMode="auto">
              <a:xfrm>
                <a:off x="5562" y="2819"/>
                <a:ext cx="6" cy="1"/>
              </a:xfrm>
              <a:custGeom>
                <a:avLst/>
                <a:gdLst>
                  <a:gd name="T0" fmla="*/ 2 w 20"/>
                  <a:gd name="T1" fmla="*/ 0 h 1"/>
                  <a:gd name="T2" fmla="*/ 0 w 20"/>
                  <a:gd name="T3" fmla="*/ 0 h 1"/>
                  <a:gd name="T4" fmla="*/ 1 w 20"/>
                  <a:gd name="T5" fmla="*/ 0 h 1"/>
                  <a:gd name="T6" fmla="*/ 2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509" name="Freeform 157">
                <a:extLst>
                  <a:ext uri="{FF2B5EF4-FFF2-40B4-BE49-F238E27FC236}">
                    <a16:creationId xmlns:a16="http://schemas.microsoft.com/office/drawing/2014/main" id="{5AA2F690-6125-4E6E-A7C8-0C40963F313B}"/>
                  </a:ext>
                </a:extLst>
              </p:cNvPr>
              <p:cNvSpPr>
                <a:spLocks/>
              </p:cNvSpPr>
              <p:nvPr/>
            </p:nvSpPr>
            <p:spPr bwMode="auto">
              <a:xfrm>
                <a:off x="5509" y="2769"/>
                <a:ext cx="32" cy="21"/>
              </a:xfrm>
              <a:custGeom>
                <a:avLst/>
                <a:gdLst>
                  <a:gd name="T0" fmla="*/ 1 w 100"/>
                  <a:gd name="T1" fmla="*/ 3 h 65"/>
                  <a:gd name="T2" fmla="*/ 4 w 100"/>
                  <a:gd name="T3" fmla="*/ 4 h 65"/>
                  <a:gd name="T4" fmla="*/ 6 w 100"/>
                  <a:gd name="T5" fmla="*/ 6 h 65"/>
                  <a:gd name="T6" fmla="*/ 7 w 100"/>
                  <a:gd name="T7" fmla="*/ 6 h 65"/>
                  <a:gd name="T8" fmla="*/ 9 w 100"/>
                  <a:gd name="T9" fmla="*/ 7 h 65"/>
                  <a:gd name="T10" fmla="*/ 9 w 100"/>
                  <a:gd name="T11" fmla="*/ 7 h 65"/>
                  <a:gd name="T12" fmla="*/ 9 w 100"/>
                  <a:gd name="T13" fmla="*/ 7 h 65"/>
                  <a:gd name="T14" fmla="*/ 10 w 100"/>
                  <a:gd name="T15" fmla="*/ 7 h 65"/>
                  <a:gd name="T16" fmla="*/ 10 w 100"/>
                  <a:gd name="T17" fmla="*/ 6 h 65"/>
                  <a:gd name="T18" fmla="*/ 10 w 100"/>
                  <a:gd name="T19" fmla="*/ 6 h 65"/>
                  <a:gd name="T20" fmla="*/ 9 w 100"/>
                  <a:gd name="T21" fmla="*/ 6 h 65"/>
                  <a:gd name="T22" fmla="*/ 9 w 100"/>
                  <a:gd name="T23" fmla="*/ 5 h 65"/>
                  <a:gd name="T24" fmla="*/ 8 w 100"/>
                  <a:gd name="T25" fmla="*/ 5 h 65"/>
                  <a:gd name="T26" fmla="*/ 7 w 100"/>
                  <a:gd name="T27" fmla="*/ 4 h 65"/>
                  <a:gd name="T28" fmla="*/ 6 w 100"/>
                  <a:gd name="T29" fmla="*/ 2 h 65"/>
                  <a:gd name="T30" fmla="*/ 5 w 100"/>
                  <a:gd name="T31" fmla="*/ 2 h 65"/>
                  <a:gd name="T32" fmla="*/ 5 w 100"/>
                  <a:gd name="T33" fmla="*/ 1 h 65"/>
                  <a:gd name="T34" fmla="*/ 4 w 100"/>
                  <a:gd name="T35" fmla="*/ 0 h 65"/>
                  <a:gd name="T36" fmla="*/ 4 w 100"/>
                  <a:gd name="T37" fmla="*/ 0 h 65"/>
                  <a:gd name="T38" fmla="*/ 3 w 100"/>
                  <a:gd name="T39" fmla="*/ 0 h 65"/>
                  <a:gd name="T40" fmla="*/ 2 w 100"/>
                  <a:gd name="T41" fmla="*/ 0 h 65"/>
                  <a:gd name="T42" fmla="*/ 1 w 100"/>
                  <a:gd name="T43" fmla="*/ 0 h 65"/>
                  <a:gd name="T44" fmla="*/ 0 w 100"/>
                  <a:gd name="T45" fmla="*/ 1 h 65"/>
                  <a:gd name="T46" fmla="*/ 1 w 100"/>
                  <a:gd name="T47" fmla="*/ 3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US"/>
              </a:p>
            </p:txBody>
          </p:sp>
          <p:sp>
            <p:nvSpPr>
              <p:cNvPr id="510" name="Freeform 158">
                <a:extLst>
                  <a:ext uri="{FF2B5EF4-FFF2-40B4-BE49-F238E27FC236}">
                    <a16:creationId xmlns:a16="http://schemas.microsoft.com/office/drawing/2014/main" id="{95ECADAF-553E-40AB-9A8D-97622C68734A}"/>
                  </a:ext>
                </a:extLst>
              </p:cNvPr>
              <p:cNvSpPr>
                <a:spLocks/>
              </p:cNvSpPr>
              <p:nvPr/>
            </p:nvSpPr>
            <p:spPr bwMode="auto">
              <a:xfrm>
                <a:off x="5486" y="2743"/>
                <a:ext cx="24" cy="34"/>
              </a:xfrm>
              <a:custGeom>
                <a:avLst/>
                <a:gdLst>
                  <a:gd name="T0" fmla="*/ 7 w 79"/>
                  <a:gd name="T1" fmla="*/ 9 h 104"/>
                  <a:gd name="T2" fmla="*/ 5 w 79"/>
                  <a:gd name="T3" fmla="*/ 7 h 104"/>
                  <a:gd name="T4" fmla="*/ 4 w 79"/>
                  <a:gd name="T5" fmla="*/ 4 h 104"/>
                  <a:gd name="T6" fmla="*/ 3 w 79"/>
                  <a:gd name="T7" fmla="*/ 2 h 104"/>
                  <a:gd name="T8" fmla="*/ 1 w 79"/>
                  <a:gd name="T9" fmla="*/ 0 h 104"/>
                  <a:gd name="T10" fmla="*/ 1 w 79"/>
                  <a:gd name="T11" fmla="*/ 2 h 104"/>
                  <a:gd name="T12" fmla="*/ 0 w 79"/>
                  <a:gd name="T13" fmla="*/ 4 h 104"/>
                  <a:gd name="T14" fmla="*/ 0 w 79"/>
                  <a:gd name="T15" fmla="*/ 4 h 104"/>
                  <a:gd name="T16" fmla="*/ 0 w 79"/>
                  <a:gd name="T17" fmla="*/ 5 h 104"/>
                  <a:gd name="T18" fmla="*/ 0 w 79"/>
                  <a:gd name="T19" fmla="*/ 6 h 104"/>
                  <a:gd name="T20" fmla="*/ 0 w 79"/>
                  <a:gd name="T21" fmla="*/ 7 h 104"/>
                  <a:gd name="T22" fmla="*/ 0 w 79"/>
                  <a:gd name="T23" fmla="*/ 7 h 104"/>
                  <a:gd name="T24" fmla="*/ 0 w 79"/>
                  <a:gd name="T25" fmla="*/ 8 h 104"/>
                  <a:gd name="T26" fmla="*/ 1 w 79"/>
                  <a:gd name="T27" fmla="*/ 9 h 104"/>
                  <a:gd name="T28" fmla="*/ 1 w 79"/>
                  <a:gd name="T29" fmla="*/ 9 h 104"/>
                  <a:gd name="T30" fmla="*/ 1 w 79"/>
                  <a:gd name="T31" fmla="*/ 9 h 104"/>
                  <a:gd name="T32" fmla="*/ 2 w 79"/>
                  <a:gd name="T33" fmla="*/ 9 h 104"/>
                  <a:gd name="T34" fmla="*/ 2 w 79"/>
                  <a:gd name="T35" fmla="*/ 10 h 104"/>
                  <a:gd name="T36" fmla="*/ 3 w 79"/>
                  <a:gd name="T37" fmla="*/ 10 h 104"/>
                  <a:gd name="T38" fmla="*/ 4 w 79"/>
                  <a:gd name="T39" fmla="*/ 10 h 104"/>
                  <a:gd name="T40" fmla="*/ 5 w 79"/>
                  <a:gd name="T41" fmla="*/ 10 h 104"/>
                  <a:gd name="T42" fmla="*/ 6 w 79"/>
                  <a:gd name="T43" fmla="*/ 11 h 104"/>
                  <a:gd name="T44" fmla="*/ 7 w 79"/>
                  <a:gd name="T45" fmla="*/ 11 h 104"/>
                  <a:gd name="T46" fmla="*/ 7 w 79"/>
                  <a:gd name="T47" fmla="*/ 9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US"/>
              </a:p>
            </p:txBody>
          </p:sp>
        </p:grpSp>
        <p:sp>
          <p:nvSpPr>
            <p:cNvPr id="102" name="Freeform 159">
              <a:extLst>
                <a:ext uri="{FF2B5EF4-FFF2-40B4-BE49-F238E27FC236}">
                  <a16:creationId xmlns:a16="http://schemas.microsoft.com/office/drawing/2014/main" id="{8281B1FF-E5D7-4479-95F2-4AB64031075B}"/>
                </a:ext>
              </a:extLst>
            </p:cNvPr>
            <p:cNvSpPr>
              <a:spLocks/>
            </p:cNvSpPr>
            <p:nvPr>
              <p:custDataLst>
                <p:tags r:id="rId90"/>
              </p:custDataLst>
            </p:nvPr>
          </p:nvSpPr>
          <p:spPr bwMode="auto">
            <a:xfrm>
              <a:off x="4216400" y="3895725"/>
              <a:ext cx="11113" cy="55563"/>
            </a:xfrm>
            <a:custGeom>
              <a:avLst/>
              <a:gdLst>
                <a:gd name="T0" fmla="*/ 4574028 w 27"/>
                <a:gd name="T1" fmla="*/ 0 h 19"/>
                <a:gd name="T2" fmla="*/ 4574028 w 27"/>
                <a:gd name="T3" fmla="*/ 102620090 h 19"/>
                <a:gd name="T4" fmla="*/ 4574028 w 27"/>
                <a:gd name="T5" fmla="*/ 162480834 h 19"/>
                <a:gd name="T6" fmla="*/ 1524539 w 27"/>
                <a:gd name="T7" fmla="*/ 162480834 h 19"/>
                <a:gd name="T8" fmla="*/ 0 w 27"/>
                <a:gd name="T9" fmla="*/ 162480834 h 19"/>
                <a:gd name="T10" fmla="*/ 1524539 w 27"/>
                <a:gd name="T11" fmla="*/ 102620090 h 19"/>
                <a:gd name="T12" fmla="*/ 4574028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103" name="Freeform 160">
              <a:extLst>
                <a:ext uri="{FF2B5EF4-FFF2-40B4-BE49-F238E27FC236}">
                  <a16:creationId xmlns:a16="http://schemas.microsoft.com/office/drawing/2014/main" id="{55C3C10A-A43B-492A-BFC6-6369E8B6E0FF}"/>
                </a:ext>
              </a:extLst>
            </p:cNvPr>
            <p:cNvSpPr>
              <a:spLocks/>
            </p:cNvSpPr>
            <p:nvPr>
              <p:custDataLst>
                <p:tags r:id="rId91"/>
              </p:custDataLst>
            </p:nvPr>
          </p:nvSpPr>
          <p:spPr bwMode="auto">
            <a:xfrm>
              <a:off x="4140200" y="4035425"/>
              <a:ext cx="14288" cy="57150"/>
            </a:xfrm>
            <a:custGeom>
              <a:avLst/>
              <a:gdLst>
                <a:gd name="T0" fmla="*/ 0 w 39"/>
                <a:gd name="T1" fmla="*/ 0 h 35"/>
                <a:gd name="T2" fmla="*/ 5234537 w 39"/>
                <a:gd name="T3" fmla="*/ 0 h 35"/>
                <a:gd name="T4" fmla="*/ 4831909 w 39"/>
                <a:gd name="T5" fmla="*/ 23996469 h 35"/>
                <a:gd name="T6" fmla="*/ 4429280 w 39"/>
                <a:gd name="T7" fmla="*/ 50657760 h 35"/>
                <a:gd name="T8" fmla="*/ 3624023 w 39"/>
                <a:gd name="T9" fmla="*/ 74654229 h 35"/>
                <a:gd name="T10" fmla="*/ 2952853 w 39"/>
                <a:gd name="T11" fmla="*/ 90651330 h 35"/>
                <a:gd name="T12" fmla="*/ 2550225 w 39"/>
                <a:gd name="T13" fmla="*/ 93317786 h 35"/>
                <a:gd name="T14" fmla="*/ 2147596 w 39"/>
                <a:gd name="T15" fmla="*/ 93317786 h 35"/>
                <a:gd name="T16" fmla="*/ 1744968 w 39"/>
                <a:gd name="T17" fmla="*/ 90651330 h 35"/>
                <a:gd name="T18" fmla="*/ 1476427 w 39"/>
                <a:gd name="T19" fmla="*/ 82653596 h 35"/>
                <a:gd name="T20" fmla="*/ 939711 w 39"/>
                <a:gd name="T21" fmla="*/ 69321317 h 35"/>
                <a:gd name="T22" fmla="*/ 671170 w 39"/>
                <a:gd name="T23" fmla="*/ 53324216 h 35"/>
                <a:gd name="T24" fmla="*/ 268541 w 39"/>
                <a:gd name="T25" fmla="*/ 293277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04" name="Freeform 161">
              <a:extLst>
                <a:ext uri="{FF2B5EF4-FFF2-40B4-BE49-F238E27FC236}">
                  <a16:creationId xmlns:a16="http://schemas.microsoft.com/office/drawing/2014/main" id="{4F4651CD-52BA-4C47-9D07-63D88CF0E371}"/>
                </a:ext>
              </a:extLst>
            </p:cNvPr>
            <p:cNvSpPr>
              <a:spLocks/>
            </p:cNvSpPr>
            <p:nvPr>
              <p:custDataLst>
                <p:tags r:id="rId92"/>
              </p:custDataLst>
            </p:nvPr>
          </p:nvSpPr>
          <p:spPr bwMode="auto">
            <a:xfrm>
              <a:off x="5938838" y="2362200"/>
              <a:ext cx="728662" cy="331788"/>
            </a:xfrm>
            <a:custGeom>
              <a:avLst/>
              <a:gdLst>
                <a:gd name="T0" fmla="*/ 5962683 w 1688"/>
                <a:gd name="T1" fmla="*/ 59909146 h 630"/>
                <a:gd name="T2" fmla="*/ 16025384 w 1688"/>
                <a:gd name="T3" fmla="*/ 69061727 h 630"/>
                <a:gd name="T4" fmla="*/ 28882729 w 1688"/>
                <a:gd name="T5" fmla="*/ 73222231 h 630"/>
                <a:gd name="T6" fmla="*/ 35590908 w 1688"/>
                <a:gd name="T7" fmla="*/ 77937293 h 630"/>
                <a:gd name="T8" fmla="*/ 44349097 w 1688"/>
                <a:gd name="T9" fmla="*/ 91804936 h 630"/>
                <a:gd name="T10" fmla="*/ 47144172 w 1688"/>
                <a:gd name="T11" fmla="*/ 96797014 h 630"/>
                <a:gd name="T12" fmla="*/ 47330655 w 1688"/>
                <a:gd name="T13" fmla="*/ 107059239 h 630"/>
                <a:gd name="T14" fmla="*/ 50870795 w 1688"/>
                <a:gd name="T15" fmla="*/ 113161486 h 630"/>
                <a:gd name="T16" fmla="*/ 63542089 w 1688"/>
                <a:gd name="T17" fmla="*/ 115380246 h 630"/>
                <a:gd name="T18" fmla="*/ 86275653 w 1688"/>
                <a:gd name="T19" fmla="*/ 125364928 h 630"/>
                <a:gd name="T20" fmla="*/ 101742022 w 1688"/>
                <a:gd name="T21" fmla="*/ 130079990 h 630"/>
                <a:gd name="T22" fmla="*/ 107145689 w 1688"/>
                <a:gd name="T23" fmla="*/ 141451331 h 630"/>
                <a:gd name="T24" fmla="*/ 115903879 w 1688"/>
                <a:gd name="T25" fmla="*/ 150326897 h 630"/>
                <a:gd name="T26" fmla="*/ 124848118 w 1688"/>
                <a:gd name="T27" fmla="*/ 153932842 h 630"/>
                <a:gd name="T28" fmla="*/ 170874261 w 1688"/>
                <a:gd name="T29" fmla="*/ 159757020 h 630"/>
                <a:gd name="T30" fmla="*/ 193235292 w 1688"/>
                <a:gd name="T31" fmla="*/ 170296787 h 630"/>
                <a:gd name="T32" fmla="*/ 208142214 w 1688"/>
                <a:gd name="T33" fmla="*/ 174734307 h 630"/>
                <a:gd name="T34" fmla="*/ 215595891 w 1688"/>
                <a:gd name="T35" fmla="*/ 170019245 h 630"/>
                <a:gd name="T36" fmla="*/ 250441734 w 1688"/>
                <a:gd name="T37" fmla="*/ 156428618 h 630"/>
                <a:gd name="T38" fmla="*/ 259944988 w 1688"/>
                <a:gd name="T39" fmla="*/ 141451331 h 630"/>
                <a:gd name="T40" fmla="*/ 261435983 w 1688"/>
                <a:gd name="T41" fmla="*/ 133962951 h 630"/>
                <a:gd name="T42" fmla="*/ 258267943 w 1688"/>
                <a:gd name="T43" fmla="*/ 126197029 h 630"/>
                <a:gd name="T44" fmla="*/ 255286386 w 1688"/>
                <a:gd name="T45" fmla="*/ 115102703 h 630"/>
                <a:gd name="T46" fmla="*/ 279324462 w 1688"/>
                <a:gd name="T47" fmla="*/ 109278525 h 630"/>
                <a:gd name="T48" fmla="*/ 297026891 w 1688"/>
                <a:gd name="T49" fmla="*/ 95133339 h 630"/>
                <a:gd name="T50" fmla="*/ 307648176 w 1688"/>
                <a:gd name="T51" fmla="*/ 90140735 h 630"/>
                <a:gd name="T52" fmla="*/ 314542838 w 1688"/>
                <a:gd name="T53" fmla="*/ 82374812 h 630"/>
                <a:gd name="T54" fmla="*/ 308580155 w 1688"/>
                <a:gd name="T55" fmla="*/ 77382208 h 630"/>
                <a:gd name="T56" fmla="*/ 301685493 w 1688"/>
                <a:gd name="T57" fmla="*/ 69893828 h 630"/>
                <a:gd name="T58" fmla="*/ 294976882 w 1688"/>
                <a:gd name="T59" fmla="*/ 68784185 h 630"/>
                <a:gd name="T60" fmla="*/ 289386732 w 1688"/>
                <a:gd name="T61" fmla="*/ 71558030 h 630"/>
                <a:gd name="T62" fmla="*/ 278951930 w 1688"/>
                <a:gd name="T63" fmla="*/ 71002945 h 630"/>
                <a:gd name="T64" fmla="*/ 271498253 w 1688"/>
                <a:gd name="T65" fmla="*/ 65178766 h 630"/>
                <a:gd name="T66" fmla="*/ 267212183 w 1688"/>
                <a:gd name="T67" fmla="*/ 51865681 h 630"/>
                <a:gd name="T68" fmla="*/ 254727371 w 1688"/>
                <a:gd name="T69" fmla="*/ 34392092 h 630"/>
                <a:gd name="T70" fmla="*/ 239633967 w 1688"/>
                <a:gd name="T71" fmla="*/ 33282976 h 630"/>
                <a:gd name="T72" fmla="*/ 234788883 w 1688"/>
                <a:gd name="T73" fmla="*/ 40771356 h 630"/>
                <a:gd name="T74" fmla="*/ 230316763 w 1688"/>
                <a:gd name="T75" fmla="*/ 45763960 h 630"/>
                <a:gd name="T76" fmla="*/ 217645900 w 1688"/>
                <a:gd name="T77" fmla="*/ 46318518 h 630"/>
                <a:gd name="T78" fmla="*/ 194539372 w 1688"/>
                <a:gd name="T79" fmla="*/ 46318518 h 630"/>
                <a:gd name="T80" fmla="*/ 183731605 w 1688"/>
                <a:gd name="T81" fmla="*/ 38829612 h 630"/>
                <a:gd name="T82" fmla="*/ 171805808 w 1688"/>
                <a:gd name="T83" fmla="*/ 29954573 h 630"/>
                <a:gd name="T84" fmla="*/ 158761982 w 1688"/>
                <a:gd name="T85" fmla="*/ 27735813 h 630"/>
                <a:gd name="T86" fmla="*/ 149258727 w 1688"/>
                <a:gd name="T87" fmla="*/ 31618774 h 630"/>
                <a:gd name="T88" fmla="*/ 137891945 w 1688"/>
                <a:gd name="T89" fmla="*/ 32173333 h 630"/>
                <a:gd name="T90" fmla="*/ 128947705 w 1688"/>
                <a:gd name="T91" fmla="*/ 28012829 h 630"/>
                <a:gd name="T92" fmla="*/ 123357556 w 1688"/>
                <a:gd name="T93" fmla="*/ 18860248 h 630"/>
                <a:gd name="T94" fmla="*/ 83108045 w 1688"/>
                <a:gd name="T95" fmla="*/ 1941744 h 630"/>
                <a:gd name="T96" fmla="*/ 83108045 w 1688"/>
                <a:gd name="T97" fmla="*/ 12203442 h 630"/>
                <a:gd name="T98" fmla="*/ 87766216 w 1688"/>
                <a:gd name="T99" fmla="*/ 21911108 h 630"/>
                <a:gd name="T100" fmla="*/ 91306788 w 1688"/>
                <a:gd name="T101" fmla="*/ 29399488 h 630"/>
                <a:gd name="T102" fmla="*/ 57206442 w 1688"/>
                <a:gd name="T103" fmla="*/ 33837534 h 630"/>
                <a:gd name="T104" fmla="*/ 54784332 w 1688"/>
                <a:gd name="T105" fmla="*/ 24129868 h 630"/>
                <a:gd name="T106" fmla="*/ 41926555 w 1688"/>
                <a:gd name="T107" fmla="*/ 26903713 h 630"/>
                <a:gd name="T108" fmla="*/ 34472878 w 1688"/>
                <a:gd name="T109" fmla="*/ 24407410 h 630"/>
                <a:gd name="T110" fmla="*/ 25715121 w 1688"/>
                <a:gd name="T111" fmla="*/ 26903713 h 630"/>
                <a:gd name="T112" fmla="*/ 12671294 w 1688"/>
                <a:gd name="T113" fmla="*/ 39661713 h 630"/>
                <a:gd name="T114" fmla="*/ 5776632 w 1688"/>
                <a:gd name="T115" fmla="*/ 41880999 h 630"/>
                <a:gd name="T116" fmla="*/ 745497 w 1688"/>
                <a:gd name="T117" fmla="*/ 4687307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US"/>
            </a:p>
          </p:txBody>
        </p:sp>
        <p:sp>
          <p:nvSpPr>
            <p:cNvPr id="105" name="Freeform 162">
              <a:extLst>
                <a:ext uri="{FF2B5EF4-FFF2-40B4-BE49-F238E27FC236}">
                  <a16:creationId xmlns:a16="http://schemas.microsoft.com/office/drawing/2014/main" id="{4254131A-21A0-4CE7-9F7B-AC5188994825}"/>
                </a:ext>
              </a:extLst>
            </p:cNvPr>
            <p:cNvSpPr>
              <a:spLocks/>
            </p:cNvSpPr>
            <p:nvPr>
              <p:custDataLst>
                <p:tags r:id="rId93"/>
              </p:custDataLst>
            </p:nvPr>
          </p:nvSpPr>
          <p:spPr bwMode="auto">
            <a:xfrm>
              <a:off x="2265363" y="4329113"/>
              <a:ext cx="328612" cy="415925"/>
            </a:xfrm>
            <a:custGeom>
              <a:avLst/>
              <a:gdLst>
                <a:gd name="T0" fmla="*/ 4886695 w 758"/>
                <a:gd name="T1" fmla="*/ 21897013 h 795"/>
                <a:gd name="T2" fmla="*/ 9209373 w 758"/>
                <a:gd name="T3" fmla="*/ 24086504 h 795"/>
                <a:gd name="T4" fmla="*/ 13532051 w 758"/>
                <a:gd name="T5" fmla="*/ 29561019 h 795"/>
                <a:gd name="T6" fmla="*/ 16538981 w 758"/>
                <a:gd name="T7" fmla="*/ 36677784 h 795"/>
                <a:gd name="T8" fmla="*/ 17478864 w 758"/>
                <a:gd name="T9" fmla="*/ 46257661 h 795"/>
                <a:gd name="T10" fmla="*/ 15787249 w 758"/>
                <a:gd name="T11" fmla="*/ 50910790 h 795"/>
                <a:gd name="T12" fmla="*/ 15223666 w 758"/>
                <a:gd name="T13" fmla="*/ 56111160 h 795"/>
                <a:gd name="T14" fmla="*/ 16538981 w 758"/>
                <a:gd name="T15" fmla="*/ 65691038 h 795"/>
                <a:gd name="T16" fmla="*/ 17854730 w 758"/>
                <a:gd name="T17" fmla="*/ 76092302 h 795"/>
                <a:gd name="T18" fmla="*/ 15599532 w 758"/>
                <a:gd name="T19" fmla="*/ 84303551 h 795"/>
                <a:gd name="T20" fmla="*/ 15223666 w 758"/>
                <a:gd name="T21" fmla="*/ 96347064 h 795"/>
                <a:gd name="T22" fmla="*/ 17478864 w 758"/>
                <a:gd name="T23" fmla="*/ 106748328 h 795"/>
                <a:gd name="T24" fmla="*/ 18606462 w 758"/>
                <a:gd name="T25" fmla="*/ 113590949 h 795"/>
                <a:gd name="T26" fmla="*/ 14659650 w 758"/>
                <a:gd name="T27" fmla="*/ 125086697 h 795"/>
                <a:gd name="T28" fmla="*/ 21237526 w 758"/>
                <a:gd name="T29" fmla="*/ 144794218 h 795"/>
                <a:gd name="T30" fmla="*/ 25936071 w 758"/>
                <a:gd name="T31" fmla="*/ 157932739 h 795"/>
                <a:gd name="T32" fmla="*/ 27439969 w 758"/>
                <a:gd name="T33" fmla="*/ 170249874 h 795"/>
                <a:gd name="T34" fmla="*/ 28567568 w 758"/>
                <a:gd name="T35" fmla="*/ 180376994 h 795"/>
                <a:gd name="T36" fmla="*/ 35145444 w 758"/>
                <a:gd name="T37" fmla="*/ 202000385 h 795"/>
                <a:gd name="T38" fmla="*/ 40219854 w 758"/>
                <a:gd name="T39" fmla="*/ 214043899 h 795"/>
                <a:gd name="T40" fmla="*/ 43227218 w 758"/>
                <a:gd name="T41" fmla="*/ 217328399 h 795"/>
                <a:gd name="T42" fmla="*/ 47174030 w 758"/>
                <a:gd name="T43" fmla="*/ 216233391 h 795"/>
                <a:gd name="T44" fmla="*/ 54315922 w 758"/>
                <a:gd name="T45" fmla="*/ 208295763 h 795"/>
                <a:gd name="T46" fmla="*/ 60893798 w 758"/>
                <a:gd name="T47" fmla="*/ 204189877 h 795"/>
                <a:gd name="T48" fmla="*/ 66719941 w 758"/>
                <a:gd name="T49" fmla="*/ 204737643 h 795"/>
                <a:gd name="T50" fmla="*/ 72922384 w 758"/>
                <a:gd name="T51" fmla="*/ 210759399 h 795"/>
                <a:gd name="T52" fmla="*/ 78560378 w 758"/>
                <a:gd name="T53" fmla="*/ 213496134 h 795"/>
                <a:gd name="T54" fmla="*/ 82131324 w 758"/>
                <a:gd name="T55" fmla="*/ 207474377 h 795"/>
                <a:gd name="T56" fmla="*/ 89837232 w 758"/>
                <a:gd name="T57" fmla="*/ 203916256 h 795"/>
                <a:gd name="T58" fmla="*/ 98670739 w 758"/>
                <a:gd name="T59" fmla="*/ 170249874 h 795"/>
                <a:gd name="T60" fmla="*/ 101301802 w 758"/>
                <a:gd name="T61" fmla="*/ 164228117 h 795"/>
                <a:gd name="T62" fmla="*/ 108067828 w 758"/>
                <a:gd name="T63" fmla="*/ 159848610 h 795"/>
                <a:gd name="T64" fmla="*/ 124982675 w 758"/>
                <a:gd name="T65" fmla="*/ 156837731 h 795"/>
                <a:gd name="T66" fmla="*/ 129117637 w 758"/>
                <a:gd name="T67" fmla="*/ 158479981 h 795"/>
                <a:gd name="T68" fmla="*/ 132312717 w 758"/>
                <a:gd name="T69" fmla="*/ 160122231 h 795"/>
                <a:gd name="T70" fmla="*/ 139830475 w 758"/>
                <a:gd name="T71" fmla="*/ 156837731 h 795"/>
                <a:gd name="T72" fmla="*/ 142273389 w 758"/>
                <a:gd name="T73" fmla="*/ 148078717 h 795"/>
                <a:gd name="T74" fmla="*/ 141333940 w 758"/>
                <a:gd name="T75" fmla="*/ 136582969 h 795"/>
                <a:gd name="T76" fmla="*/ 136447246 w 758"/>
                <a:gd name="T77" fmla="*/ 126455326 h 795"/>
                <a:gd name="T78" fmla="*/ 133440316 w 758"/>
                <a:gd name="T79" fmla="*/ 119065463 h 795"/>
                <a:gd name="T80" fmla="*/ 126110274 w 758"/>
                <a:gd name="T81" fmla="*/ 109759207 h 795"/>
                <a:gd name="T82" fmla="*/ 118968382 w 758"/>
                <a:gd name="T83" fmla="*/ 109211441 h 795"/>
                <a:gd name="T84" fmla="*/ 113706255 w 758"/>
                <a:gd name="T85" fmla="*/ 103463829 h 795"/>
                <a:gd name="T86" fmla="*/ 110887041 w 758"/>
                <a:gd name="T87" fmla="*/ 95525678 h 795"/>
                <a:gd name="T88" fmla="*/ 109947159 w 758"/>
                <a:gd name="T89" fmla="*/ 85124937 h 795"/>
                <a:gd name="T90" fmla="*/ 109571293 w 758"/>
                <a:gd name="T91" fmla="*/ 73628665 h 795"/>
                <a:gd name="T92" fmla="*/ 105248614 w 758"/>
                <a:gd name="T93" fmla="*/ 66238803 h 795"/>
                <a:gd name="T94" fmla="*/ 94535776 w 758"/>
                <a:gd name="T95" fmla="*/ 56111160 h 795"/>
                <a:gd name="T96" fmla="*/ 82695340 w 758"/>
                <a:gd name="T97" fmla="*/ 48720774 h 795"/>
                <a:gd name="T98" fmla="*/ 73674117 w 758"/>
                <a:gd name="T99" fmla="*/ 45709896 h 795"/>
                <a:gd name="T100" fmla="*/ 67471674 w 758"/>
                <a:gd name="T101" fmla="*/ 44067646 h 795"/>
                <a:gd name="T102" fmla="*/ 62021397 w 758"/>
                <a:gd name="T103" fmla="*/ 39688662 h 795"/>
                <a:gd name="T104" fmla="*/ 57698718 w 758"/>
                <a:gd name="T105" fmla="*/ 33392761 h 795"/>
                <a:gd name="T106" fmla="*/ 54879505 w 758"/>
                <a:gd name="T107" fmla="*/ 25181512 h 795"/>
                <a:gd name="T108" fmla="*/ 52436157 w 758"/>
                <a:gd name="T109" fmla="*/ 5200370 h 795"/>
                <a:gd name="T110" fmla="*/ 49053361 w 758"/>
                <a:gd name="T111" fmla="*/ 821386 h 795"/>
                <a:gd name="T112" fmla="*/ 42663202 w 758"/>
                <a:gd name="T113" fmla="*/ 821386 h 795"/>
                <a:gd name="T114" fmla="*/ 32514380 w 758"/>
                <a:gd name="T115" fmla="*/ 8211249 h 795"/>
                <a:gd name="T116" fmla="*/ 22365125 w 758"/>
                <a:gd name="T117" fmla="*/ 18065271 h 795"/>
                <a:gd name="T118" fmla="*/ 0 w 758"/>
                <a:gd name="T119" fmla="*/ 21897013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06" name="Freeform 163">
              <a:extLst>
                <a:ext uri="{FF2B5EF4-FFF2-40B4-BE49-F238E27FC236}">
                  <a16:creationId xmlns:a16="http://schemas.microsoft.com/office/drawing/2014/main" id="{356A3EB1-43A8-4645-AEDE-293E36ADA3B6}"/>
                </a:ext>
              </a:extLst>
            </p:cNvPr>
            <p:cNvSpPr>
              <a:spLocks/>
            </p:cNvSpPr>
            <p:nvPr>
              <p:custDataLst>
                <p:tags r:id="rId94"/>
              </p:custDataLst>
            </p:nvPr>
          </p:nvSpPr>
          <p:spPr bwMode="auto">
            <a:xfrm>
              <a:off x="2479675" y="3759200"/>
              <a:ext cx="119063" cy="215900"/>
            </a:xfrm>
            <a:custGeom>
              <a:avLst/>
              <a:gdLst>
                <a:gd name="T0" fmla="*/ 42796825 w 273"/>
                <a:gd name="T1" fmla="*/ 38074539 h 414"/>
                <a:gd name="T2" fmla="*/ 40514130 w 273"/>
                <a:gd name="T3" fmla="*/ 36170551 h 414"/>
                <a:gd name="T4" fmla="*/ 38231871 w 273"/>
                <a:gd name="T5" fmla="*/ 32907019 h 414"/>
                <a:gd name="T6" fmla="*/ 36139328 w 273"/>
                <a:gd name="T7" fmla="*/ 28555643 h 414"/>
                <a:gd name="T8" fmla="*/ 34807828 w 273"/>
                <a:gd name="T9" fmla="*/ 26108255 h 414"/>
                <a:gd name="T10" fmla="*/ 33476765 w 273"/>
                <a:gd name="T11" fmla="*/ 25292111 h 414"/>
                <a:gd name="T12" fmla="*/ 31764526 w 273"/>
                <a:gd name="T13" fmla="*/ 25564333 h 414"/>
                <a:gd name="T14" fmla="*/ 30623614 w 273"/>
                <a:gd name="T15" fmla="*/ 27467799 h 414"/>
                <a:gd name="T16" fmla="*/ 29101963 w 273"/>
                <a:gd name="T17" fmla="*/ 23388645 h 414"/>
                <a:gd name="T18" fmla="*/ 27009420 w 273"/>
                <a:gd name="T19" fmla="*/ 14685893 h 414"/>
                <a:gd name="T20" fmla="*/ 25107465 w 273"/>
                <a:gd name="T21" fmla="*/ 9790596 h 414"/>
                <a:gd name="T22" fmla="*/ 23395661 w 273"/>
                <a:gd name="T23" fmla="*/ 6798764 h 414"/>
                <a:gd name="T24" fmla="*/ 21112966 w 273"/>
                <a:gd name="T25" fmla="*/ 3807454 h 414"/>
                <a:gd name="T26" fmla="*/ 18259816 w 273"/>
                <a:gd name="T27" fmla="*/ 1359544 h 414"/>
                <a:gd name="T28" fmla="*/ 15216513 w 273"/>
                <a:gd name="T29" fmla="*/ 1903466 h 414"/>
                <a:gd name="T30" fmla="*/ 13124406 w 273"/>
                <a:gd name="T31" fmla="*/ 5166998 h 414"/>
                <a:gd name="T32" fmla="*/ 11983059 w 273"/>
                <a:gd name="T33" fmla="*/ 6798764 h 414"/>
                <a:gd name="T34" fmla="*/ 10841711 w 273"/>
                <a:gd name="T35" fmla="*/ 8702752 h 414"/>
                <a:gd name="T36" fmla="*/ 10651559 w 273"/>
                <a:gd name="T37" fmla="*/ 11422362 h 414"/>
                <a:gd name="T38" fmla="*/ 11031863 w 273"/>
                <a:gd name="T39" fmla="*/ 16045438 h 414"/>
                <a:gd name="T40" fmla="*/ 9890952 w 273"/>
                <a:gd name="T41" fmla="*/ 21212957 h 414"/>
                <a:gd name="T42" fmla="*/ 6276757 w 273"/>
                <a:gd name="T43" fmla="*/ 24476489 h 414"/>
                <a:gd name="T44" fmla="*/ 3233455 w 273"/>
                <a:gd name="T45" fmla="*/ 28283943 h 414"/>
                <a:gd name="T46" fmla="*/ 761044 w 273"/>
                <a:gd name="T47" fmla="*/ 32091397 h 414"/>
                <a:gd name="T48" fmla="*/ 7608257 w 273"/>
                <a:gd name="T49" fmla="*/ 53848276 h 414"/>
                <a:gd name="T50" fmla="*/ 13885014 w 273"/>
                <a:gd name="T51" fmla="*/ 55751742 h 414"/>
                <a:gd name="T52" fmla="*/ 15977557 w 273"/>
                <a:gd name="T53" fmla="*/ 57111286 h 414"/>
                <a:gd name="T54" fmla="*/ 17689360 w 273"/>
                <a:gd name="T55" fmla="*/ 59286974 h 414"/>
                <a:gd name="T56" fmla="*/ 18830708 w 273"/>
                <a:gd name="T57" fmla="*/ 61462662 h 414"/>
                <a:gd name="T58" fmla="*/ 19591315 w 273"/>
                <a:gd name="T59" fmla="*/ 64454494 h 414"/>
                <a:gd name="T60" fmla="*/ 20162207 w 273"/>
                <a:gd name="T61" fmla="*/ 72069402 h 414"/>
                <a:gd name="T62" fmla="*/ 19591315 w 273"/>
                <a:gd name="T63" fmla="*/ 75876856 h 414"/>
                <a:gd name="T64" fmla="*/ 18259816 w 273"/>
                <a:gd name="T65" fmla="*/ 79684309 h 414"/>
                <a:gd name="T66" fmla="*/ 16928316 w 273"/>
                <a:gd name="T67" fmla="*/ 83491763 h 414"/>
                <a:gd name="T68" fmla="*/ 16357861 w 273"/>
                <a:gd name="T69" fmla="*/ 87299217 h 414"/>
                <a:gd name="T70" fmla="*/ 17309056 w 273"/>
                <a:gd name="T71" fmla="*/ 93282359 h 414"/>
                <a:gd name="T72" fmla="*/ 20352359 w 273"/>
                <a:gd name="T73" fmla="*/ 101712889 h 414"/>
                <a:gd name="T74" fmla="*/ 22254314 w 273"/>
                <a:gd name="T75" fmla="*/ 105792564 h 414"/>
                <a:gd name="T76" fmla="*/ 24537009 w 273"/>
                <a:gd name="T77" fmla="*/ 109056096 h 414"/>
                <a:gd name="T78" fmla="*/ 26819268 w 273"/>
                <a:gd name="T79" fmla="*/ 111775706 h 414"/>
                <a:gd name="T80" fmla="*/ 29101963 w 273"/>
                <a:gd name="T81" fmla="*/ 112591329 h 414"/>
                <a:gd name="T82" fmla="*/ 40894870 w 273"/>
                <a:gd name="T83" fmla="*/ 108239953 h 414"/>
                <a:gd name="T84" fmla="*/ 48503126 w 273"/>
                <a:gd name="T85" fmla="*/ 104704721 h 414"/>
                <a:gd name="T86" fmla="*/ 50785385 w 273"/>
                <a:gd name="T87" fmla="*/ 102529033 h 414"/>
                <a:gd name="T88" fmla="*/ 51926732 w 273"/>
                <a:gd name="T89" fmla="*/ 100625045 h 414"/>
                <a:gd name="T90" fmla="*/ 51165689 w 273"/>
                <a:gd name="T91" fmla="*/ 95729747 h 414"/>
                <a:gd name="T92" fmla="*/ 50024777 w 273"/>
                <a:gd name="T93" fmla="*/ 91106671 h 414"/>
                <a:gd name="T94" fmla="*/ 46030279 w 273"/>
                <a:gd name="T95" fmla="*/ 84035685 h 414"/>
                <a:gd name="T96" fmla="*/ 42225933 w 273"/>
                <a:gd name="T97" fmla="*/ 76692478 h 414"/>
                <a:gd name="T98" fmla="*/ 40894870 w 273"/>
                <a:gd name="T99" fmla="*/ 72341102 h 414"/>
                <a:gd name="T100" fmla="*/ 40323978 w 273"/>
                <a:gd name="T101" fmla="*/ 67174104 h 414"/>
                <a:gd name="T102" fmla="*/ 40894870 w 273"/>
                <a:gd name="T103" fmla="*/ 58471352 h 414"/>
                <a:gd name="T104" fmla="*/ 42225933 w 273"/>
                <a:gd name="T105" fmla="*/ 51672588 h 414"/>
                <a:gd name="T106" fmla="*/ 43747584 w 273"/>
                <a:gd name="T107" fmla="*/ 45417225 h 414"/>
                <a:gd name="T108" fmla="*/ 44128324 w 273"/>
                <a:gd name="T109" fmla="*/ 38618461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107" name="Group 164">
              <a:extLst>
                <a:ext uri="{FF2B5EF4-FFF2-40B4-BE49-F238E27FC236}">
                  <a16:creationId xmlns:a16="http://schemas.microsoft.com/office/drawing/2014/main" id="{FF160044-81F0-43DA-9BC0-9180AE5CC623}"/>
                </a:ext>
              </a:extLst>
            </p:cNvPr>
            <p:cNvGrpSpPr>
              <a:grpSpLocks/>
            </p:cNvGrpSpPr>
            <p:nvPr>
              <p:custDataLst>
                <p:tags r:id="rId95"/>
              </p:custDataLst>
            </p:nvPr>
          </p:nvGrpSpPr>
          <p:grpSpPr bwMode="auto">
            <a:xfrm>
              <a:off x="2193925" y="3594100"/>
              <a:ext cx="323850" cy="401638"/>
              <a:chOff x="1486" y="2412"/>
              <a:chExt cx="244" cy="256"/>
            </a:xfrm>
          </p:grpSpPr>
          <p:sp>
            <p:nvSpPr>
              <p:cNvPr id="498" name="Freeform 165">
                <a:extLst>
                  <a:ext uri="{FF2B5EF4-FFF2-40B4-BE49-F238E27FC236}">
                    <a16:creationId xmlns:a16="http://schemas.microsoft.com/office/drawing/2014/main" id="{F1914286-16E9-49B1-950E-B8C0ABC1BC0A}"/>
                  </a:ext>
                </a:extLst>
              </p:cNvPr>
              <p:cNvSpPr>
                <a:spLocks/>
              </p:cNvSpPr>
              <p:nvPr/>
            </p:nvSpPr>
            <p:spPr bwMode="auto">
              <a:xfrm>
                <a:off x="1639" y="2457"/>
                <a:ext cx="18" cy="7"/>
              </a:xfrm>
              <a:custGeom>
                <a:avLst/>
                <a:gdLst>
                  <a:gd name="T0" fmla="*/ 0 w 54"/>
                  <a:gd name="T1" fmla="*/ 0 h 22"/>
                  <a:gd name="T2" fmla="*/ 0 w 54"/>
                  <a:gd name="T3" fmla="*/ 2 h 22"/>
                  <a:gd name="T4" fmla="*/ 1 w 54"/>
                  <a:gd name="T5" fmla="*/ 2 h 22"/>
                  <a:gd name="T6" fmla="*/ 1 w 54"/>
                  <a:gd name="T7" fmla="*/ 2 h 22"/>
                  <a:gd name="T8" fmla="*/ 2 w 54"/>
                  <a:gd name="T9" fmla="*/ 2 h 22"/>
                  <a:gd name="T10" fmla="*/ 2 w 54"/>
                  <a:gd name="T11" fmla="*/ 2 h 22"/>
                  <a:gd name="T12" fmla="*/ 3 w 54"/>
                  <a:gd name="T13" fmla="*/ 2 h 22"/>
                  <a:gd name="T14" fmla="*/ 3 w 54"/>
                  <a:gd name="T15" fmla="*/ 2 h 22"/>
                  <a:gd name="T16" fmla="*/ 3 w 54"/>
                  <a:gd name="T17" fmla="*/ 2 h 22"/>
                  <a:gd name="T18" fmla="*/ 4 w 54"/>
                  <a:gd name="T19" fmla="*/ 2 h 22"/>
                  <a:gd name="T20" fmla="*/ 4 w 54"/>
                  <a:gd name="T21" fmla="*/ 2 h 22"/>
                  <a:gd name="T22" fmla="*/ 5 w 54"/>
                  <a:gd name="T23" fmla="*/ 1 h 22"/>
                  <a:gd name="T24" fmla="*/ 5 w 54"/>
                  <a:gd name="T25" fmla="*/ 1 h 22"/>
                  <a:gd name="T26" fmla="*/ 6 w 54"/>
                  <a:gd name="T27" fmla="*/ 1 h 22"/>
                  <a:gd name="T28" fmla="*/ 4 w 54"/>
                  <a:gd name="T29" fmla="*/ 1 h 22"/>
                  <a:gd name="T30" fmla="*/ 2 w 54"/>
                  <a:gd name="T31" fmla="*/ 0 h 22"/>
                  <a:gd name="T32" fmla="*/ 1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99" name="Freeform 166">
                <a:extLst>
                  <a:ext uri="{FF2B5EF4-FFF2-40B4-BE49-F238E27FC236}">
                    <a16:creationId xmlns:a16="http://schemas.microsoft.com/office/drawing/2014/main" id="{3DB5B804-E35F-4523-BD4B-E4D96F1CF2E3}"/>
                  </a:ext>
                </a:extLst>
              </p:cNvPr>
              <p:cNvSpPr>
                <a:spLocks/>
              </p:cNvSpPr>
              <p:nvPr/>
            </p:nvSpPr>
            <p:spPr bwMode="auto">
              <a:xfrm>
                <a:off x="1526" y="2412"/>
                <a:ext cx="2" cy="8"/>
              </a:xfrm>
              <a:custGeom>
                <a:avLst/>
                <a:gdLst>
                  <a:gd name="T0" fmla="*/ 1 w 6"/>
                  <a:gd name="T1" fmla="*/ 3 h 24"/>
                  <a:gd name="T2" fmla="*/ 1 w 6"/>
                  <a:gd name="T3" fmla="*/ 0 h 24"/>
                  <a:gd name="T4" fmla="*/ 0 w 6"/>
                  <a:gd name="T5" fmla="*/ 0 h 24"/>
                  <a:gd name="T6" fmla="*/ 0 w 6"/>
                  <a:gd name="T7" fmla="*/ 0 h 24"/>
                  <a:gd name="T8" fmla="*/ 0 w 6"/>
                  <a:gd name="T9" fmla="*/ 1 h 24"/>
                  <a:gd name="T10" fmla="*/ 0 w 6"/>
                  <a:gd name="T11" fmla="*/ 1 h 24"/>
                  <a:gd name="T12" fmla="*/ 0 w 6"/>
                  <a:gd name="T13" fmla="*/ 2 h 24"/>
                  <a:gd name="T14" fmla="*/ 0 w 6"/>
                  <a:gd name="T15" fmla="*/ 2 h 24"/>
                  <a:gd name="T16" fmla="*/ 0 w 6"/>
                  <a:gd name="T17" fmla="*/ 3 h 24"/>
                  <a:gd name="T18" fmla="*/ 1 w 6"/>
                  <a:gd name="T19" fmla="*/ 3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00" name="Freeform 167">
                <a:extLst>
                  <a:ext uri="{FF2B5EF4-FFF2-40B4-BE49-F238E27FC236}">
                    <a16:creationId xmlns:a16="http://schemas.microsoft.com/office/drawing/2014/main" id="{BF8EF135-BAC6-4CA1-A805-0EC936804F5F}"/>
                  </a:ext>
                </a:extLst>
              </p:cNvPr>
              <p:cNvSpPr>
                <a:spLocks/>
              </p:cNvSpPr>
              <p:nvPr/>
            </p:nvSpPr>
            <p:spPr bwMode="auto">
              <a:xfrm>
                <a:off x="1557" y="2438"/>
                <a:ext cx="8" cy="4"/>
              </a:xfrm>
              <a:custGeom>
                <a:avLst/>
                <a:gdLst>
                  <a:gd name="T0" fmla="*/ 0 w 27"/>
                  <a:gd name="T1" fmla="*/ 1 h 12"/>
                  <a:gd name="T2" fmla="*/ 2 w 27"/>
                  <a:gd name="T3" fmla="*/ 1 h 12"/>
                  <a:gd name="T4" fmla="*/ 1 w 27"/>
                  <a:gd name="T5" fmla="*/ 0 h 12"/>
                  <a:gd name="T6" fmla="*/ 0 w 27"/>
                  <a:gd name="T7" fmla="*/ 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01" name="Freeform 168">
                <a:extLst>
                  <a:ext uri="{FF2B5EF4-FFF2-40B4-BE49-F238E27FC236}">
                    <a16:creationId xmlns:a16="http://schemas.microsoft.com/office/drawing/2014/main" id="{54ACBFFC-DE43-495C-99A5-422B570AF2FD}"/>
                  </a:ext>
                </a:extLst>
              </p:cNvPr>
              <p:cNvSpPr>
                <a:spLocks/>
              </p:cNvSpPr>
              <p:nvPr/>
            </p:nvSpPr>
            <p:spPr bwMode="auto">
              <a:xfrm>
                <a:off x="1486" y="2444"/>
                <a:ext cx="244" cy="224"/>
              </a:xfrm>
              <a:custGeom>
                <a:avLst/>
                <a:gdLst>
                  <a:gd name="T0" fmla="*/ 1 w 743"/>
                  <a:gd name="T1" fmla="*/ 23 h 672"/>
                  <a:gd name="T2" fmla="*/ 5 w 743"/>
                  <a:gd name="T3" fmla="*/ 30 h 672"/>
                  <a:gd name="T4" fmla="*/ 13 w 743"/>
                  <a:gd name="T5" fmla="*/ 33 h 672"/>
                  <a:gd name="T6" fmla="*/ 18 w 743"/>
                  <a:gd name="T7" fmla="*/ 35 h 672"/>
                  <a:gd name="T8" fmla="*/ 21 w 743"/>
                  <a:gd name="T9" fmla="*/ 38 h 672"/>
                  <a:gd name="T10" fmla="*/ 32 w 743"/>
                  <a:gd name="T11" fmla="*/ 42 h 672"/>
                  <a:gd name="T12" fmla="*/ 31 w 743"/>
                  <a:gd name="T13" fmla="*/ 47 h 672"/>
                  <a:gd name="T14" fmla="*/ 33 w 743"/>
                  <a:gd name="T15" fmla="*/ 57 h 672"/>
                  <a:gd name="T16" fmla="*/ 33 w 743"/>
                  <a:gd name="T17" fmla="*/ 59 h 672"/>
                  <a:gd name="T18" fmla="*/ 33 w 743"/>
                  <a:gd name="T19" fmla="*/ 63 h 672"/>
                  <a:gd name="T20" fmla="*/ 35 w 743"/>
                  <a:gd name="T21" fmla="*/ 69 h 672"/>
                  <a:gd name="T22" fmla="*/ 40 w 743"/>
                  <a:gd name="T23" fmla="*/ 73 h 672"/>
                  <a:gd name="T24" fmla="*/ 45 w 743"/>
                  <a:gd name="T25" fmla="*/ 75 h 672"/>
                  <a:gd name="T26" fmla="*/ 50 w 743"/>
                  <a:gd name="T27" fmla="*/ 73 h 672"/>
                  <a:gd name="T28" fmla="*/ 55 w 743"/>
                  <a:gd name="T29" fmla="*/ 69 h 672"/>
                  <a:gd name="T30" fmla="*/ 56 w 743"/>
                  <a:gd name="T31" fmla="*/ 65 h 672"/>
                  <a:gd name="T32" fmla="*/ 52 w 743"/>
                  <a:gd name="T33" fmla="*/ 52 h 672"/>
                  <a:gd name="T34" fmla="*/ 62 w 743"/>
                  <a:gd name="T35" fmla="*/ 56 h 672"/>
                  <a:gd name="T36" fmla="*/ 65 w 743"/>
                  <a:gd name="T37" fmla="*/ 53 h 672"/>
                  <a:gd name="T38" fmla="*/ 70 w 743"/>
                  <a:gd name="T39" fmla="*/ 49 h 672"/>
                  <a:gd name="T40" fmla="*/ 72 w 743"/>
                  <a:gd name="T41" fmla="*/ 49 h 672"/>
                  <a:gd name="T42" fmla="*/ 74 w 743"/>
                  <a:gd name="T43" fmla="*/ 48 h 672"/>
                  <a:gd name="T44" fmla="*/ 72 w 743"/>
                  <a:gd name="T45" fmla="*/ 36 h 672"/>
                  <a:gd name="T46" fmla="*/ 77 w 743"/>
                  <a:gd name="T47" fmla="*/ 33 h 672"/>
                  <a:gd name="T48" fmla="*/ 77 w 743"/>
                  <a:gd name="T49" fmla="*/ 28 h 672"/>
                  <a:gd name="T50" fmla="*/ 78 w 743"/>
                  <a:gd name="T51" fmla="*/ 26 h 672"/>
                  <a:gd name="T52" fmla="*/ 78 w 743"/>
                  <a:gd name="T53" fmla="*/ 24 h 672"/>
                  <a:gd name="T54" fmla="*/ 76 w 743"/>
                  <a:gd name="T55" fmla="*/ 22 h 672"/>
                  <a:gd name="T56" fmla="*/ 74 w 743"/>
                  <a:gd name="T57" fmla="*/ 19 h 672"/>
                  <a:gd name="T58" fmla="*/ 72 w 743"/>
                  <a:gd name="T59" fmla="*/ 16 h 672"/>
                  <a:gd name="T60" fmla="*/ 69 w 743"/>
                  <a:gd name="T61" fmla="*/ 17 h 672"/>
                  <a:gd name="T62" fmla="*/ 68 w 743"/>
                  <a:gd name="T63" fmla="*/ 15 h 672"/>
                  <a:gd name="T64" fmla="*/ 65 w 743"/>
                  <a:gd name="T65" fmla="*/ 13 h 672"/>
                  <a:gd name="T66" fmla="*/ 63 w 743"/>
                  <a:gd name="T67" fmla="*/ 11 h 672"/>
                  <a:gd name="T68" fmla="*/ 58 w 743"/>
                  <a:gd name="T69" fmla="*/ 8 h 672"/>
                  <a:gd name="T70" fmla="*/ 53 w 743"/>
                  <a:gd name="T71" fmla="*/ 10 h 672"/>
                  <a:gd name="T72" fmla="*/ 51 w 743"/>
                  <a:gd name="T73" fmla="*/ 11 h 672"/>
                  <a:gd name="T74" fmla="*/ 47 w 743"/>
                  <a:gd name="T75" fmla="*/ 13 h 672"/>
                  <a:gd name="T76" fmla="*/ 45 w 743"/>
                  <a:gd name="T77" fmla="*/ 12 h 672"/>
                  <a:gd name="T78" fmla="*/ 42 w 743"/>
                  <a:gd name="T79" fmla="*/ 11 h 672"/>
                  <a:gd name="T80" fmla="*/ 39 w 743"/>
                  <a:gd name="T81" fmla="*/ 9 h 672"/>
                  <a:gd name="T82" fmla="*/ 34 w 743"/>
                  <a:gd name="T83" fmla="*/ 9 h 672"/>
                  <a:gd name="T84" fmla="*/ 32 w 743"/>
                  <a:gd name="T85" fmla="*/ 10 h 672"/>
                  <a:gd name="T86" fmla="*/ 27 w 743"/>
                  <a:gd name="T87" fmla="*/ 10 h 672"/>
                  <a:gd name="T88" fmla="*/ 25 w 743"/>
                  <a:gd name="T89" fmla="*/ 6 h 672"/>
                  <a:gd name="T90" fmla="*/ 19 w 743"/>
                  <a:gd name="T91" fmla="*/ 2 h 672"/>
                  <a:gd name="T92" fmla="*/ 16 w 743"/>
                  <a:gd name="T93" fmla="*/ 1 h 672"/>
                  <a:gd name="T94" fmla="*/ 15 w 743"/>
                  <a:gd name="T95" fmla="*/ 5 h 672"/>
                  <a:gd name="T96" fmla="*/ 13 w 743"/>
                  <a:gd name="T97" fmla="*/ 8 h 672"/>
                  <a:gd name="T98" fmla="*/ 13 w 743"/>
                  <a:gd name="T99" fmla="*/ 15 h 672"/>
                  <a:gd name="T100" fmla="*/ 11 w 743"/>
                  <a:gd name="T101" fmla="*/ 22 h 672"/>
                  <a:gd name="T102" fmla="*/ 10 w 743"/>
                  <a:gd name="T103" fmla="*/ 21 h 672"/>
                  <a:gd name="T104" fmla="*/ 8 w 743"/>
                  <a:gd name="T105" fmla="*/ 20 h 672"/>
                  <a:gd name="T106" fmla="*/ 6 w 743"/>
                  <a:gd name="T107" fmla="*/ 19 h 672"/>
                  <a:gd name="T108" fmla="*/ 6 w 743"/>
                  <a:gd name="T109" fmla="*/ 13 h 672"/>
                  <a:gd name="T110" fmla="*/ 8 w 743"/>
                  <a:gd name="T111" fmla="*/ 7 h 672"/>
                  <a:gd name="T112" fmla="*/ 11 w 743"/>
                  <a:gd name="T113" fmla="*/ 2 h 672"/>
                  <a:gd name="T114" fmla="*/ 6 w 743"/>
                  <a:gd name="T115" fmla="*/ 3 h 672"/>
                  <a:gd name="T116" fmla="*/ 2 w 743"/>
                  <a:gd name="T117" fmla="*/ 8 h 672"/>
                  <a:gd name="T118" fmla="*/ 0 w 743"/>
                  <a:gd name="T119" fmla="*/ 13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108" name="Freeform 169">
              <a:extLst>
                <a:ext uri="{FF2B5EF4-FFF2-40B4-BE49-F238E27FC236}">
                  <a16:creationId xmlns:a16="http://schemas.microsoft.com/office/drawing/2014/main" id="{5D4CB20B-C1CF-4A81-8822-4F0585011216}"/>
                </a:ext>
              </a:extLst>
            </p:cNvPr>
            <p:cNvSpPr>
              <a:spLocks/>
            </p:cNvSpPr>
            <p:nvPr>
              <p:custDataLst>
                <p:tags r:id="rId96"/>
              </p:custDataLst>
            </p:nvPr>
          </p:nvSpPr>
          <p:spPr bwMode="auto">
            <a:xfrm>
              <a:off x="7215188" y="5133975"/>
              <a:ext cx="31750" cy="11113"/>
            </a:xfrm>
            <a:custGeom>
              <a:avLst/>
              <a:gdLst>
                <a:gd name="T0" fmla="*/ 0 w 79"/>
                <a:gd name="T1" fmla="*/ 5368545 h 23"/>
                <a:gd name="T2" fmla="*/ 3553589 w 79"/>
                <a:gd name="T3" fmla="*/ 3034542 h 23"/>
                <a:gd name="T4" fmla="*/ 7268339 w 79"/>
                <a:gd name="T5" fmla="*/ 933891 h 23"/>
                <a:gd name="T6" fmla="*/ 9045133 w 79"/>
                <a:gd name="T7" fmla="*/ 233352 h 23"/>
                <a:gd name="T8" fmla="*/ 10498801 w 79"/>
                <a:gd name="T9" fmla="*/ 0 h 23"/>
                <a:gd name="T10" fmla="*/ 11145054 w 79"/>
                <a:gd name="T11" fmla="*/ 0 h 23"/>
                <a:gd name="T12" fmla="*/ 11952870 w 79"/>
                <a:gd name="T13" fmla="*/ 233352 h 23"/>
                <a:gd name="T14" fmla="*/ 12437158 w 79"/>
                <a:gd name="T15" fmla="*/ 466704 h 23"/>
                <a:gd name="T16" fmla="*/ 12760285 w 79"/>
                <a:gd name="T17" fmla="*/ 933891 h 23"/>
                <a:gd name="T18" fmla="*/ 12437158 w 79"/>
                <a:gd name="T19" fmla="*/ 1867299 h 23"/>
                <a:gd name="T20" fmla="*/ 12114032 w 79"/>
                <a:gd name="T21" fmla="*/ 3034542 h 23"/>
                <a:gd name="T22" fmla="*/ 11629744 w 79"/>
                <a:gd name="T23" fmla="*/ 3734598 h 23"/>
                <a:gd name="T24" fmla="*/ 10983491 w 79"/>
                <a:gd name="T25" fmla="*/ 4434654 h 23"/>
                <a:gd name="T26" fmla="*/ 10337639 w 79"/>
                <a:gd name="T27" fmla="*/ 4901841 h 23"/>
                <a:gd name="T28" fmla="*/ 9529823 w 79"/>
                <a:gd name="T29" fmla="*/ 5135193 h 23"/>
                <a:gd name="T30" fmla="*/ 8560845 w 79"/>
                <a:gd name="T31" fmla="*/ 5368545 h 23"/>
                <a:gd name="T32" fmla="*/ 7429902 w 79"/>
                <a:gd name="T33" fmla="*/ 5368545 h 23"/>
                <a:gd name="T34" fmla="*/ 5976234 w 79"/>
                <a:gd name="T35" fmla="*/ 5368545 h 23"/>
                <a:gd name="T36" fmla="*/ 5168820 w 79"/>
                <a:gd name="T37" fmla="*/ 4901841 h 23"/>
                <a:gd name="T38" fmla="*/ 4199440 w 79"/>
                <a:gd name="T39" fmla="*/ 4668489 h 23"/>
                <a:gd name="T40" fmla="*/ 3715152 w 79"/>
                <a:gd name="T41" fmla="*/ 4434654 h 23"/>
                <a:gd name="T42" fmla="*/ 3068899 w 79"/>
                <a:gd name="T43" fmla="*/ 4201302 h 23"/>
                <a:gd name="T44" fmla="*/ 2261484 w 79"/>
                <a:gd name="T45" fmla="*/ 4201302 h 23"/>
                <a:gd name="T46" fmla="*/ 1453668 w 79"/>
                <a:gd name="T47" fmla="*/ 4668489 h 23"/>
                <a:gd name="T48" fmla="*/ 0 w 79"/>
                <a:gd name="T49" fmla="*/ 5368545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US"/>
            </a:p>
          </p:txBody>
        </p:sp>
        <p:sp>
          <p:nvSpPr>
            <p:cNvPr id="109" name="Freeform 170">
              <a:extLst>
                <a:ext uri="{FF2B5EF4-FFF2-40B4-BE49-F238E27FC236}">
                  <a16:creationId xmlns:a16="http://schemas.microsoft.com/office/drawing/2014/main" id="{3D51B905-CEED-42B7-A08E-53ADDFEC07B4}"/>
                </a:ext>
              </a:extLst>
            </p:cNvPr>
            <p:cNvSpPr>
              <a:spLocks/>
            </p:cNvSpPr>
            <p:nvPr>
              <p:custDataLst>
                <p:tags r:id="rId97"/>
              </p:custDataLst>
            </p:nvPr>
          </p:nvSpPr>
          <p:spPr bwMode="auto">
            <a:xfrm>
              <a:off x="7331075" y="5267325"/>
              <a:ext cx="1588" cy="4763"/>
            </a:xfrm>
            <a:custGeom>
              <a:avLst/>
              <a:gdLst>
                <a:gd name="T0" fmla="*/ 0 w 1588"/>
                <a:gd name="T1" fmla="*/ 0 h 6"/>
                <a:gd name="T2" fmla="*/ 0 w 1588"/>
                <a:gd name="T3" fmla="*/ 3779441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10" name="Line 171">
              <a:extLst>
                <a:ext uri="{FF2B5EF4-FFF2-40B4-BE49-F238E27FC236}">
                  <a16:creationId xmlns:a16="http://schemas.microsoft.com/office/drawing/2014/main" id="{35BF8629-C8B5-439F-B441-6C1B5C0CFB38}"/>
                </a:ext>
              </a:extLst>
            </p:cNvPr>
            <p:cNvSpPr>
              <a:spLocks noChangeShapeType="1"/>
            </p:cNvSpPr>
            <p:nvPr>
              <p:custDataLst>
                <p:tags r:id="rId98"/>
              </p:custDataLst>
            </p:nvPr>
          </p:nvSpPr>
          <p:spPr bwMode="auto">
            <a:xfrm flipV="1">
              <a:off x="7421563" y="5265738"/>
              <a:ext cx="1587"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1" name="Freeform 172">
              <a:extLst>
                <a:ext uri="{FF2B5EF4-FFF2-40B4-BE49-F238E27FC236}">
                  <a16:creationId xmlns:a16="http://schemas.microsoft.com/office/drawing/2014/main" id="{20135E2F-6289-4046-B06B-AB962C168FB8}"/>
                </a:ext>
              </a:extLst>
            </p:cNvPr>
            <p:cNvSpPr>
              <a:spLocks/>
            </p:cNvSpPr>
            <p:nvPr>
              <p:custDataLst>
                <p:tags r:id="rId99"/>
              </p:custDataLst>
            </p:nvPr>
          </p:nvSpPr>
          <p:spPr bwMode="auto">
            <a:xfrm>
              <a:off x="7421563" y="5265738"/>
              <a:ext cx="3175" cy="15875"/>
            </a:xfrm>
            <a:custGeom>
              <a:avLst/>
              <a:gdLst>
                <a:gd name="T0" fmla="*/ 0 w 5"/>
                <a:gd name="T1" fmla="*/ 0 h 30"/>
                <a:gd name="T2" fmla="*/ 806450 w 5"/>
                <a:gd name="T3" fmla="*/ 279929 h 30"/>
                <a:gd name="T4" fmla="*/ 1612900 w 5"/>
                <a:gd name="T5" fmla="*/ 1120246 h 30"/>
                <a:gd name="T6" fmla="*/ 2016125 w 5"/>
                <a:gd name="T7" fmla="*/ 2239963 h 30"/>
                <a:gd name="T8" fmla="*/ 2016125 w 5"/>
                <a:gd name="T9" fmla="*/ 3640137 h 30"/>
                <a:gd name="T10" fmla="*/ 2016125 w 5"/>
                <a:gd name="T11" fmla="*/ 5040313 h 30"/>
                <a:gd name="T12" fmla="*/ 1612900 w 5"/>
                <a:gd name="T13" fmla="*/ 6440488 h 30"/>
                <a:gd name="T14" fmla="*/ 806450 w 5"/>
                <a:gd name="T15" fmla="*/ 7560204 h 30"/>
                <a:gd name="T16" fmla="*/ 0 w 5"/>
                <a:gd name="T17" fmla="*/ 8400521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US"/>
            </a:p>
          </p:txBody>
        </p:sp>
        <p:sp>
          <p:nvSpPr>
            <p:cNvPr id="112" name="Freeform 173">
              <a:extLst>
                <a:ext uri="{FF2B5EF4-FFF2-40B4-BE49-F238E27FC236}">
                  <a16:creationId xmlns:a16="http://schemas.microsoft.com/office/drawing/2014/main" id="{53AC28F8-27C8-4F4B-8B32-292B841C6F57}"/>
                </a:ext>
              </a:extLst>
            </p:cNvPr>
            <p:cNvSpPr>
              <a:spLocks/>
            </p:cNvSpPr>
            <p:nvPr>
              <p:custDataLst>
                <p:tags r:id="rId100"/>
              </p:custDataLst>
            </p:nvPr>
          </p:nvSpPr>
          <p:spPr bwMode="auto">
            <a:xfrm>
              <a:off x="7720013" y="4735513"/>
              <a:ext cx="22225" cy="28575"/>
            </a:xfrm>
            <a:custGeom>
              <a:avLst/>
              <a:gdLst>
                <a:gd name="T0" fmla="*/ 0 w 53"/>
                <a:gd name="T1" fmla="*/ 3239366 h 55"/>
                <a:gd name="T2" fmla="*/ 175703 w 53"/>
                <a:gd name="T3" fmla="*/ 4588625 h 55"/>
                <a:gd name="T4" fmla="*/ 879355 w 53"/>
                <a:gd name="T5" fmla="*/ 5938405 h 55"/>
                <a:gd name="T6" fmla="*/ 1582588 w 53"/>
                <a:gd name="T7" fmla="*/ 7288184 h 55"/>
                <a:gd name="T8" fmla="*/ 2637646 w 53"/>
                <a:gd name="T9" fmla="*/ 8907607 h 55"/>
                <a:gd name="T10" fmla="*/ 4572060 w 53"/>
                <a:gd name="T11" fmla="*/ 11876809 h 55"/>
                <a:gd name="T12" fmla="*/ 5802822 w 53"/>
                <a:gd name="T13" fmla="*/ 14846011 h 55"/>
                <a:gd name="T14" fmla="*/ 9319823 w 53"/>
                <a:gd name="T15" fmla="*/ 14846011 h 55"/>
                <a:gd name="T16" fmla="*/ 7034003 w 53"/>
                <a:gd name="T17" fmla="*/ 11066838 h 55"/>
                <a:gd name="T18" fmla="*/ 4923886 w 53"/>
                <a:gd name="T19" fmla="*/ 7827991 h 55"/>
                <a:gd name="T20" fmla="*/ 4044531 w 53"/>
                <a:gd name="T21" fmla="*/ 6208568 h 55"/>
                <a:gd name="T22" fmla="*/ 3340879 w 53"/>
                <a:gd name="T23" fmla="*/ 4318981 h 55"/>
                <a:gd name="T24" fmla="*/ 2813350 w 53"/>
                <a:gd name="T25" fmla="*/ 2159231 h 55"/>
                <a:gd name="T26" fmla="*/ 2461943 w 53"/>
                <a:gd name="T27" fmla="*/ 0 h 55"/>
                <a:gd name="T28" fmla="*/ 1230762 w 53"/>
                <a:gd name="T29" fmla="*/ 1619423 h 55"/>
                <a:gd name="T30" fmla="*/ 0 w 53"/>
                <a:gd name="T31" fmla="*/ 3239366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113" name="Freeform 174">
              <a:extLst>
                <a:ext uri="{FF2B5EF4-FFF2-40B4-BE49-F238E27FC236}">
                  <a16:creationId xmlns:a16="http://schemas.microsoft.com/office/drawing/2014/main" id="{A231FD38-1052-4B28-B381-D869999BE98B}"/>
                </a:ext>
              </a:extLst>
            </p:cNvPr>
            <p:cNvSpPr>
              <a:spLocks/>
            </p:cNvSpPr>
            <p:nvPr>
              <p:custDataLst>
                <p:tags r:id="rId101"/>
              </p:custDataLst>
            </p:nvPr>
          </p:nvSpPr>
          <p:spPr bwMode="auto">
            <a:xfrm>
              <a:off x="7726363" y="4662488"/>
              <a:ext cx="26987" cy="39687"/>
            </a:xfrm>
            <a:custGeom>
              <a:avLst/>
              <a:gdLst>
                <a:gd name="T0" fmla="*/ 0 w 65"/>
                <a:gd name="T1" fmla="*/ 8961021 h 75"/>
                <a:gd name="T2" fmla="*/ 1551545 w 65"/>
                <a:gd name="T3" fmla="*/ 12040810 h 75"/>
                <a:gd name="T4" fmla="*/ 3447693 w 65"/>
                <a:gd name="T5" fmla="*/ 15401590 h 75"/>
                <a:gd name="T6" fmla="*/ 4481918 w 65"/>
                <a:gd name="T7" fmla="*/ 17081715 h 75"/>
                <a:gd name="T8" fmla="*/ 5516143 w 65"/>
                <a:gd name="T9" fmla="*/ 18761841 h 75"/>
                <a:gd name="T10" fmla="*/ 6722669 w 65"/>
                <a:gd name="T11" fmla="*/ 19881571 h 75"/>
                <a:gd name="T12" fmla="*/ 7929196 w 65"/>
                <a:gd name="T13" fmla="*/ 21001831 h 75"/>
                <a:gd name="T14" fmla="*/ 8791119 w 65"/>
                <a:gd name="T15" fmla="*/ 17081715 h 75"/>
                <a:gd name="T16" fmla="*/ 9998061 w 65"/>
                <a:gd name="T17" fmla="*/ 13441003 h 75"/>
                <a:gd name="T18" fmla="*/ 10514966 w 65"/>
                <a:gd name="T19" fmla="*/ 11760877 h 75"/>
                <a:gd name="T20" fmla="*/ 10859984 w 65"/>
                <a:gd name="T21" fmla="*/ 10080752 h 75"/>
                <a:gd name="T22" fmla="*/ 11204587 w 65"/>
                <a:gd name="T23" fmla="*/ 8680559 h 75"/>
                <a:gd name="T24" fmla="*/ 11204587 w 65"/>
                <a:gd name="T25" fmla="*/ 7280896 h 75"/>
                <a:gd name="T26" fmla="*/ 11204587 w 65"/>
                <a:gd name="T27" fmla="*/ 5880703 h 75"/>
                <a:gd name="T28" fmla="*/ 10859984 w 65"/>
                <a:gd name="T29" fmla="*/ 5040376 h 75"/>
                <a:gd name="T30" fmla="*/ 10514966 w 65"/>
                <a:gd name="T31" fmla="*/ 3640183 h 75"/>
                <a:gd name="T32" fmla="*/ 9998061 w 65"/>
                <a:gd name="T33" fmla="*/ 2800385 h 75"/>
                <a:gd name="T34" fmla="*/ 8791119 w 65"/>
                <a:gd name="T35" fmla="*/ 1400193 h 75"/>
                <a:gd name="T36" fmla="*/ 7929196 w 65"/>
                <a:gd name="T37" fmla="*/ 0 h 75"/>
                <a:gd name="T38" fmla="*/ 5860746 w 65"/>
                <a:gd name="T39" fmla="*/ 0 h 75"/>
                <a:gd name="T40" fmla="*/ 4481918 w 65"/>
                <a:gd name="T41" fmla="*/ 0 h 75"/>
                <a:gd name="T42" fmla="*/ 4309616 w 65"/>
                <a:gd name="T43" fmla="*/ 559865 h 75"/>
                <a:gd name="T44" fmla="*/ 4136900 w 65"/>
                <a:gd name="T45" fmla="*/ 1960058 h 75"/>
                <a:gd name="T46" fmla="*/ 3964598 w 65"/>
                <a:gd name="T47" fmla="*/ 2520453 h 75"/>
                <a:gd name="T48" fmla="*/ 3964598 w 65"/>
                <a:gd name="T49" fmla="*/ 3080318 h 75"/>
                <a:gd name="T50" fmla="*/ 4136900 w 65"/>
                <a:gd name="T51" fmla="*/ 3360251 h 75"/>
                <a:gd name="T52" fmla="*/ 4481918 w 65"/>
                <a:gd name="T53" fmla="*/ 3640183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US"/>
            </a:p>
          </p:txBody>
        </p:sp>
        <p:sp>
          <p:nvSpPr>
            <p:cNvPr id="114" name="Freeform 175">
              <a:extLst>
                <a:ext uri="{FF2B5EF4-FFF2-40B4-BE49-F238E27FC236}">
                  <a16:creationId xmlns:a16="http://schemas.microsoft.com/office/drawing/2014/main" id="{0067FC53-78FC-4907-AF9A-980DD6027C97}"/>
                </a:ext>
              </a:extLst>
            </p:cNvPr>
            <p:cNvSpPr>
              <a:spLocks/>
            </p:cNvSpPr>
            <p:nvPr>
              <p:custDataLst>
                <p:tags r:id="rId102"/>
              </p:custDataLst>
            </p:nvPr>
          </p:nvSpPr>
          <p:spPr bwMode="auto">
            <a:xfrm>
              <a:off x="7702550" y="4638675"/>
              <a:ext cx="17463" cy="30163"/>
            </a:xfrm>
            <a:custGeom>
              <a:avLst/>
              <a:gdLst>
                <a:gd name="T0" fmla="*/ 0 w 40"/>
                <a:gd name="T1" fmla="*/ 14673327 h 62"/>
                <a:gd name="T2" fmla="*/ 571913 w 40"/>
                <a:gd name="T3" fmla="*/ 12306582 h 62"/>
                <a:gd name="T4" fmla="*/ 1334173 w 40"/>
                <a:gd name="T5" fmla="*/ 10176756 h 62"/>
                <a:gd name="T6" fmla="*/ 2287216 w 40"/>
                <a:gd name="T7" fmla="*/ 7810012 h 62"/>
                <a:gd name="T8" fmla="*/ 3240260 w 40"/>
                <a:gd name="T9" fmla="*/ 5916617 h 62"/>
                <a:gd name="T10" fmla="*/ 4383650 w 40"/>
                <a:gd name="T11" fmla="*/ 4023222 h 62"/>
                <a:gd name="T12" fmla="*/ 5527476 w 40"/>
                <a:gd name="T13" fmla="*/ 2129826 h 62"/>
                <a:gd name="T14" fmla="*/ 6670866 w 40"/>
                <a:gd name="T15" fmla="*/ 709780 h 62"/>
                <a:gd name="T16" fmla="*/ 7623909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115" name="Freeform 176">
              <a:extLst>
                <a:ext uri="{FF2B5EF4-FFF2-40B4-BE49-F238E27FC236}">
                  <a16:creationId xmlns:a16="http://schemas.microsoft.com/office/drawing/2014/main" id="{74C536FE-E77E-45E4-B239-84ECD16B8BEF}"/>
                </a:ext>
              </a:extLst>
            </p:cNvPr>
            <p:cNvSpPr>
              <a:spLocks/>
            </p:cNvSpPr>
            <p:nvPr>
              <p:custDataLst>
                <p:tags r:id="rId103"/>
              </p:custDataLst>
            </p:nvPr>
          </p:nvSpPr>
          <p:spPr bwMode="auto">
            <a:xfrm>
              <a:off x="7621588" y="4516438"/>
              <a:ext cx="68262" cy="138112"/>
            </a:xfrm>
            <a:custGeom>
              <a:avLst/>
              <a:gdLst>
                <a:gd name="T0" fmla="*/ 29306293 w 159"/>
                <a:gd name="T1" fmla="*/ 73649424 h 259"/>
                <a:gd name="T2" fmla="*/ 29306293 w 159"/>
                <a:gd name="T3" fmla="*/ 71374559 h 259"/>
                <a:gd name="T4" fmla="*/ 29306293 w 159"/>
                <a:gd name="T5" fmla="*/ 69383918 h 259"/>
                <a:gd name="T6" fmla="*/ 29306293 w 159"/>
                <a:gd name="T7" fmla="*/ 67109053 h 259"/>
                <a:gd name="T8" fmla="*/ 29306293 w 159"/>
                <a:gd name="T9" fmla="*/ 64834188 h 259"/>
                <a:gd name="T10" fmla="*/ 29306293 w 159"/>
                <a:gd name="T11" fmla="*/ 63696756 h 259"/>
                <a:gd name="T12" fmla="*/ 29122115 w 159"/>
                <a:gd name="T13" fmla="*/ 62275098 h 259"/>
                <a:gd name="T14" fmla="*/ 28753328 w 159"/>
                <a:gd name="T15" fmla="*/ 61137666 h 259"/>
                <a:gd name="T16" fmla="*/ 28200363 w 159"/>
                <a:gd name="T17" fmla="*/ 59716008 h 259"/>
                <a:gd name="T18" fmla="*/ 26726076 w 159"/>
                <a:gd name="T19" fmla="*/ 57440610 h 259"/>
                <a:gd name="T20" fmla="*/ 24882572 w 159"/>
                <a:gd name="T21" fmla="*/ 55450503 h 259"/>
                <a:gd name="T22" fmla="*/ 22855320 w 159"/>
                <a:gd name="T23" fmla="*/ 53744088 h 259"/>
                <a:gd name="T24" fmla="*/ 20643459 w 159"/>
                <a:gd name="T25" fmla="*/ 52322430 h 259"/>
                <a:gd name="T26" fmla="*/ 18247420 w 159"/>
                <a:gd name="T27" fmla="*/ 51184998 h 259"/>
                <a:gd name="T28" fmla="*/ 16035560 w 159"/>
                <a:gd name="T29" fmla="*/ 50900773 h 259"/>
                <a:gd name="T30" fmla="*/ 15666773 w 159"/>
                <a:gd name="T31" fmla="*/ 50616015 h 259"/>
                <a:gd name="T32" fmla="*/ 15113808 w 159"/>
                <a:gd name="T33" fmla="*/ 50331790 h 259"/>
                <a:gd name="T34" fmla="*/ 14929629 w 159"/>
                <a:gd name="T35" fmla="*/ 49763340 h 259"/>
                <a:gd name="T36" fmla="*/ 14745451 w 159"/>
                <a:gd name="T37" fmla="*/ 49194357 h 259"/>
                <a:gd name="T38" fmla="*/ 14745451 w 159"/>
                <a:gd name="T39" fmla="*/ 47488475 h 259"/>
                <a:gd name="T40" fmla="*/ 14929629 w 159"/>
                <a:gd name="T41" fmla="*/ 45782060 h 259"/>
                <a:gd name="T42" fmla="*/ 15666773 w 159"/>
                <a:gd name="T43" fmla="*/ 42085537 h 259"/>
                <a:gd name="T44" fmla="*/ 16035560 w 159"/>
                <a:gd name="T45" fmla="*/ 40379122 h 259"/>
                <a:gd name="T46" fmla="*/ 13454912 w 159"/>
                <a:gd name="T47" fmla="*/ 40094897 h 259"/>
                <a:gd name="T48" fmla="*/ 10874695 w 159"/>
                <a:gd name="T49" fmla="*/ 39525914 h 259"/>
                <a:gd name="T50" fmla="*/ 8847013 w 159"/>
                <a:gd name="T51" fmla="*/ 38388482 h 259"/>
                <a:gd name="T52" fmla="*/ 7372725 w 159"/>
                <a:gd name="T53" fmla="*/ 36682599 h 259"/>
                <a:gd name="T54" fmla="*/ 5713830 w 159"/>
                <a:gd name="T55" fmla="*/ 34407734 h 259"/>
                <a:gd name="T56" fmla="*/ 4423721 w 159"/>
                <a:gd name="T57" fmla="*/ 32132869 h 259"/>
                <a:gd name="T58" fmla="*/ 3317791 w 159"/>
                <a:gd name="T59" fmla="*/ 29573779 h 259"/>
                <a:gd name="T60" fmla="*/ 2396039 w 159"/>
                <a:gd name="T61" fmla="*/ 26729931 h 259"/>
                <a:gd name="T62" fmla="*/ 1658895 w 159"/>
                <a:gd name="T63" fmla="*/ 23886083 h 259"/>
                <a:gd name="T64" fmla="*/ 1290109 w 159"/>
                <a:gd name="T65" fmla="*/ 20758544 h 259"/>
                <a:gd name="T66" fmla="*/ 921752 w 159"/>
                <a:gd name="T67" fmla="*/ 17061488 h 259"/>
                <a:gd name="T68" fmla="*/ 368787 w 159"/>
                <a:gd name="T69" fmla="*/ 13649191 h 259"/>
                <a:gd name="T70" fmla="*/ 0 w 159"/>
                <a:gd name="T71" fmla="*/ 7108820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16" name="Line 177">
              <a:extLst>
                <a:ext uri="{FF2B5EF4-FFF2-40B4-BE49-F238E27FC236}">
                  <a16:creationId xmlns:a16="http://schemas.microsoft.com/office/drawing/2014/main" id="{1DEC0553-28CB-4146-B961-F903FA5216A8}"/>
                </a:ext>
              </a:extLst>
            </p:cNvPr>
            <p:cNvSpPr>
              <a:spLocks noChangeShapeType="1"/>
            </p:cNvSpPr>
            <p:nvPr>
              <p:custDataLst>
                <p:tags r:id="rId104"/>
              </p:custDataLst>
            </p:nvPr>
          </p:nvSpPr>
          <p:spPr bwMode="auto">
            <a:xfrm flipH="1" flipV="1">
              <a:off x="7615238" y="4483100"/>
              <a:ext cx="6350" cy="333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7" name="Freeform 178">
              <a:extLst>
                <a:ext uri="{FF2B5EF4-FFF2-40B4-BE49-F238E27FC236}">
                  <a16:creationId xmlns:a16="http://schemas.microsoft.com/office/drawing/2014/main" id="{7159A40D-8CD9-40D4-8D23-DF1EE569C4E3}"/>
                </a:ext>
              </a:extLst>
            </p:cNvPr>
            <p:cNvSpPr>
              <a:spLocks/>
            </p:cNvSpPr>
            <p:nvPr>
              <p:custDataLst>
                <p:tags r:id="rId105"/>
              </p:custDataLst>
            </p:nvPr>
          </p:nvSpPr>
          <p:spPr bwMode="auto">
            <a:xfrm>
              <a:off x="7615238" y="4467225"/>
              <a:ext cx="6350" cy="15875"/>
            </a:xfrm>
            <a:custGeom>
              <a:avLst/>
              <a:gdLst>
                <a:gd name="T0" fmla="*/ 0 w 13"/>
                <a:gd name="T1" fmla="*/ 10080625 h 25"/>
                <a:gd name="T2" fmla="*/ 238369 w 13"/>
                <a:gd name="T3" fmla="*/ 7661275 h 25"/>
                <a:gd name="T4" fmla="*/ 954454 w 13"/>
                <a:gd name="T5" fmla="*/ 5241925 h 25"/>
                <a:gd name="T6" fmla="*/ 1908908 w 13"/>
                <a:gd name="T7" fmla="*/ 2419350 h 25"/>
                <a:gd name="T8" fmla="*/ 3101731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118" name="Line 179">
              <a:extLst>
                <a:ext uri="{FF2B5EF4-FFF2-40B4-BE49-F238E27FC236}">
                  <a16:creationId xmlns:a16="http://schemas.microsoft.com/office/drawing/2014/main" id="{766EBD98-9162-42D2-BEA3-0FE35A242558}"/>
                </a:ext>
              </a:extLst>
            </p:cNvPr>
            <p:cNvSpPr>
              <a:spLocks noChangeShapeType="1"/>
            </p:cNvSpPr>
            <p:nvPr>
              <p:custDataLst>
                <p:tags r:id="rId106"/>
              </p:custDataLst>
            </p:nvPr>
          </p:nvSpPr>
          <p:spPr bwMode="auto">
            <a:xfrm flipV="1">
              <a:off x="7621588" y="4454525"/>
              <a:ext cx="0"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9" name="Freeform 180">
              <a:extLst>
                <a:ext uri="{FF2B5EF4-FFF2-40B4-BE49-F238E27FC236}">
                  <a16:creationId xmlns:a16="http://schemas.microsoft.com/office/drawing/2014/main" id="{861748DC-3B1B-46C2-B387-9F4398240CEE}"/>
                </a:ext>
              </a:extLst>
            </p:cNvPr>
            <p:cNvSpPr>
              <a:spLocks/>
            </p:cNvSpPr>
            <p:nvPr>
              <p:custDataLst>
                <p:tags r:id="rId107"/>
              </p:custDataLst>
            </p:nvPr>
          </p:nvSpPr>
          <p:spPr bwMode="auto">
            <a:xfrm>
              <a:off x="7575550" y="4387850"/>
              <a:ext cx="46038" cy="66675"/>
            </a:xfrm>
            <a:custGeom>
              <a:avLst/>
              <a:gdLst>
                <a:gd name="T0" fmla="*/ 21194974 w 100"/>
                <a:gd name="T1" fmla="*/ 36142729 h 123"/>
                <a:gd name="T2" fmla="*/ 19075385 w 100"/>
                <a:gd name="T3" fmla="*/ 35848925 h 123"/>
                <a:gd name="T4" fmla="*/ 16108236 w 100"/>
                <a:gd name="T5" fmla="*/ 34967514 h 123"/>
                <a:gd name="T6" fmla="*/ 12717077 w 100"/>
                <a:gd name="T7" fmla="*/ 33497954 h 123"/>
                <a:gd name="T8" fmla="*/ 9113682 w 100"/>
                <a:gd name="T9" fmla="*/ 31441328 h 123"/>
                <a:gd name="T10" fmla="*/ 7206328 w 100"/>
                <a:gd name="T11" fmla="*/ 30266113 h 123"/>
                <a:gd name="T12" fmla="*/ 5722523 w 100"/>
                <a:gd name="T13" fmla="*/ 29090357 h 123"/>
                <a:gd name="T14" fmla="*/ 4239179 w 100"/>
                <a:gd name="T15" fmla="*/ 27621338 h 123"/>
                <a:gd name="T16" fmla="*/ 2755374 w 100"/>
                <a:gd name="T17" fmla="*/ 26152320 h 123"/>
                <a:gd name="T18" fmla="*/ 1695580 w 100"/>
                <a:gd name="T19" fmla="*/ 24682760 h 123"/>
                <a:gd name="T20" fmla="*/ 848020 w 100"/>
                <a:gd name="T21" fmla="*/ 23213741 h 123"/>
                <a:gd name="T22" fmla="*/ 211775 w 100"/>
                <a:gd name="T23" fmla="*/ 21450377 h 123"/>
                <a:gd name="T24" fmla="*/ 0 w 100"/>
                <a:gd name="T25" fmla="*/ 19981359 h 123"/>
                <a:gd name="T26" fmla="*/ 424010 w 100"/>
                <a:gd name="T27" fmla="*/ 16161370 h 123"/>
                <a:gd name="T28" fmla="*/ 1483805 w 100"/>
                <a:gd name="T29" fmla="*/ 10578558 h 123"/>
                <a:gd name="T30" fmla="*/ 2331364 w 100"/>
                <a:gd name="T31" fmla="*/ 4995204 h 123"/>
                <a:gd name="T32" fmla="*/ 2755374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120" name="Freeform 181">
              <a:extLst>
                <a:ext uri="{FF2B5EF4-FFF2-40B4-BE49-F238E27FC236}">
                  <a16:creationId xmlns:a16="http://schemas.microsoft.com/office/drawing/2014/main" id="{A95D6F57-012E-4859-8C56-66B5722A3E9C}"/>
                </a:ext>
              </a:extLst>
            </p:cNvPr>
            <p:cNvSpPr>
              <a:spLocks/>
            </p:cNvSpPr>
            <p:nvPr>
              <p:custDataLst>
                <p:tags r:id="rId108"/>
              </p:custDataLst>
            </p:nvPr>
          </p:nvSpPr>
          <p:spPr bwMode="auto">
            <a:xfrm>
              <a:off x="7589838" y="4330700"/>
              <a:ext cx="1587" cy="50800"/>
            </a:xfrm>
            <a:custGeom>
              <a:avLst/>
              <a:gdLst>
                <a:gd name="T0" fmla="*/ 503714 w 5"/>
                <a:gd name="T1" fmla="*/ 0 h 99"/>
                <a:gd name="T2" fmla="*/ 403098 w 5"/>
                <a:gd name="T3" fmla="*/ 8952089 h 99"/>
                <a:gd name="T4" fmla="*/ 100616 w 5"/>
                <a:gd name="T5" fmla="*/ 15535051 h 99"/>
                <a:gd name="T6" fmla="*/ 0 w 5"/>
                <a:gd name="T7" fmla="*/ 18167927 h 99"/>
                <a:gd name="T8" fmla="*/ 0 w 5"/>
                <a:gd name="T9" fmla="*/ 20537568 h 99"/>
                <a:gd name="T10" fmla="*/ 201549 w 5"/>
                <a:gd name="T11" fmla="*/ 22907208 h 99"/>
                <a:gd name="T12" fmla="*/ 503714 w 5"/>
                <a:gd name="T13" fmla="*/ 26067071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US"/>
            </a:p>
          </p:txBody>
        </p:sp>
        <p:sp>
          <p:nvSpPr>
            <p:cNvPr id="121" name="Freeform 182">
              <a:extLst>
                <a:ext uri="{FF2B5EF4-FFF2-40B4-BE49-F238E27FC236}">
                  <a16:creationId xmlns:a16="http://schemas.microsoft.com/office/drawing/2014/main" id="{850C54AF-C7C3-41C8-803E-D92592F72C5E}"/>
                </a:ext>
              </a:extLst>
            </p:cNvPr>
            <p:cNvSpPr>
              <a:spLocks/>
            </p:cNvSpPr>
            <p:nvPr>
              <p:custDataLst>
                <p:tags r:id="rId109"/>
              </p:custDataLst>
            </p:nvPr>
          </p:nvSpPr>
          <p:spPr bwMode="auto">
            <a:xfrm>
              <a:off x="7596188" y="4324350"/>
              <a:ext cx="7937" cy="36513"/>
            </a:xfrm>
            <a:custGeom>
              <a:avLst/>
              <a:gdLst>
                <a:gd name="T0" fmla="*/ 4499712 w 14"/>
                <a:gd name="T1" fmla="*/ 0 h 68"/>
                <a:gd name="T2" fmla="*/ 2571021 w 14"/>
                <a:gd name="T3" fmla="*/ 4612862 h 68"/>
                <a:gd name="T4" fmla="*/ 1285794 w 14"/>
                <a:gd name="T5" fmla="*/ 9514061 h 68"/>
                <a:gd name="T6" fmla="*/ 642897 w 14"/>
                <a:gd name="T7" fmla="*/ 14991935 h 68"/>
                <a:gd name="T8" fmla="*/ 0 w 14"/>
                <a:gd name="T9" fmla="*/ 19604796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US"/>
            </a:p>
          </p:txBody>
        </p:sp>
        <p:sp>
          <p:nvSpPr>
            <p:cNvPr id="122" name="Freeform 183">
              <a:extLst>
                <a:ext uri="{FF2B5EF4-FFF2-40B4-BE49-F238E27FC236}">
                  <a16:creationId xmlns:a16="http://schemas.microsoft.com/office/drawing/2014/main" id="{D00FB7A9-99CF-4707-9C4D-59E4FC7020F3}"/>
                </a:ext>
              </a:extLst>
            </p:cNvPr>
            <p:cNvSpPr>
              <a:spLocks/>
            </p:cNvSpPr>
            <p:nvPr>
              <p:custDataLst>
                <p:tags r:id="rId110"/>
              </p:custDataLst>
            </p:nvPr>
          </p:nvSpPr>
          <p:spPr bwMode="auto">
            <a:xfrm>
              <a:off x="7612063" y="4305300"/>
              <a:ext cx="1587" cy="22225"/>
            </a:xfrm>
            <a:custGeom>
              <a:avLst/>
              <a:gdLst>
                <a:gd name="T0" fmla="*/ 0 w 1587"/>
                <a:gd name="T1" fmla="*/ 0 h 43"/>
                <a:gd name="T2" fmla="*/ 0 w 1587"/>
                <a:gd name="T3" fmla="*/ 3472785 h 43"/>
                <a:gd name="T4" fmla="*/ 0 w 1587"/>
                <a:gd name="T5" fmla="*/ 6945571 h 43"/>
                <a:gd name="T6" fmla="*/ 0 w 1587"/>
                <a:gd name="T7" fmla="*/ 9884440 h 43"/>
                <a:gd name="T8" fmla="*/ 0 w 1587"/>
                <a:gd name="T9" fmla="*/ 11487224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123" name="Line 184">
              <a:extLst>
                <a:ext uri="{FF2B5EF4-FFF2-40B4-BE49-F238E27FC236}">
                  <a16:creationId xmlns:a16="http://schemas.microsoft.com/office/drawing/2014/main" id="{A3B5254B-FE72-4866-ACA3-E2D750D7313A}"/>
                </a:ext>
              </a:extLst>
            </p:cNvPr>
            <p:cNvSpPr>
              <a:spLocks noChangeShapeType="1"/>
            </p:cNvSpPr>
            <p:nvPr>
              <p:custDataLst>
                <p:tags r:id="rId111"/>
              </p:custDataLst>
            </p:nvPr>
          </p:nvSpPr>
          <p:spPr bwMode="auto">
            <a:xfrm flipV="1">
              <a:off x="7612063" y="4324350"/>
              <a:ext cx="1587"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4" name="Freeform 185">
              <a:extLst>
                <a:ext uri="{FF2B5EF4-FFF2-40B4-BE49-F238E27FC236}">
                  <a16:creationId xmlns:a16="http://schemas.microsoft.com/office/drawing/2014/main" id="{B98D3302-7863-439B-A954-AF680164A430}"/>
                </a:ext>
              </a:extLst>
            </p:cNvPr>
            <p:cNvSpPr>
              <a:spLocks/>
            </p:cNvSpPr>
            <p:nvPr>
              <p:custDataLst>
                <p:tags r:id="rId112"/>
              </p:custDataLst>
            </p:nvPr>
          </p:nvSpPr>
          <p:spPr bwMode="auto">
            <a:xfrm>
              <a:off x="7596188" y="4308475"/>
              <a:ext cx="1587" cy="15875"/>
            </a:xfrm>
            <a:custGeom>
              <a:avLst/>
              <a:gdLst>
                <a:gd name="T0" fmla="*/ 0 w 1587"/>
                <a:gd name="T1" fmla="*/ 8129536 h 31"/>
                <a:gd name="T2" fmla="*/ 0 w 1587"/>
                <a:gd name="T3" fmla="*/ 5769282 h 31"/>
                <a:gd name="T4" fmla="*/ 0 w 1587"/>
                <a:gd name="T5" fmla="*/ 3933415 h 31"/>
                <a:gd name="T6" fmla="*/ 0 w 1587"/>
                <a:gd name="T7" fmla="*/ 2098060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25" name="Freeform 186">
              <a:extLst>
                <a:ext uri="{FF2B5EF4-FFF2-40B4-BE49-F238E27FC236}">
                  <a16:creationId xmlns:a16="http://schemas.microsoft.com/office/drawing/2014/main" id="{1D179168-AA51-46C8-9784-1FD0C8A6F915}"/>
                </a:ext>
              </a:extLst>
            </p:cNvPr>
            <p:cNvSpPr>
              <a:spLocks/>
            </p:cNvSpPr>
            <p:nvPr>
              <p:custDataLst>
                <p:tags r:id="rId113"/>
              </p:custDataLst>
            </p:nvPr>
          </p:nvSpPr>
          <p:spPr bwMode="auto">
            <a:xfrm>
              <a:off x="7316788" y="5297488"/>
              <a:ext cx="96837" cy="87312"/>
            </a:xfrm>
            <a:custGeom>
              <a:avLst/>
              <a:gdLst>
                <a:gd name="T0" fmla="*/ 3519272 w 225"/>
                <a:gd name="T1" fmla="*/ 43190134 h 167"/>
                <a:gd name="T2" fmla="*/ 1296755 w 225"/>
                <a:gd name="T3" fmla="*/ 38816118 h 167"/>
                <a:gd name="T4" fmla="*/ 0 w 225"/>
                <a:gd name="T5" fmla="*/ 35535868 h 167"/>
                <a:gd name="T6" fmla="*/ 185066 w 225"/>
                <a:gd name="T7" fmla="*/ 29522251 h 167"/>
                <a:gd name="T8" fmla="*/ 2037450 w 225"/>
                <a:gd name="T9" fmla="*/ 18588258 h 167"/>
                <a:gd name="T10" fmla="*/ 4445464 w 225"/>
                <a:gd name="T11" fmla="*/ 10660551 h 167"/>
                <a:gd name="T12" fmla="*/ 6297848 w 225"/>
                <a:gd name="T13" fmla="*/ 5740176 h 167"/>
                <a:gd name="T14" fmla="*/ 8150232 w 225"/>
                <a:gd name="T15" fmla="*/ 2459926 h 167"/>
                <a:gd name="T16" fmla="*/ 10002617 w 225"/>
                <a:gd name="T17" fmla="*/ 273441 h 167"/>
                <a:gd name="T18" fmla="*/ 12040067 w 225"/>
                <a:gd name="T19" fmla="*/ 273441 h 167"/>
                <a:gd name="T20" fmla="*/ 14077517 w 225"/>
                <a:gd name="T21" fmla="*/ 819801 h 167"/>
                <a:gd name="T22" fmla="*/ 16300465 w 225"/>
                <a:gd name="T23" fmla="*/ 2187008 h 167"/>
                <a:gd name="T24" fmla="*/ 18523412 w 225"/>
                <a:gd name="T25" fmla="*/ 4646934 h 167"/>
                <a:gd name="T26" fmla="*/ 20745928 w 225"/>
                <a:gd name="T27" fmla="*/ 6560500 h 167"/>
                <a:gd name="T28" fmla="*/ 23709571 w 225"/>
                <a:gd name="T29" fmla="*/ 6560500 h 167"/>
                <a:gd name="T30" fmla="*/ 26858710 w 225"/>
                <a:gd name="T31" fmla="*/ 5193816 h 167"/>
                <a:gd name="T32" fmla="*/ 30563479 w 225"/>
                <a:gd name="T33" fmla="*/ 1913566 h 167"/>
                <a:gd name="T34" fmla="*/ 41677354 w 225"/>
                <a:gd name="T35" fmla="*/ 0 h 167"/>
                <a:gd name="T36" fmla="*/ 39824969 w 225"/>
                <a:gd name="T37" fmla="*/ 6013618 h 167"/>
                <a:gd name="T38" fmla="*/ 37231890 w 225"/>
                <a:gd name="T39" fmla="*/ 11207434 h 167"/>
                <a:gd name="T40" fmla="*/ 31119108 w 225"/>
                <a:gd name="T41" fmla="*/ 19681500 h 167"/>
                <a:gd name="T42" fmla="*/ 25561955 w 225"/>
                <a:gd name="T43" fmla="*/ 27335243 h 167"/>
                <a:gd name="T44" fmla="*/ 23895068 w 225"/>
                <a:gd name="T45" fmla="*/ 31162376 h 167"/>
                <a:gd name="T46" fmla="*/ 23339439 w 225"/>
                <a:gd name="T47" fmla="*/ 35535868 h 167"/>
                <a:gd name="T48" fmla="*/ 22783809 w 225"/>
                <a:gd name="T49" fmla="*/ 34442626 h 167"/>
                <a:gd name="T50" fmla="*/ 22227750 w 225"/>
                <a:gd name="T51" fmla="*/ 31982177 h 167"/>
                <a:gd name="T52" fmla="*/ 19634670 w 225"/>
                <a:gd name="T53" fmla="*/ 33075942 h 167"/>
                <a:gd name="T54" fmla="*/ 17967783 w 225"/>
                <a:gd name="T55" fmla="*/ 34989508 h 167"/>
                <a:gd name="T56" fmla="*/ 14818643 w 225"/>
                <a:gd name="T57" fmla="*/ 39636442 h 167"/>
                <a:gd name="T58" fmla="*/ 13151325 w 225"/>
                <a:gd name="T59" fmla="*/ 41822927 h 167"/>
                <a:gd name="T60" fmla="*/ 11113875 w 225"/>
                <a:gd name="T61" fmla="*/ 43736493 h 167"/>
                <a:gd name="T62" fmla="*/ 8520795 w 225"/>
                <a:gd name="T63" fmla="*/ 45103177 h 167"/>
                <a:gd name="T64" fmla="*/ 4816027 w 225"/>
                <a:gd name="T65" fmla="*/ 45650060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US"/>
            </a:p>
          </p:txBody>
        </p:sp>
        <p:sp>
          <p:nvSpPr>
            <p:cNvPr id="126" name="Freeform 187">
              <a:extLst>
                <a:ext uri="{FF2B5EF4-FFF2-40B4-BE49-F238E27FC236}">
                  <a16:creationId xmlns:a16="http://schemas.microsoft.com/office/drawing/2014/main" id="{F842AECE-E421-4F20-A1F7-8399C2A79B75}"/>
                </a:ext>
              </a:extLst>
            </p:cNvPr>
            <p:cNvSpPr>
              <a:spLocks/>
            </p:cNvSpPr>
            <p:nvPr>
              <p:custDataLst>
                <p:tags r:id="rId114"/>
              </p:custDataLst>
            </p:nvPr>
          </p:nvSpPr>
          <p:spPr bwMode="auto">
            <a:xfrm>
              <a:off x="7454900" y="4516438"/>
              <a:ext cx="3175" cy="17462"/>
            </a:xfrm>
            <a:custGeom>
              <a:avLst/>
              <a:gdLst>
                <a:gd name="T0" fmla="*/ 0 w 7"/>
                <a:gd name="T1" fmla="*/ 9837302 h 31"/>
                <a:gd name="T2" fmla="*/ 1028700 w 7"/>
                <a:gd name="T3" fmla="*/ 6981257 h 31"/>
                <a:gd name="T4" fmla="*/ 1234168 w 7"/>
                <a:gd name="T5" fmla="*/ 4125211 h 31"/>
                <a:gd name="T6" fmla="*/ 1440089 w 7"/>
                <a:gd name="T7" fmla="*/ 1904030 h 31"/>
                <a:gd name="T8" fmla="*/ 1440089 w 7"/>
                <a:gd name="T9" fmla="*/ 0 h 31"/>
                <a:gd name="T10" fmla="*/ 1234168 w 7"/>
                <a:gd name="T11" fmla="*/ 1904030 h 31"/>
                <a:gd name="T12" fmla="*/ 822779 w 7"/>
                <a:gd name="T13" fmla="*/ 4125211 h 31"/>
                <a:gd name="T14" fmla="*/ 205921 w 7"/>
                <a:gd name="T15" fmla="*/ 6981257 h 31"/>
                <a:gd name="T16" fmla="*/ 0 w 7"/>
                <a:gd name="T17" fmla="*/ 9837302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127" name="Freeform 188">
              <a:extLst>
                <a:ext uri="{FF2B5EF4-FFF2-40B4-BE49-F238E27FC236}">
                  <a16:creationId xmlns:a16="http://schemas.microsoft.com/office/drawing/2014/main" id="{BFBB738B-B38B-4021-91E2-4F83983E1DDE}"/>
                </a:ext>
              </a:extLst>
            </p:cNvPr>
            <p:cNvSpPr>
              <a:spLocks/>
            </p:cNvSpPr>
            <p:nvPr>
              <p:custDataLst>
                <p:tags r:id="rId115"/>
              </p:custDataLst>
            </p:nvPr>
          </p:nvSpPr>
          <p:spPr bwMode="auto">
            <a:xfrm>
              <a:off x="7388225" y="4438650"/>
              <a:ext cx="15875" cy="15875"/>
            </a:xfrm>
            <a:custGeom>
              <a:avLst/>
              <a:gdLst>
                <a:gd name="T0" fmla="*/ 7636837 w 33"/>
                <a:gd name="T1" fmla="*/ 8129536 h 31"/>
                <a:gd name="T2" fmla="*/ 7636837 w 33"/>
                <a:gd name="T3" fmla="*/ 0 h 31"/>
                <a:gd name="T4" fmla="*/ 6248496 w 33"/>
                <a:gd name="T5" fmla="*/ 0 h 31"/>
                <a:gd name="T6" fmla="*/ 5091064 w 33"/>
                <a:gd name="T7" fmla="*/ 524387 h 31"/>
                <a:gd name="T8" fmla="*/ 3702723 w 33"/>
                <a:gd name="T9" fmla="*/ 1310968 h 31"/>
                <a:gd name="T10" fmla="*/ 2545773 w 33"/>
                <a:gd name="T11" fmla="*/ 2098060 h 31"/>
                <a:gd name="T12" fmla="*/ 1388341 w 33"/>
                <a:gd name="T13" fmla="*/ 3146835 h 31"/>
                <a:gd name="T14" fmla="*/ 694170 w 33"/>
                <a:gd name="T15" fmla="*/ 4196121 h 31"/>
                <a:gd name="T16" fmla="*/ 231390 w 33"/>
                <a:gd name="T17" fmla="*/ 5507089 h 31"/>
                <a:gd name="T18" fmla="*/ 0 w 33"/>
                <a:gd name="T19" fmla="*/ 6555863 h 31"/>
                <a:gd name="T20" fmla="*/ 231390 w 33"/>
                <a:gd name="T21" fmla="*/ 7080762 h 31"/>
                <a:gd name="T22" fmla="*/ 694170 w 33"/>
                <a:gd name="T23" fmla="*/ 7605149 h 31"/>
                <a:gd name="T24" fmla="*/ 1388341 w 33"/>
                <a:gd name="T25" fmla="*/ 7867343 h 31"/>
                <a:gd name="T26" fmla="*/ 2545773 w 33"/>
                <a:gd name="T27" fmla="*/ 7867343 h 31"/>
                <a:gd name="T28" fmla="*/ 5091064 w 33"/>
                <a:gd name="T29" fmla="*/ 8129536 h 31"/>
                <a:gd name="T30" fmla="*/ 7636837 w 33"/>
                <a:gd name="T31" fmla="*/ 8129536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US"/>
            </a:p>
          </p:txBody>
        </p:sp>
        <p:sp>
          <p:nvSpPr>
            <p:cNvPr id="128" name="Freeform 189">
              <a:extLst>
                <a:ext uri="{FF2B5EF4-FFF2-40B4-BE49-F238E27FC236}">
                  <a16:creationId xmlns:a16="http://schemas.microsoft.com/office/drawing/2014/main" id="{ED576650-C6FC-48AD-8B9A-6DDC40014E5B}"/>
                </a:ext>
              </a:extLst>
            </p:cNvPr>
            <p:cNvSpPr>
              <a:spLocks/>
            </p:cNvSpPr>
            <p:nvPr>
              <p:custDataLst>
                <p:tags r:id="rId116"/>
              </p:custDataLst>
            </p:nvPr>
          </p:nvSpPr>
          <p:spPr bwMode="auto">
            <a:xfrm>
              <a:off x="7404100" y="4351338"/>
              <a:ext cx="3175" cy="9525"/>
            </a:xfrm>
            <a:custGeom>
              <a:avLst/>
              <a:gdLst>
                <a:gd name="T0" fmla="*/ 0 w 13"/>
                <a:gd name="T1" fmla="*/ 4775033 h 19"/>
                <a:gd name="T2" fmla="*/ 119185 w 13"/>
                <a:gd name="T3" fmla="*/ 4523874 h 19"/>
                <a:gd name="T4" fmla="*/ 298206 w 13"/>
                <a:gd name="T5" fmla="*/ 4272213 h 19"/>
                <a:gd name="T6" fmla="*/ 417635 w 13"/>
                <a:gd name="T7" fmla="*/ 3769895 h 19"/>
                <a:gd name="T8" fmla="*/ 477227 w 13"/>
                <a:gd name="T9" fmla="*/ 3015916 h 19"/>
                <a:gd name="T10" fmla="*/ 715840 w 13"/>
                <a:gd name="T11" fmla="*/ 1507958 h 19"/>
                <a:gd name="T12" fmla="*/ 775433 w 13"/>
                <a:gd name="T13" fmla="*/ 0 h 19"/>
                <a:gd name="T14" fmla="*/ 0 w 13"/>
                <a:gd name="T15" fmla="*/ 4775033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129" name="Freeform 190">
              <a:extLst>
                <a:ext uri="{FF2B5EF4-FFF2-40B4-BE49-F238E27FC236}">
                  <a16:creationId xmlns:a16="http://schemas.microsoft.com/office/drawing/2014/main" id="{EE21A0D0-73E8-4B93-95C5-B4C61FF1CC53}"/>
                </a:ext>
              </a:extLst>
            </p:cNvPr>
            <p:cNvSpPr>
              <a:spLocks/>
            </p:cNvSpPr>
            <p:nvPr>
              <p:custDataLst>
                <p:tags r:id="rId117"/>
              </p:custDataLst>
            </p:nvPr>
          </p:nvSpPr>
          <p:spPr bwMode="auto">
            <a:xfrm>
              <a:off x="7243763" y="4354513"/>
              <a:ext cx="36512" cy="22225"/>
            </a:xfrm>
            <a:custGeom>
              <a:avLst/>
              <a:gdLst>
                <a:gd name="T0" fmla="*/ 9511166 w 87"/>
                <a:gd name="T1" fmla="*/ 11760729 h 42"/>
                <a:gd name="T2" fmla="*/ 10391651 w 87"/>
                <a:gd name="T3" fmla="*/ 11760729 h 42"/>
                <a:gd name="T4" fmla="*/ 11272136 w 87"/>
                <a:gd name="T5" fmla="*/ 11480800 h 42"/>
                <a:gd name="T6" fmla="*/ 11976775 w 87"/>
                <a:gd name="T7" fmla="*/ 11200871 h 42"/>
                <a:gd name="T8" fmla="*/ 12505150 w 87"/>
                <a:gd name="T9" fmla="*/ 10640483 h 42"/>
                <a:gd name="T10" fmla="*/ 13209790 w 87"/>
                <a:gd name="T11" fmla="*/ 9520767 h 42"/>
                <a:gd name="T12" fmla="*/ 13738165 w 87"/>
                <a:gd name="T13" fmla="*/ 7840662 h 42"/>
                <a:gd name="T14" fmla="*/ 13914429 w 87"/>
                <a:gd name="T15" fmla="*/ 6160558 h 42"/>
                <a:gd name="T16" fmla="*/ 14090275 w 87"/>
                <a:gd name="T17" fmla="*/ 4480454 h 42"/>
                <a:gd name="T18" fmla="*/ 14442804 w 87"/>
                <a:gd name="T19" fmla="*/ 3080279 h 42"/>
                <a:gd name="T20" fmla="*/ 15323289 w 87"/>
                <a:gd name="T21" fmla="*/ 1680104 h 42"/>
                <a:gd name="T22" fmla="*/ 13561900 w 87"/>
                <a:gd name="T23" fmla="*/ 559858 h 42"/>
                <a:gd name="T24" fmla="*/ 11800511 w 87"/>
                <a:gd name="T25" fmla="*/ 0 h 42"/>
                <a:gd name="T26" fmla="*/ 10039541 w 87"/>
                <a:gd name="T27" fmla="*/ 0 h 42"/>
                <a:gd name="T28" fmla="*/ 8278152 w 87"/>
                <a:gd name="T29" fmla="*/ 0 h 42"/>
                <a:gd name="T30" fmla="*/ 7045137 w 87"/>
                <a:gd name="T31" fmla="*/ 0 h 42"/>
                <a:gd name="T32" fmla="*/ 5636278 w 87"/>
                <a:gd name="T33" fmla="*/ 559858 h 42"/>
                <a:gd name="T34" fmla="*/ 4403263 w 87"/>
                <a:gd name="T35" fmla="*/ 1120246 h 42"/>
                <a:gd name="T36" fmla="*/ 3346514 w 87"/>
                <a:gd name="T37" fmla="*/ 1680104 h 42"/>
                <a:gd name="T38" fmla="*/ 1408860 w 87"/>
                <a:gd name="T39" fmla="*/ 3360208 h 42"/>
                <a:gd name="T40" fmla="*/ 0 w 87"/>
                <a:gd name="T41" fmla="*/ 5040313 h 42"/>
                <a:gd name="T42" fmla="*/ 1937234 w 87"/>
                <a:gd name="T43" fmla="*/ 6720417 h 42"/>
                <a:gd name="T44" fmla="*/ 4755373 w 87"/>
                <a:gd name="T45" fmla="*/ 8960379 h 42"/>
                <a:gd name="T46" fmla="*/ 7573512 w 87"/>
                <a:gd name="T47" fmla="*/ 10920942 h 42"/>
                <a:gd name="T48" fmla="*/ 9511166 w 87"/>
                <a:gd name="T49" fmla="*/ 11760729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US"/>
            </a:p>
          </p:txBody>
        </p:sp>
        <p:sp>
          <p:nvSpPr>
            <p:cNvPr id="130" name="Freeform 191">
              <a:extLst>
                <a:ext uri="{FF2B5EF4-FFF2-40B4-BE49-F238E27FC236}">
                  <a16:creationId xmlns:a16="http://schemas.microsoft.com/office/drawing/2014/main" id="{E22DD2DE-57F9-46E3-A5F9-F64E2C43C7E1}"/>
                </a:ext>
              </a:extLst>
            </p:cNvPr>
            <p:cNvSpPr>
              <a:spLocks/>
            </p:cNvSpPr>
            <p:nvPr>
              <p:custDataLst>
                <p:tags r:id="rId118"/>
              </p:custDataLst>
            </p:nvPr>
          </p:nvSpPr>
          <p:spPr bwMode="auto">
            <a:xfrm>
              <a:off x="7488238" y="4818063"/>
              <a:ext cx="1587" cy="14287"/>
            </a:xfrm>
            <a:custGeom>
              <a:avLst/>
              <a:gdLst>
                <a:gd name="T0" fmla="*/ 0 w 7"/>
                <a:gd name="T1" fmla="*/ 0 h 31"/>
                <a:gd name="T2" fmla="*/ 359796 w 7"/>
                <a:gd name="T3" fmla="*/ 0 h 31"/>
                <a:gd name="T4" fmla="*/ 359796 w 7"/>
                <a:gd name="T5" fmla="*/ 3823653 h 31"/>
                <a:gd name="T6" fmla="*/ 0 w 7"/>
                <a:gd name="T7" fmla="*/ 6585385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31" name="Freeform 192">
              <a:extLst>
                <a:ext uri="{FF2B5EF4-FFF2-40B4-BE49-F238E27FC236}">
                  <a16:creationId xmlns:a16="http://schemas.microsoft.com/office/drawing/2014/main" id="{5132B125-E453-4274-8435-13C85462C5A3}"/>
                </a:ext>
              </a:extLst>
            </p:cNvPr>
            <p:cNvSpPr>
              <a:spLocks/>
            </p:cNvSpPr>
            <p:nvPr>
              <p:custDataLst>
                <p:tags r:id="rId119"/>
              </p:custDataLst>
            </p:nvPr>
          </p:nvSpPr>
          <p:spPr bwMode="auto">
            <a:xfrm>
              <a:off x="6724650" y="4324350"/>
              <a:ext cx="1019175" cy="908050"/>
            </a:xfrm>
            <a:custGeom>
              <a:avLst/>
              <a:gdLst>
                <a:gd name="T0" fmla="*/ 40874512 w 2332"/>
                <a:gd name="T1" fmla="*/ 194556139 h 1731"/>
                <a:gd name="T2" fmla="*/ 62076149 w 2332"/>
                <a:gd name="T3" fmla="*/ 178595232 h 1731"/>
                <a:gd name="T4" fmla="*/ 83086363 w 2332"/>
                <a:gd name="T5" fmla="*/ 166762255 h 1731"/>
                <a:gd name="T6" fmla="*/ 115557051 w 2332"/>
                <a:gd name="T7" fmla="*/ 156855539 h 1731"/>
                <a:gd name="T8" fmla="*/ 129308921 w 2332"/>
                <a:gd name="T9" fmla="*/ 120256036 h 1731"/>
                <a:gd name="T10" fmla="*/ 144780539 w 2332"/>
                <a:gd name="T11" fmla="*/ 120806322 h 1731"/>
                <a:gd name="T12" fmla="*/ 149746614 w 2332"/>
                <a:gd name="T13" fmla="*/ 99892320 h 1731"/>
                <a:gd name="T14" fmla="*/ 165408781 w 2332"/>
                <a:gd name="T15" fmla="*/ 86958771 h 1731"/>
                <a:gd name="T16" fmla="*/ 179352074 w 2332"/>
                <a:gd name="T17" fmla="*/ 67695626 h 1731"/>
                <a:gd name="T18" fmla="*/ 196160158 w 2332"/>
                <a:gd name="T19" fmla="*/ 61366554 h 1731"/>
                <a:gd name="T20" fmla="*/ 205901320 w 2332"/>
                <a:gd name="T21" fmla="*/ 78152627 h 1731"/>
                <a:gd name="T22" fmla="*/ 216788400 w 2332"/>
                <a:gd name="T23" fmla="*/ 74300103 h 1731"/>
                <a:gd name="T24" fmla="*/ 224619702 w 2332"/>
                <a:gd name="T25" fmla="*/ 47331910 h 1731"/>
                <a:gd name="T26" fmla="*/ 252124316 w 2332"/>
                <a:gd name="T27" fmla="*/ 32196694 h 1731"/>
                <a:gd name="T28" fmla="*/ 255180092 w 2332"/>
                <a:gd name="T29" fmla="*/ 11282692 h 1731"/>
                <a:gd name="T30" fmla="*/ 273516502 w 2332"/>
                <a:gd name="T31" fmla="*/ 29444741 h 1731"/>
                <a:gd name="T32" fmla="*/ 294908688 w 2332"/>
                <a:gd name="T33" fmla="*/ 32196694 h 1731"/>
                <a:gd name="T34" fmla="*/ 279819478 w 2332"/>
                <a:gd name="T35" fmla="*/ 72098436 h 1731"/>
                <a:gd name="T36" fmla="*/ 288223739 w 2332"/>
                <a:gd name="T37" fmla="*/ 91636986 h 1731"/>
                <a:gd name="T38" fmla="*/ 302167032 w 2332"/>
                <a:gd name="T39" fmla="*/ 97415772 h 1731"/>
                <a:gd name="T40" fmla="*/ 318593144 w 2332"/>
                <a:gd name="T41" fmla="*/ 116403512 h 1731"/>
                <a:gd name="T42" fmla="*/ 336929553 w 2332"/>
                <a:gd name="T43" fmla="*/ 113651559 h 1731"/>
                <a:gd name="T44" fmla="*/ 349535506 w 2332"/>
                <a:gd name="T45" fmla="*/ 56412934 h 1731"/>
                <a:gd name="T46" fmla="*/ 363669785 w 2332"/>
                <a:gd name="T47" fmla="*/ 2751953 h 1731"/>
                <a:gd name="T48" fmla="*/ 369208818 w 2332"/>
                <a:gd name="T49" fmla="*/ 22014573 h 1731"/>
                <a:gd name="T50" fmla="*/ 371310102 w 2332"/>
                <a:gd name="T51" fmla="*/ 48432481 h 1731"/>
                <a:gd name="T52" fmla="*/ 379331953 w 2332"/>
                <a:gd name="T53" fmla="*/ 66044244 h 1731"/>
                <a:gd name="T54" fmla="*/ 389646511 w 2332"/>
                <a:gd name="T55" fmla="*/ 118054369 h 1731"/>
                <a:gd name="T56" fmla="*/ 399005701 w 2332"/>
                <a:gd name="T57" fmla="*/ 148600205 h 1731"/>
                <a:gd name="T58" fmla="*/ 413139543 w 2332"/>
                <a:gd name="T59" fmla="*/ 188777352 h 1731"/>
                <a:gd name="T60" fmla="*/ 423836073 w 2332"/>
                <a:gd name="T61" fmla="*/ 211617616 h 1731"/>
                <a:gd name="T62" fmla="*/ 445419246 w 2332"/>
                <a:gd name="T63" fmla="*/ 245465167 h 1731"/>
                <a:gd name="T64" fmla="*/ 434723153 w 2332"/>
                <a:gd name="T65" fmla="*/ 304079768 h 1731"/>
                <a:gd name="T66" fmla="*/ 398623292 w 2332"/>
                <a:gd name="T67" fmla="*/ 374802752 h 1731"/>
                <a:gd name="T68" fmla="*/ 382961125 w 2332"/>
                <a:gd name="T69" fmla="*/ 394065373 h 1731"/>
                <a:gd name="T70" fmla="*/ 351063832 w 2332"/>
                <a:gd name="T71" fmla="*/ 437820163 h 1731"/>
                <a:gd name="T72" fmla="*/ 334064325 w 2332"/>
                <a:gd name="T73" fmla="*/ 461210713 h 1731"/>
                <a:gd name="T74" fmla="*/ 303503934 w 2332"/>
                <a:gd name="T75" fmla="*/ 474969952 h 1731"/>
                <a:gd name="T76" fmla="*/ 289751627 w 2332"/>
                <a:gd name="T77" fmla="*/ 465888928 h 1731"/>
                <a:gd name="T78" fmla="*/ 269314372 w 2332"/>
                <a:gd name="T79" fmla="*/ 475795643 h 1731"/>
                <a:gd name="T80" fmla="*/ 247731199 w 2332"/>
                <a:gd name="T81" fmla="*/ 465888928 h 1731"/>
                <a:gd name="T82" fmla="*/ 244293013 w 2332"/>
                <a:gd name="T83" fmla="*/ 444149235 h 1731"/>
                <a:gd name="T84" fmla="*/ 241236800 w 2332"/>
                <a:gd name="T85" fmla="*/ 417181042 h 1731"/>
                <a:gd name="T86" fmla="*/ 233978892 w 2332"/>
                <a:gd name="T87" fmla="*/ 412778232 h 1731"/>
                <a:gd name="T88" fmla="*/ 244483999 w 2332"/>
                <a:gd name="T89" fmla="*/ 380306133 h 1731"/>
                <a:gd name="T90" fmla="*/ 207811181 w 2332"/>
                <a:gd name="T91" fmla="*/ 374802752 h 1731"/>
                <a:gd name="T92" fmla="*/ 183554204 w 2332"/>
                <a:gd name="T93" fmla="*/ 352787654 h 1731"/>
                <a:gd name="T94" fmla="*/ 144016158 w 2332"/>
                <a:gd name="T95" fmla="*/ 364070346 h 1731"/>
                <a:gd name="T96" fmla="*/ 96838670 w 2332"/>
                <a:gd name="T97" fmla="*/ 390488254 h 1731"/>
                <a:gd name="T98" fmla="*/ 40874512 w 2332"/>
                <a:gd name="T99" fmla="*/ 405348064 h 1731"/>
                <a:gd name="T100" fmla="*/ 10505107 w 2332"/>
                <a:gd name="T101" fmla="*/ 410026279 h 1731"/>
                <a:gd name="T102" fmla="*/ 381972 w 2332"/>
                <a:gd name="T103" fmla="*/ 391588825 h 1731"/>
                <a:gd name="T104" fmla="*/ 18527395 w 2332"/>
                <a:gd name="T105" fmla="*/ 369849132 h 1731"/>
                <a:gd name="T106" fmla="*/ 14325265 w 2332"/>
                <a:gd name="T107" fmla="*/ 341504963 h 1731"/>
                <a:gd name="T108" fmla="*/ 21583172 w 2332"/>
                <a:gd name="T109" fmla="*/ 321966937 h 1731"/>
                <a:gd name="T110" fmla="*/ 11078065 w 2332"/>
                <a:gd name="T111" fmla="*/ 259499812 h 1731"/>
                <a:gd name="T112" fmla="*/ 21583172 w 2332"/>
                <a:gd name="T113" fmla="*/ 265278598 h 1731"/>
                <a:gd name="T114" fmla="*/ 20246270 w 2332"/>
                <a:gd name="T115" fmla="*/ 237209833 h 1731"/>
                <a:gd name="T116" fmla="*/ 28077572 w 2332"/>
                <a:gd name="T117" fmla="*/ 21051704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accent6"/>
            </a:solidFill>
            <a:ln w="9525" cmpd="sng">
              <a:solidFill>
                <a:srgbClr val="FFFFFF"/>
              </a:solidFill>
              <a:prstDash val="solid"/>
              <a:round/>
              <a:headEnd/>
              <a:tailEnd/>
            </a:ln>
          </p:spPr>
          <p:txBody>
            <a:bodyPr/>
            <a:lstStyle/>
            <a:p>
              <a:endParaRPr lang="en-US"/>
            </a:p>
          </p:txBody>
        </p:sp>
        <p:sp>
          <p:nvSpPr>
            <p:cNvPr id="132" name="Freeform 193">
              <a:extLst>
                <a:ext uri="{FF2B5EF4-FFF2-40B4-BE49-F238E27FC236}">
                  <a16:creationId xmlns:a16="http://schemas.microsoft.com/office/drawing/2014/main" id="{48C132D7-A014-4965-965F-571196AF92B1}"/>
                </a:ext>
              </a:extLst>
            </p:cNvPr>
            <p:cNvSpPr>
              <a:spLocks/>
            </p:cNvSpPr>
            <p:nvPr>
              <p:custDataLst>
                <p:tags r:id="rId120"/>
              </p:custDataLst>
            </p:nvPr>
          </p:nvSpPr>
          <p:spPr bwMode="auto">
            <a:xfrm>
              <a:off x="1211263" y="2990850"/>
              <a:ext cx="668337" cy="581025"/>
            </a:xfrm>
            <a:custGeom>
              <a:avLst/>
              <a:gdLst>
                <a:gd name="T0" fmla="*/ 235638210 w 1535"/>
                <a:gd name="T1" fmla="*/ 253903210 h 1109"/>
                <a:gd name="T2" fmla="*/ 246254101 w 1535"/>
                <a:gd name="T3" fmla="*/ 269548971 h 1109"/>
                <a:gd name="T4" fmla="*/ 231277692 w 1535"/>
                <a:gd name="T5" fmla="*/ 274215508 h 1109"/>
                <a:gd name="T6" fmla="*/ 223126158 w 1535"/>
                <a:gd name="T7" fmla="*/ 300566485 h 1109"/>
                <a:gd name="T8" fmla="*/ 201894376 w 1535"/>
                <a:gd name="T9" fmla="*/ 276136716 h 1109"/>
                <a:gd name="T10" fmla="*/ 188434461 w 1535"/>
                <a:gd name="T11" fmla="*/ 277783914 h 1109"/>
                <a:gd name="T12" fmla="*/ 173079255 w 1535"/>
                <a:gd name="T13" fmla="*/ 285195257 h 1109"/>
                <a:gd name="T14" fmla="*/ 149003448 w 1535"/>
                <a:gd name="T15" fmla="*/ 266529632 h 1109"/>
                <a:gd name="T16" fmla="*/ 122842518 w 1535"/>
                <a:gd name="T17" fmla="*/ 251707470 h 1109"/>
                <a:gd name="T18" fmla="*/ 111468162 w 1535"/>
                <a:gd name="T19" fmla="*/ 242374919 h 1109"/>
                <a:gd name="T20" fmla="*/ 101800134 w 1535"/>
                <a:gd name="T21" fmla="*/ 229198907 h 1109"/>
                <a:gd name="T22" fmla="*/ 91942272 w 1535"/>
                <a:gd name="T23" fmla="*/ 226728634 h 1109"/>
                <a:gd name="T24" fmla="*/ 83222107 w 1535"/>
                <a:gd name="T25" fmla="*/ 207789000 h 1109"/>
                <a:gd name="T26" fmla="*/ 88530052 w 1535"/>
                <a:gd name="T27" fmla="*/ 193515380 h 1109"/>
                <a:gd name="T28" fmla="*/ 85307231 w 1535"/>
                <a:gd name="T29" fmla="*/ 164968663 h 1109"/>
                <a:gd name="T30" fmla="*/ 66729204 w 1535"/>
                <a:gd name="T31" fmla="*/ 128461536 h 1109"/>
                <a:gd name="T32" fmla="*/ 57629807 w 1535"/>
                <a:gd name="T33" fmla="*/ 116932722 h 1109"/>
                <a:gd name="T34" fmla="*/ 55544683 w 1535"/>
                <a:gd name="T35" fmla="*/ 101286960 h 1109"/>
                <a:gd name="T36" fmla="*/ 41137340 w 1535"/>
                <a:gd name="T37" fmla="*/ 68073706 h 1109"/>
                <a:gd name="T38" fmla="*/ 31658710 w 1535"/>
                <a:gd name="T39" fmla="*/ 20312299 h 1109"/>
                <a:gd name="T40" fmla="*/ 15923837 w 1535"/>
                <a:gd name="T41" fmla="*/ 28546717 h 1109"/>
                <a:gd name="T42" fmla="*/ 21421616 w 1535"/>
                <a:gd name="T43" fmla="*/ 60936896 h 1109"/>
                <a:gd name="T44" fmla="*/ 28435889 w 1535"/>
                <a:gd name="T45" fmla="*/ 89483613 h 1109"/>
                <a:gd name="T46" fmla="*/ 37156054 w 1535"/>
                <a:gd name="T47" fmla="*/ 110344978 h 1109"/>
                <a:gd name="T48" fmla="*/ 37914519 w 1535"/>
                <a:gd name="T49" fmla="*/ 127637937 h 1109"/>
                <a:gd name="T50" fmla="*/ 40378875 w 1535"/>
                <a:gd name="T51" fmla="*/ 143832765 h 1109"/>
                <a:gd name="T52" fmla="*/ 49099040 w 1535"/>
                <a:gd name="T53" fmla="*/ 156733720 h 1109"/>
                <a:gd name="T54" fmla="*/ 40568274 w 1535"/>
                <a:gd name="T55" fmla="*/ 163595998 h 1109"/>
                <a:gd name="T56" fmla="*/ 36587423 w 1535"/>
                <a:gd name="T57" fmla="*/ 148773835 h 1109"/>
                <a:gd name="T58" fmla="*/ 22748711 w 1535"/>
                <a:gd name="T59" fmla="*/ 130108210 h 1109"/>
                <a:gd name="T60" fmla="*/ 27677424 w 1535"/>
                <a:gd name="T61" fmla="*/ 115286048 h 1109"/>
                <a:gd name="T62" fmla="*/ 16871700 w 1535"/>
                <a:gd name="T63" fmla="*/ 100463361 h 1109"/>
                <a:gd name="T64" fmla="*/ 5118547 w 1535"/>
                <a:gd name="T65" fmla="*/ 84268534 h 1109"/>
                <a:gd name="T66" fmla="*/ 12322219 w 1535"/>
                <a:gd name="T67" fmla="*/ 79327464 h 1109"/>
                <a:gd name="T68" fmla="*/ 12132820 w 1535"/>
                <a:gd name="T69" fmla="*/ 61760495 h 1109"/>
                <a:gd name="T70" fmla="*/ 1137261 w 1535"/>
                <a:gd name="T71" fmla="*/ 32115122 h 1109"/>
                <a:gd name="T72" fmla="*/ 7203671 w 1535"/>
                <a:gd name="T73" fmla="*/ 1372665 h 1109"/>
                <a:gd name="T74" fmla="*/ 39999643 w 1535"/>
                <a:gd name="T75" fmla="*/ 4941070 h 1109"/>
                <a:gd name="T76" fmla="*/ 68435532 w 1535"/>
                <a:gd name="T77" fmla="*/ 20861365 h 1109"/>
                <a:gd name="T78" fmla="*/ 94407064 w 1535"/>
                <a:gd name="T79" fmla="*/ 15096696 h 1109"/>
                <a:gd name="T80" fmla="*/ 112416025 w 1535"/>
                <a:gd name="T81" fmla="*/ 14822686 h 1109"/>
                <a:gd name="T82" fmla="*/ 119998929 w 1535"/>
                <a:gd name="T83" fmla="*/ 30193915 h 1109"/>
                <a:gd name="T84" fmla="*/ 132700379 w 1535"/>
                <a:gd name="T85" fmla="*/ 59015165 h 1109"/>
                <a:gd name="T86" fmla="*/ 142179009 w 1535"/>
                <a:gd name="T87" fmla="*/ 52701954 h 1109"/>
                <a:gd name="T88" fmla="*/ 155828323 w 1535"/>
                <a:gd name="T89" fmla="*/ 48310474 h 1109"/>
                <a:gd name="T90" fmla="*/ 166633612 w 1535"/>
                <a:gd name="T91" fmla="*/ 66975574 h 1109"/>
                <a:gd name="T92" fmla="*/ 171562761 w 1535"/>
                <a:gd name="T93" fmla="*/ 99365229 h 1109"/>
                <a:gd name="T94" fmla="*/ 182747283 w 1535"/>
                <a:gd name="T95" fmla="*/ 111168577 h 1109"/>
                <a:gd name="T96" fmla="*/ 185212075 w 1535"/>
                <a:gd name="T97" fmla="*/ 125167664 h 1109"/>
                <a:gd name="T98" fmla="*/ 176491474 w 1535"/>
                <a:gd name="T99" fmla="*/ 135049281 h 1109"/>
                <a:gd name="T100" fmla="*/ 173837719 w 1535"/>
                <a:gd name="T101" fmla="*/ 174026680 h 1109"/>
                <a:gd name="T102" fmla="*/ 181230789 w 1535"/>
                <a:gd name="T103" fmla="*/ 217121550 h 1109"/>
                <a:gd name="T104" fmla="*/ 199808816 w 1535"/>
                <a:gd name="T105" fmla="*/ 240727721 h 1109"/>
                <a:gd name="T106" fmla="*/ 221041034 w 1535"/>
                <a:gd name="T107" fmla="*/ 233041845 h 1109"/>
                <a:gd name="T108" fmla="*/ 236775472 w 1535"/>
                <a:gd name="T109" fmla="*/ 233316378 h 1109"/>
                <a:gd name="T110" fmla="*/ 245685471 w 1535"/>
                <a:gd name="T111" fmla="*/ 203671529 h 1109"/>
                <a:gd name="T112" fmla="*/ 253268374 w 1535"/>
                <a:gd name="T113" fmla="*/ 190221508 h 1109"/>
                <a:gd name="T114" fmla="*/ 285495280 w 1535"/>
                <a:gd name="T115" fmla="*/ 186104036 h 1109"/>
                <a:gd name="T116" fmla="*/ 284926649 w 1535"/>
                <a:gd name="T117" fmla="*/ 200103124 h 1109"/>
                <a:gd name="T118" fmla="*/ 278291608 w 1535"/>
                <a:gd name="T119" fmla="*/ 225356493 h 1109"/>
                <a:gd name="T120" fmla="*/ 259524183 w 1535"/>
                <a:gd name="T121" fmla="*/ 243747060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3" name="Freeform 194">
              <a:extLst>
                <a:ext uri="{FF2B5EF4-FFF2-40B4-BE49-F238E27FC236}">
                  <a16:creationId xmlns:a16="http://schemas.microsoft.com/office/drawing/2014/main" id="{CDD65AE0-B04A-40CC-AFCD-DD9568EE6897}"/>
                </a:ext>
              </a:extLst>
            </p:cNvPr>
            <p:cNvSpPr>
              <a:spLocks/>
            </p:cNvSpPr>
            <p:nvPr>
              <p:custDataLst>
                <p:tags r:id="rId121"/>
              </p:custDataLst>
            </p:nvPr>
          </p:nvSpPr>
          <p:spPr bwMode="auto">
            <a:xfrm>
              <a:off x="2486025" y="4630738"/>
              <a:ext cx="211138" cy="265112"/>
            </a:xfrm>
            <a:custGeom>
              <a:avLst/>
              <a:gdLst>
                <a:gd name="T0" fmla="*/ 2642266 w 486"/>
                <a:gd name="T1" fmla="*/ 48505704 h 505"/>
                <a:gd name="T2" fmla="*/ 5851042 w 486"/>
                <a:gd name="T3" fmla="*/ 54568655 h 505"/>
                <a:gd name="T4" fmla="*/ 9625460 w 486"/>
                <a:gd name="T5" fmla="*/ 63938956 h 505"/>
                <a:gd name="T6" fmla="*/ 15476502 w 486"/>
                <a:gd name="T7" fmla="*/ 73309782 h 505"/>
                <a:gd name="T8" fmla="*/ 23780829 w 486"/>
                <a:gd name="T9" fmla="*/ 80750795 h 505"/>
                <a:gd name="T10" fmla="*/ 32085591 w 486"/>
                <a:gd name="T11" fmla="*/ 85436208 h 505"/>
                <a:gd name="T12" fmla="*/ 46429507 w 486"/>
                <a:gd name="T13" fmla="*/ 90396708 h 505"/>
                <a:gd name="T14" fmla="*/ 55677873 w 486"/>
                <a:gd name="T15" fmla="*/ 94806509 h 505"/>
                <a:gd name="T16" fmla="*/ 56432930 w 486"/>
                <a:gd name="T17" fmla="*/ 105003647 h 505"/>
                <a:gd name="T18" fmla="*/ 52280549 w 486"/>
                <a:gd name="T19" fmla="*/ 115200786 h 505"/>
                <a:gd name="T20" fmla="*/ 50393340 w 486"/>
                <a:gd name="T21" fmla="*/ 122090574 h 505"/>
                <a:gd name="T22" fmla="*/ 50204359 w 486"/>
                <a:gd name="T23" fmla="*/ 127602824 h 505"/>
                <a:gd name="T24" fmla="*/ 52469096 w 486"/>
                <a:gd name="T25" fmla="*/ 132839462 h 505"/>
                <a:gd name="T26" fmla="*/ 56432930 w 486"/>
                <a:gd name="T27" fmla="*/ 136146288 h 505"/>
                <a:gd name="T28" fmla="*/ 64925804 w 486"/>
                <a:gd name="T29" fmla="*/ 138902413 h 505"/>
                <a:gd name="T30" fmla="*/ 73041584 w 486"/>
                <a:gd name="T31" fmla="*/ 138902413 h 505"/>
                <a:gd name="T32" fmla="*/ 78326550 w 486"/>
                <a:gd name="T33" fmla="*/ 136146288 h 505"/>
                <a:gd name="T34" fmla="*/ 84177158 w 486"/>
                <a:gd name="T35" fmla="*/ 130634562 h 505"/>
                <a:gd name="T36" fmla="*/ 89273143 w 486"/>
                <a:gd name="T37" fmla="*/ 123193024 h 505"/>
                <a:gd name="T38" fmla="*/ 91538315 w 486"/>
                <a:gd name="T39" fmla="*/ 115200786 h 505"/>
                <a:gd name="T40" fmla="*/ 91349334 w 486"/>
                <a:gd name="T41" fmla="*/ 109413448 h 505"/>
                <a:gd name="T42" fmla="*/ 90216748 w 486"/>
                <a:gd name="T43" fmla="*/ 98664559 h 505"/>
                <a:gd name="T44" fmla="*/ 88895615 w 486"/>
                <a:gd name="T45" fmla="*/ 87089358 h 505"/>
                <a:gd name="T46" fmla="*/ 87763463 w 486"/>
                <a:gd name="T47" fmla="*/ 74412232 h 505"/>
                <a:gd name="T48" fmla="*/ 86064801 w 486"/>
                <a:gd name="T49" fmla="*/ 69451206 h 505"/>
                <a:gd name="T50" fmla="*/ 82856025 w 486"/>
                <a:gd name="T51" fmla="*/ 65868244 h 505"/>
                <a:gd name="T52" fmla="*/ 77949022 w 486"/>
                <a:gd name="T53" fmla="*/ 63938956 h 505"/>
                <a:gd name="T54" fmla="*/ 73985623 w 486"/>
                <a:gd name="T55" fmla="*/ 61183356 h 505"/>
                <a:gd name="T56" fmla="*/ 69833242 w 486"/>
                <a:gd name="T57" fmla="*/ 57049168 h 505"/>
                <a:gd name="T58" fmla="*/ 62283538 w 486"/>
                <a:gd name="T59" fmla="*/ 51813055 h 505"/>
                <a:gd name="T60" fmla="*/ 54734268 w 486"/>
                <a:gd name="T61" fmla="*/ 47403254 h 505"/>
                <a:gd name="T62" fmla="*/ 51525492 w 486"/>
                <a:gd name="T63" fmla="*/ 44095904 h 505"/>
                <a:gd name="T64" fmla="*/ 49826830 w 486"/>
                <a:gd name="T65" fmla="*/ 41615391 h 505"/>
                <a:gd name="T66" fmla="*/ 49260754 w 486"/>
                <a:gd name="T67" fmla="*/ 34449991 h 505"/>
                <a:gd name="T68" fmla="*/ 49260754 w 486"/>
                <a:gd name="T69" fmla="*/ 24804077 h 505"/>
                <a:gd name="T70" fmla="*/ 48128169 w 486"/>
                <a:gd name="T71" fmla="*/ 19567439 h 505"/>
                <a:gd name="T72" fmla="*/ 45485902 w 486"/>
                <a:gd name="T73" fmla="*/ 15158164 h 505"/>
                <a:gd name="T74" fmla="*/ 44164769 w 486"/>
                <a:gd name="T75" fmla="*/ 10197138 h 505"/>
                <a:gd name="T76" fmla="*/ 37559104 w 486"/>
                <a:gd name="T77" fmla="*/ 3307350 h 505"/>
                <a:gd name="T78" fmla="*/ 35105385 w 486"/>
                <a:gd name="T79" fmla="*/ 2204900 h 505"/>
                <a:gd name="T80" fmla="*/ 32651666 w 486"/>
                <a:gd name="T81" fmla="*/ 551225 h 505"/>
                <a:gd name="T82" fmla="*/ 26234548 w 486"/>
                <a:gd name="T83" fmla="*/ 275613 h 505"/>
                <a:gd name="T84" fmla="*/ 13211765 w 486"/>
                <a:gd name="T85" fmla="*/ 3031738 h 505"/>
                <a:gd name="T86" fmla="*/ 7926798 w 486"/>
                <a:gd name="T87" fmla="*/ 5787863 h 505"/>
                <a:gd name="T88" fmla="*/ 4529909 w 486"/>
                <a:gd name="T89" fmla="*/ 10197138 h 505"/>
                <a:gd name="T90" fmla="*/ 3774852 w 486"/>
                <a:gd name="T91" fmla="*/ 17638152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4" name="Freeform 195">
              <a:extLst>
                <a:ext uri="{FF2B5EF4-FFF2-40B4-BE49-F238E27FC236}">
                  <a16:creationId xmlns:a16="http://schemas.microsoft.com/office/drawing/2014/main" id="{21350FBD-350C-42A9-AA6A-D02B8F7210C4}"/>
                </a:ext>
              </a:extLst>
            </p:cNvPr>
            <p:cNvSpPr>
              <a:spLocks/>
            </p:cNvSpPr>
            <p:nvPr>
              <p:custDataLst>
                <p:tags r:id="rId122"/>
              </p:custDataLst>
            </p:nvPr>
          </p:nvSpPr>
          <p:spPr bwMode="auto">
            <a:xfrm>
              <a:off x="2655888" y="3835400"/>
              <a:ext cx="73025" cy="109538"/>
            </a:xfrm>
            <a:custGeom>
              <a:avLst/>
              <a:gdLst>
                <a:gd name="T0" fmla="*/ 1354482 w 166"/>
                <a:gd name="T1" fmla="*/ 50750915 h 208"/>
                <a:gd name="T2" fmla="*/ 15288180 w 166"/>
                <a:gd name="T3" fmla="*/ 57684396 h 208"/>
                <a:gd name="T4" fmla="*/ 16449101 w 166"/>
                <a:gd name="T5" fmla="*/ 57406867 h 208"/>
                <a:gd name="T6" fmla="*/ 17416902 w 166"/>
                <a:gd name="T7" fmla="*/ 56575334 h 208"/>
                <a:gd name="T8" fmla="*/ 18771384 w 166"/>
                <a:gd name="T9" fmla="*/ 54911214 h 208"/>
                <a:gd name="T10" fmla="*/ 20126306 w 166"/>
                <a:gd name="T11" fmla="*/ 53247094 h 208"/>
                <a:gd name="T12" fmla="*/ 22641709 w 166"/>
                <a:gd name="T13" fmla="*/ 48809793 h 208"/>
                <a:gd name="T14" fmla="*/ 25157552 w 166"/>
                <a:gd name="T15" fmla="*/ 43817960 h 208"/>
                <a:gd name="T16" fmla="*/ 29802118 w 166"/>
                <a:gd name="T17" fmla="*/ 33834294 h 208"/>
                <a:gd name="T18" fmla="*/ 32124401 w 166"/>
                <a:gd name="T19" fmla="*/ 28564932 h 208"/>
                <a:gd name="T20" fmla="*/ 27866956 w 166"/>
                <a:gd name="T21" fmla="*/ 26068753 h 208"/>
                <a:gd name="T22" fmla="*/ 24383751 w 166"/>
                <a:gd name="T23" fmla="*/ 23295571 h 208"/>
                <a:gd name="T24" fmla="*/ 20900107 w 166"/>
                <a:gd name="T25" fmla="*/ 20522389 h 208"/>
                <a:gd name="T26" fmla="*/ 17997583 w 166"/>
                <a:gd name="T27" fmla="*/ 17749207 h 208"/>
                <a:gd name="T28" fmla="*/ 16642661 w 166"/>
                <a:gd name="T29" fmla="*/ 16085087 h 208"/>
                <a:gd name="T30" fmla="*/ 15675300 w 166"/>
                <a:gd name="T31" fmla="*/ 14698496 h 208"/>
                <a:gd name="T32" fmla="*/ 14513939 w 166"/>
                <a:gd name="T33" fmla="*/ 13034376 h 208"/>
                <a:gd name="T34" fmla="*/ 13740138 w 166"/>
                <a:gd name="T35" fmla="*/ 11093254 h 208"/>
                <a:gd name="T36" fmla="*/ 12965897 w 166"/>
                <a:gd name="T37" fmla="*/ 9151606 h 208"/>
                <a:gd name="T38" fmla="*/ 12385216 w 166"/>
                <a:gd name="T39" fmla="*/ 7210484 h 208"/>
                <a:gd name="T40" fmla="*/ 11998095 w 166"/>
                <a:gd name="T41" fmla="*/ 4991833 h 208"/>
                <a:gd name="T42" fmla="*/ 11611415 w 166"/>
                <a:gd name="T43" fmla="*/ 3050711 h 208"/>
                <a:gd name="T44" fmla="*/ 9675813 w 166"/>
                <a:gd name="T45" fmla="*/ 2773182 h 208"/>
                <a:gd name="T46" fmla="*/ 8321331 w 166"/>
                <a:gd name="T47" fmla="*/ 2218651 h 208"/>
                <a:gd name="T48" fmla="*/ 7740650 w 166"/>
                <a:gd name="T49" fmla="*/ 1386591 h 208"/>
                <a:gd name="T50" fmla="*/ 7547090 w 166"/>
                <a:gd name="T51" fmla="*/ 832060 h 208"/>
                <a:gd name="T52" fmla="*/ 7353969 w 166"/>
                <a:gd name="T53" fmla="*/ 277529 h 208"/>
                <a:gd name="T54" fmla="*/ 6966849 w 166"/>
                <a:gd name="T55" fmla="*/ 0 h 208"/>
                <a:gd name="T56" fmla="*/ 6192608 w 166"/>
                <a:gd name="T57" fmla="*/ 277529 h 208"/>
                <a:gd name="T58" fmla="*/ 5225247 w 166"/>
                <a:gd name="T59" fmla="*/ 1386591 h 208"/>
                <a:gd name="T60" fmla="*/ 3870325 w 166"/>
                <a:gd name="T61" fmla="*/ 3050711 h 208"/>
                <a:gd name="T62" fmla="*/ 2128723 w 166"/>
                <a:gd name="T63" fmla="*/ 6101422 h 208"/>
                <a:gd name="T64" fmla="*/ 1354482 w 166"/>
                <a:gd name="T65" fmla="*/ 8042544 h 208"/>
                <a:gd name="T66" fmla="*/ 774241 w 166"/>
                <a:gd name="T67" fmla="*/ 10261194 h 208"/>
                <a:gd name="T68" fmla="*/ 387120 w 166"/>
                <a:gd name="T69" fmla="*/ 12479845 h 208"/>
                <a:gd name="T70" fmla="*/ 0 w 166"/>
                <a:gd name="T71" fmla="*/ 14975498 h 208"/>
                <a:gd name="T72" fmla="*/ 0 w 166"/>
                <a:gd name="T73" fmla="*/ 16639618 h 208"/>
                <a:gd name="T74" fmla="*/ 387120 w 166"/>
                <a:gd name="T75" fmla="*/ 18026209 h 208"/>
                <a:gd name="T76" fmla="*/ 580681 w 166"/>
                <a:gd name="T77" fmla="*/ 19412800 h 208"/>
                <a:gd name="T78" fmla="*/ 967801 w 166"/>
                <a:gd name="T79" fmla="*/ 21076920 h 208"/>
                <a:gd name="T80" fmla="*/ 1935163 w 166"/>
                <a:gd name="T81" fmla="*/ 23850102 h 208"/>
                <a:gd name="T82" fmla="*/ 3289644 w 166"/>
                <a:gd name="T83" fmla="*/ 27178342 h 208"/>
                <a:gd name="T84" fmla="*/ 4257445 w 166"/>
                <a:gd name="T85" fmla="*/ 30229052 h 208"/>
                <a:gd name="T86" fmla="*/ 5418367 w 166"/>
                <a:gd name="T87" fmla="*/ 33279236 h 208"/>
                <a:gd name="T88" fmla="*/ 5805488 w 166"/>
                <a:gd name="T89" fmla="*/ 34943356 h 208"/>
                <a:gd name="T90" fmla="*/ 6192608 w 166"/>
                <a:gd name="T91" fmla="*/ 36884478 h 208"/>
                <a:gd name="T92" fmla="*/ 6386168 w 166"/>
                <a:gd name="T93" fmla="*/ 38548598 h 208"/>
                <a:gd name="T94" fmla="*/ 6386168 w 166"/>
                <a:gd name="T95" fmla="*/ 40767249 h 208"/>
                <a:gd name="T96" fmla="*/ 6192608 w 166"/>
                <a:gd name="T97" fmla="*/ 42431369 h 208"/>
                <a:gd name="T98" fmla="*/ 5999048 w 166"/>
                <a:gd name="T99" fmla="*/ 44095489 h 208"/>
                <a:gd name="T100" fmla="*/ 5418367 w 166"/>
                <a:gd name="T101" fmla="*/ 45759082 h 208"/>
                <a:gd name="T102" fmla="*/ 4838126 w 166"/>
                <a:gd name="T103" fmla="*/ 46868670 h 208"/>
                <a:gd name="T104" fmla="*/ 4063885 w 166"/>
                <a:gd name="T105" fmla="*/ 48255261 h 208"/>
                <a:gd name="T106" fmla="*/ 3289644 w 166"/>
                <a:gd name="T107" fmla="*/ 49087321 h 208"/>
                <a:gd name="T108" fmla="*/ 2128723 w 166"/>
                <a:gd name="T109" fmla="*/ 49919381 h 208"/>
                <a:gd name="T110" fmla="*/ 1354482 w 166"/>
                <a:gd name="T111" fmla="*/ 50750915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5" name="Freeform 196">
              <a:extLst>
                <a:ext uri="{FF2B5EF4-FFF2-40B4-BE49-F238E27FC236}">
                  <a16:creationId xmlns:a16="http://schemas.microsoft.com/office/drawing/2014/main" id="{962B5909-7833-4944-A66E-1F4ED6C0827A}"/>
                </a:ext>
              </a:extLst>
            </p:cNvPr>
            <p:cNvSpPr>
              <a:spLocks/>
            </p:cNvSpPr>
            <p:nvPr>
              <p:custDataLst>
                <p:tags r:id="rId123"/>
              </p:custDataLst>
            </p:nvPr>
          </p:nvSpPr>
          <p:spPr bwMode="auto">
            <a:xfrm>
              <a:off x="2170113" y="3394075"/>
              <a:ext cx="69850" cy="58738"/>
            </a:xfrm>
            <a:custGeom>
              <a:avLst/>
              <a:gdLst>
                <a:gd name="T0" fmla="*/ 27754727 w 164"/>
                <a:gd name="T1" fmla="*/ 33173415 h 104"/>
                <a:gd name="T2" fmla="*/ 24308226 w 164"/>
                <a:gd name="T3" fmla="*/ 32535215 h 104"/>
                <a:gd name="T4" fmla="*/ 19954527 w 164"/>
                <a:gd name="T5" fmla="*/ 30940844 h 104"/>
                <a:gd name="T6" fmla="*/ 17414798 w 164"/>
                <a:gd name="T7" fmla="*/ 29983544 h 104"/>
                <a:gd name="T8" fmla="*/ 14512189 w 164"/>
                <a:gd name="T9" fmla="*/ 29664444 h 104"/>
                <a:gd name="T10" fmla="*/ 13242538 w 164"/>
                <a:gd name="T11" fmla="*/ 29664444 h 104"/>
                <a:gd name="T12" fmla="*/ 11610007 w 164"/>
                <a:gd name="T13" fmla="*/ 29983544 h 104"/>
                <a:gd name="T14" fmla="*/ 9977050 w 164"/>
                <a:gd name="T15" fmla="*/ 30621744 h 104"/>
                <a:gd name="T16" fmla="*/ 8525959 w 164"/>
                <a:gd name="T17" fmla="*/ 31259380 h 104"/>
                <a:gd name="T18" fmla="*/ 7437747 w 164"/>
                <a:gd name="T19" fmla="*/ 31897580 h 104"/>
                <a:gd name="T20" fmla="*/ 6167670 w 164"/>
                <a:gd name="T21" fmla="*/ 31897580 h 104"/>
                <a:gd name="T22" fmla="*/ 4898018 w 164"/>
                <a:gd name="T23" fmla="*/ 31578480 h 104"/>
                <a:gd name="T24" fmla="*/ 3446501 w 164"/>
                <a:gd name="T25" fmla="*/ 30621744 h 104"/>
                <a:gd name="T26" fmla="*/ 1995410 w 164"/>
                <a:gd name="T27" fmla="*/ 29345909 h 104"/>
                <a:gd name="T28" fmla="*/ 1088212 w 164"/>
                <a:gd name="T29" fmla="*/ 28070073 h 104"/>
                <a:gd name="T30" fmla="*/ 544319 w 164"/>
                <a:gd name="T31" fmla="*/ 27431873 h 104"/>
                <a:gd name="T32" fmla="*/ 181440 w 164"/>
                <a:gd name="T33" fmla="*/ 26793673 h 104"/>
                <a:gd name="T34" fmla="*/ 0 w 164"/>
                <a:gd name="T35" fmla="*/ 25836938 h 104"/>
                <a:gd name="T36" fmla="*/ 0 w 164"/>
                <a:gd name="T37" fmla="*/ 25199303 h 104"/>
                <a:gd name="T38" fmla="*/ 0 w 164"/>
                <a:gd name="T39" fmla="*/ 24242002 h 104"/>
                <a:gd name="T40" fmla="*/ 181440 w 164"/>
                <a:gd name="T41" fmla="*/ 23604367 h 104"/>
                <a:gd name="T42" fmla="*/ 544319 w 164"/>
                <a:gd name="T43" fmla="*/ 22647067 h 104"/>
                <a:gd name="T44" fmla="*/ 1088212 w 164"/>
                <a:gd name="T45" fmla="*/ 22328532 h 104"/>
                <a:gd name="T46" fmla="*/ 2176850 w 164"/>
                <a:gd name="T47" fmla="*/ 21371232 h 104"/>
                <a:gd name="T48" fmla="*/ 3627941 w 164"/>
                <a:gd name="T49" fmla="*/ 21052131 h 104"/>
                <a:gd name="T50" fmla="*/ 7256308 w 164"/>
                <a:gd name="T51" fmla="*/ 21052131 h 104"/>
                <a:gd name="T52" fmla="*/ 11065688 w 164"/>
                <a:gd name="T53" fmla="*/ 21371232 h 104"/>
                <a:gd name="T54" fmla="*/ 12698219 w 164"/>
                <a:gd name="T55" fmla="*/ 21371232 h 104"/>
                <a:gd name="T56" fmla="*/ 14330750 w 164"/>
                <a:gd name="T57" fmla="*/ 21371232 h 104"/>
                <a:gd name="T58" fmla="*/ 15782267 w 164"/>
                <a:gd name="T59" fmla="*/ 21371232 h 104"/>
                <a:gd name="T60" fmla="*/ 17051918 w 164"/>
                <a:gd name="T61" fmla="*/ 21371232 h 104"/>
                <a:gd name="T62" fmla="*/ 17051918 w 164"/>
                <a:gd name="T63" fmla="*/ 17862825 h 104"/>
                <a:gd name="T64" fmla="*/ 17051918 w 164"/>
                <a:gd name="T65" fmla="*/ 13715654 h 104"/>
                <a:gd name="T66" fmla="*/ 17051918 w 164"/>
                <a:gd name="T67" fmla="*/ 9250513 h 104"/>
                <a:gd name="T68" fmla="*/ 17051918 w 164"/>
                <a:gd name="T69" fmla="*/ 5741542 h 104"/>
                <a:gd name="T70" fmla="*/ 14330750 w 164"/>
                <a:gd name="T71" fmla="*/ 5422442 h 104"/>
                <a:gd name="T72" fmla="*/ 12153900 w 164"/>
                <a:gd name="T73" fmla="*/ 4784806 h 104"/>
                <a:gd name="T74" fmla="*/ 11247128 w 164"/>
                <a:gd name="T75" fmla="*/ 4146606 h 104"/>
                <a:gd name="T76" fmla="*/ 10339930 w 164"/>
                <a:gd name="T77" fmla="*/ 3189871 h 104"/>
                <a:gd name="T78" fmla="*/ 9433157 w 164"/>
                <a:gd name="T79" fmla="*/ 1914036 h 104"/>
                <a:gd name="T80" fmla="*/ 8525959 w 164"/>
                <a:gd name="T81" fmla="*/ 0 h 104"/>
                <a:gd name="T82" fmla="*/ 26485076 w 164"/>
                <a:gd name="T83" fmla="*/ 0 h 104"/>
                <a:gd name="T84" fmla="*/ 26666089 w 164"/>
                <a:gd name="T85" fmla="*/ 1914036 h 104"/>
                <a:gd name="T86" fmla="*/ 26847529 w 164"/>
                <a:gd name="T87" fmla="*/ 4146606 h 104"/>
                <a:gd name="T88" fmla="*/ 27210408 w 164"/>
                <a:gd name="T89" fmla="*/ 6060642 h 104"/>
                <a:gd name="T90" fmla="*/ 27573288 w 164"/>
                <a:gd name="T91" fmla="*/ 7974113 h 104"/>
                <a:gd name="T92" fmla="*/ 28299046 w 164"/>
                <a:gd name="T93" fmla="*/ 11163983 h 104"/>
                <a:gd name="T94" fmla="*/ 28842939 w 164"/>
                <a:gd name="T95" fmla="*/ 14672954 h 104"/>
                <a:gd name="T96" fmla="*/ 29568698 w 164"/>
                <a:gd name="T97" fmla="*/ 17224625 h 104"/>
                <a:gd name="T98" fmla="*/ 29750137 w 164"/>
                <a:gd name="T99" fmla="*/ 19776296 h 104"/>
                <a:gd name="T100" fmla="*/ 29568698 w 164"/>
                <a:gd name="T101" fmla="*/ 20733596 h 104"/>
                <a:gd name="T102" fmla="*/ 29024379 w 164"/>
                <a:gd name="T103" fmla="*/ 21690332 h 104"/>
                <a:gd name="T104" fmla="*/ 28480486 w 164"/>
                <a:gd name="T105" fmla="*/ 22647067 h 104"/>
                <a:gd name="T106" fmla="*/ 27754727 w 164"/>
                <a:gd name="T107" fmla="*/ 23285267 h 104"/>
                <a:gd name="T108" fmla="*/ 27754727 w 164"/>
                <a:gd name="T109" fmla="*/ 33173415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US"/>
            </a:p>
          </p:txBody>
        </p:sp>
        <p:sp>
          <p:nvSpPr>
            <p:cNvPr id="136" name="Freeform 197">
              <a:extLst>
                <a:ext uri="{FF2B5EF4-FFF2-40B4-BE49-F238E27FC236}">
                  <a16:creationId xmlns:a16="http://schemas.microsoft.com/office/drawing/2014/main" id="{F5F11F04-95C9-4290-ADD9-7C37698C3EE4}"/>
                </a:ext>
              </a:extLst>
            </p:cNvPr>
            <p:cNvSpPr>
              <a:spLocks/>
            </p:cNvSpPr>
            <p:nvPr>
              <p:custDataLst>
                <p:tags r:id="rId124"/>
              </p:custDataLst>
            </p:nvPr>
          </p:nvSpPr>
          <p:spPr bwMode="auto">
            <a:xfrm>
              <a:off x="2536825" y="5748338"/>
              <a:ext cx="23813" cy="57150"/>
            </a:xfrm>
            <a:custGeom>
              <a:avLst/>
              <a:gdLst>
                <a:gd name="T0" fmla="*/ 0 w 53"/>
                <a:gd name="T1" fmla="*/ 72378971 h 19"/>
                <a:gd name="T2" fmla="*/ 1413054 w 53"/>
                <a:gd name="T3" fmla="*/ 117617708 h 19"/>
                <a:gd name="T4" fmla="*/ 2826109 w 53"/>
                <a:gd name="T5" fmla="*/ 153805689 h 19"/>
                <a:gd name="T6" fmla="*/ 4441349 w 53"/>
                <a:gd name="T7" fmla="*/ 171901184 h 19"/>
                <a:gd name="T8" fmla="*/ 5854404 w 53"/>
                <a:gd name="T9" fmla="*/ 171901184 h 19"/>
                <a:gd name="T10" fmla="*/ 7065721 w 53"/>
                <a:gd name="T11" fmla="*/ 162853437 h 19"/>
                <a:gd name="T12" fmla="*/ 8478776 w 53"/>
                <a:gd name="T13" fmla="*/ 135710195 h 19"/>
                <a:gd name="T14" fmla="*/ 9487908 w 53"/>
                <a:gd name="T15" fmla="*/ 108569961 h 19"/>
                <a:gd name="T16" fmla="*/ 10699226 w 53"/>
                <a:gd name="T17" fmla="*/ 72378971 h 19"/>
                <a:gd name="T18" fmla="*/ 9487908 w 53"/>
                <a:gd name="T19" fmla="*/ 45235729 h 19"/>
                <a:gd name="T20" fmla="*/ 8478776 w 53"/>
                <a:gd name="T21" fmla="*/ 18095495 h 19"/>
                <a:gd name="T22" fmla="*/ 7065721 w 53"/>
                <a:gd name="T23" fmla="*/ 9047747 h 19"/>
                <a:gd name="T24" fmla="*/ 5854404 w 53"/>
                <a:gd name="T25" fmla="*/ 0 h 19"/>
                <a:gd name="T26" fmla="*/ 4441349 w 53"/>
                <a:gd name="T27" fmla="*/ 0 h 19"/>
                <a:gd name="T28" fmla="*/ 2826109 w 53"/>
                <a:gd name="T29" fmla="*/ 9047747 h 19"/>
                <a:gd name="T30" fmla="*/ 1413054 w 53"/>
                <a:gd name="T31" fmla="*/ 27143242 h 19"/>
                <a:gd name="T32" fmla="*/ 0 w 53"/>
                <a:gd name="T33" fmla="*/ 72378971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a:p>
          </p:txBody>
        </p:sp>
        <p:sp>
          <p:nvSpPr>
            <p:cNvPr id="137" name="Freeform 198">
              <a:extLst>
                <a:ext uri="{FF2B5EF4-FFF2-40B4-BE49-F238E27FC236}">
                  <a16:creationId xmlns:a16="http://schemas.microsoft.com/office/drawing/2014/main" id="{2E378953-8025-41F7-B3AF-91337B3DB756}"/>
                </a:ext>
              </a:extLst>
            </p:cNvPr>
            <p:cNvSpPr>
              <a:spLocks/>
            </p:cNvSpPr>
            <p:nvPr>
              <p:custDataLst>
                <p:tags r:id="rId125"/>
              </p:custDataLst>
            </p:nvPr>
          </p:nvSpPr>
          <p:spPr bwMode="auto">
            <a:xfrm>
              <a:off x="2501900" y="5727700"/>
              <a:ext cx="34925" cy="58738"/>
            </a:xfrm>
            <a:custGeom>
              <a:avLst/>
              <a:gdLst>
                <a:gd name="T0" fmla="*/ 0 w 80"/>
                <a:gd name="T1" fmla="*/ 0 h 18"/>
                <a:gd name="T2" fmla="*/ 190778 w 80"/>
                <a:gd name="T3" fmla="*/ 63889540 h 18"/>
                <a:gd name="T4" fmla="*/ 953016 w 80"/>
                <a:gd name="T5" fmla="*/ 127779080 h 18"/>
                <a:gd name="T6" fmla="*/ 1524913 w 80"/>
                <a:gd name="T7" fmla="*/ 149074506 h 18"/>
                <a:gd name="T8" fmla="*/ 2096373 w 80"/>
                <a:gd name="T9" fmla="*/ 170373195 h 18"/>
                <a:gd name="T10" fmla="*/ 2858611 w 80"/>
                <a:gd name="T11" fmla="*/ 191668621 h 18"/>
                <a:gd name="T12" fmla="*/ 3811627 w 80"/>
                <a:gd name="T13" fmla="*/ 191668621 h 18"/>
                <a:gd name="T14" fmla="*/ 4192746 w 80"/>
                <a:gd name="T15" fmla="*/ 159725482 h 18"/>
                <a:gd name="T16" fmla="*/ 4574302 w 80"/>
                <a:gd name="T17" fmla="*/ 138426793 h 18"/>
                <a:gd name="T18" fmla="*/ 4955421 w 80"/>
                <a:gd name="T19" fmla="*/ 117131368 h 18"/>
                <a:gd name="T20" fmla="*/ 5908000 w 80"/>
                <a:gd name="T21" fmla="*/ 106483655 h 18"/>
                <a:gd name="T22" fmla="*/ 7242135 w 80"/>
                <a:gd name="T23" fmla="*/ 85184966 h 18"/>
                <a:gd name="T24" fmla="*/ 8957389 w 80"/>
                <a:gd name="T25" fmla="*/ 74537253 h 18"/>
                <a:gd name="T26" fmla="*/ 10863421 w 80"/>
                <a:gd name="T27" fmla="*/ 74537253 h 18"/>
                <a:gd name="T28" fmla="*/ 12578675 w 80"/>
                <a:gd name="T29" fmla="*/ 63889540 h 18"/>
                <a:gd name="T30" fmla="*/ 13340913 w 80"/>
                <a:gd name="T31" fmla="*/ 53241827 h 18"/>
                <a:gd name="T32" fmla="*/ 14103588 w 80"/>
                <a:gd name="T33" fmla="*/ 42594115 h 18"/>
                <a:gd name="T34" fmla="*/ 14675048 w 80"/>
                <a:gd name="T35" fmla="*/ 21295426 h 18"/>
                <a:gd name="T36" fmla="*/ 1524694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38" name="Freeform 199">
              <a:extLst>
                <a:ext uri="{FF2B5EF4-FFF2-40B4-BE49-F238E27FC236}">
                  <a16:creationId xmlns:a16="http://schemas.microsoft.com/office/drawing/2014/main" id="{046B797B-9B2C-4D0F-8F2D-A257FCB48DC4}"/>
                </a:ext>
              </a:extLst>
            </p:cNvPr>
            <p:cNvSpPr>
              <a:spLocks/>
            </p:cNvSpPr>
            <p:nvPr>
              <p:custDataLst>
                <p:tags r:id="rId126"/>
              </p:custDataLst>
            </p:nvPr>
          </p:nvSpPr>
          <p:spPr bwMode="auto">
            <a:xfrm>
              <a:off x="2501900" y="5707063"/>
              <a:ext cx="22225" cy="60325"/>
            </a:xfrm>
            <a:custGeom>
              <a:avLst/>
              <a:gdLst>
                <a:gd name="T0" fmla="*/ 4668699 w 46"/>
                <a:gd name="T1" fmla="*/ 0 h 27"/>
                <a:gd name="T2" fmla="*/ 0 w 46"/>
                <a:gd name="T3" fmla="*/ 89855205 h 27"/>
                <a:gd name="T4" fmla="*/ 2100746 w 46"/>
                <a:gd name="T5" fmla="*/ 109822780 h 27"/>
                <a:gd name="T6" fmla="*/ 3734766 w 46"/>
                <a:gd name="T7" fmla="*/ 124796785 h 27"/>
                <a:gd name="T8" fmla="*/ 5369270 w 46"/>
                <a:gd name="T9" fmla="*/ 134781690 h 27"/>
                <a:gd name="T10" fmla="*/ 6769445 w 46"/>
                <a:gd name="T11" fmla="*/ 134781690 h 27"/>
                <a:gd name="T12" fmla="*/ 7703378 w 46"/>
                <a:gd name="T13" fmla="*/ 134781690 h 27"/>
                <a:gd name="T14" fmla="*/ 8637311 w 46"/>
                <a:gd name="T15" fmla="*/ 124796785 h 27"/>
                <a:gd name="T16" fmla="*/ 9804124 w 46"/>
                <a:gd name="T17" fmla="*/ 109822780 h 27"/>
                <a:gd name="T18" fmla="*/ 10738057 w 46"/>
                <a:gd name="T19" fmla="*/ 89855205 h 27"/>
                <a:gd name="T20" fmla="*/ 9570761 w 46"/>
                <a:gd name="T21" fmla="*/ 79870300 h 27"/>
                <a:gd name="T22" fmla="*/ 7703378 w 46"/>
                <a:gd name="T23" fmla="*/ 54911390 h 27"/>
                <a:gd name="T24" fmla="*/ 6069358 w 46"/>
                <a:gd name="T25" fmla="*/ 24958910 h 27"/>
                <a:gd name="T26" fmla="*/ 4668699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139" name="Freeform 200">
              <a:extLst>
                <a:ext uri="{FF2B5EF4-FFF2-40B4-BE49-F238E27FC236}">
                  <a16:creationId xmlns:a16="http://schemas.microsoft.com/office/drawing/2014/main" id="{1E63C71A-C9B0-41D2-9676-5AC9F3E35DB8}"/>
                </a:ext>
              </a:extLst>
            </p:cNvPr>
            <p:cNvSpPr>
              <a:spLocks/>
            </p:cNvSpPr>
            <p:nvPr>
              <p:custDataLst>
                <p:tags r:id="rId127"/>
              </p:custDataLst>
            </p:nvPr>
          </p:nvSpPr>
          <p:spPr bwMode="auto">
            <a:xfrm>
              <a:off x="2471738" y="5700713"/>
              <a:ext cx="25400" cy="60325"/>
            </a:xfrm>
            <a:custGeom>
              <a:avLst/>
              <a:gdLst>
                <a:gd name="T0" fmla="*/ 7522633 w 54"/>
                <a:gd name="T1" fmla="*/ 0 h 39"/>
                <a:gd name="T2" fmla="*/ 4424774 w 54"/>
                <a:gd name="T3" fmla="*/ 9570020 h 39"/>
                <a:gd name="T4" fmla="*/ 2212622 w 54"/>
                <a:gd name="T5" fmla="*/ 23925823 h 39"/>
                <a:gd name="T6" fmla="*/ 1327385 w 54"/>
                <a:gd name="T7" fmla="*/ 31102951 h 39"/>
                <a:gd name="T8" fmla="*/ 884767 w 54"/>
                <a:gd name="T9" fmla="*/ 38281626 h 39"/>
                <a:gd name="T10" fmla="*/ 442619 w 54"/>
                <a:gd name="T11" fmla="*/ 47851646 h 39"/>
                <a:gd name="T12" fmla="*/ 0 w 54"/>
                <a:gd name="T13" fmla="*/ 57421666 h 39"/>
                <a:gd name="T14" fmla="*/ 442619 w 54"/>
                <a:gd name="T15" fmla="*/ 66991686 h 39"/>
                <a:gd name="T16" fmla="*/ 663693 w 54"/>
                <a:gd name="T17" fmla="*/ 76561706 h 39"/>
                <a:gd name="T18" fmla="*/ 1106311 w 54"/>
                <a:gd name="T19" fmla="*/ 83740381 h 39"/>
                <a:gd name="T20" fmla="*/ 1770004 w 54"/>
                <a:gd name="T21" fmla="*/ 88524617 h 39"/>
                <a:gd name="T22" fmla="*/ 2433696 w 54"/>
                <a:gd name="T23" fmla="*/ 90917509 h 39"/>
                <a:gd name="T24" fmla="*/ 3540007 w 54"/>
                <a:gd name="T25" fmla="*/ 93310401 h 39"/>
                <a:gd name="T26" fmla="*/ 4424774 w 54"/>
                <a:gd name="T27" fmla="*/ 93310401 h 39"/>
                <a:gd name="T28" fmla="*/ 5531085 w 54"/>
                <a:gd name="T29" fmla="*/ 93310401 h 39"/>
                <a:gd name="T30" fmla="*/ 6637396 w 54"/>
                <a:gd name="T31" fmla="*/ 90917509 h 39"/>
                <a:gd name="T32" fmla="*/ 7522633 w 54"/>
                <a:gd name="T33" fmla="*/ 88524617 h 39"/>
                <a:gd name="T34" fmla="*/ 8628474 w 54"/>
                <a:gd name="T35" fmla="*/ 83740381 h 39"/>
                <a:gd name="T36" fmla="*/ 9513711 w 54"/>
                <a:gd name="T37" fmla="*/ 78954597 h 39"/>
                <a:gd name="T38" fmla="*/ 10398478 w 54"/>
                <a:gd name="T39" fmla="*/ 71777469 h 39"/>
                <a:gd name="T40" fmla="*/ 11062641 w 54"/>
                <a:gd name="T41" fmla="*/ 62207449 h 39"/>
                <a:gd name="T42" fmla="*/ 11504789 w 54"/>
                <a:gd name="T43" fmla="*/ 52635883 h 39"/>
                <a:gd name="T44" fmla="*/ 11947407 w 54"/>
                <a:gd name="T45" fmla="*/ 43065863 h 39"/>
                <a:gd name="T46" fmla="*/ 11283715 w 54"/>
                <a:gd name="T47" fmla="*/ 40674518 h 39"/>
                <a:gd name="T48" fmla="*/ 10620022 w 54"/>
                <a:gd name="T49" fmla="*/ 38281626 h 39"/>
                <a:gd name="T50" fmla="*/ 9734785 w 54"/>
                <a:gd name="T51" fmla="*/ 33495843 h 39"/>
                <a:gd name="T52" fmla="*/ 9292637 w 54"/>
                <a:gd name="T53" fmla="*/ 26318715 h 39"/>
                <a:gd name="T54" fmla="*/ 8628474 w 54"/>
                <a:gd name="T55" fmla="*/ 19140040 h 39"/>
                <a:gd name="T56" fmla="*/ 8186326 w 54"/>
                <a:gd name="T57" fmla="*/ 11962912 h 39"/>
                <a:gd name="T58" fmla="*/ 7522633 w 54"/>
                <a:gd name="T59" fmla="*/ 4785783 h 39"/>
                <a:gd name="T60" fmla="*/ 752263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140" name="Freeform 201">
              <a:extLst>
                <a:ext uri="{FF2B5EF4-FFF2-40B4-BE49-F238E27FC236}">
                  <a16:creationId xmlns:a16="http://schemas.microsoft.com/office/drawing/2014/main" id="{D499AF58-D4FA-42DC-B720-D4B92BBABD94}"/>
                </a:ext>
              </a:extLst>
            </p:cNvPr>
            <p:cNvSpPr>
              <a:spLocks/>
            </p:cNvSpPr>
            <p:nvPr>
              <p:custDataLst>
                <p:tags r:id="rId128"/>
              </p:custDataLst>
            </p:nvPr>
          </p:nvSpPr>
          <p:spPr bwMode="auto">
            <a:xfrm>
              <a:off x="2446338" y="5691188"/>
              <a:ext cx="28575" cy="58737"/>
            </a:xfrm>
            <a:custGeom>
              <a:avLst/>
              <a:gdLst>
                <a:gd name="T0" fmla="*/ 0 w 60"/>
                <a:gd name="T1" fmla="*/ 168675957 h 15"/>
                <a:gd name="T2" fmla="*/ 2268379 w 60"/>
                <a:gd name="T3" fmla="*/ 199341109 h 15"/>
                <a:gd name="T4" fmla="*/ 4082891 w 60"/>
                <a:gd name="T5" fmla="*/ 214675642 h 15"/>
                <a:gd name="T6" fmla="*/ 6124099 w 60"/>
                <a:gd name="T7" fmla="*/ 230010176 h 15"/>
                <a:gd name="T8" fmla="*/ 7938611 w 60"/>
                <a:gd name="T9" fmla="*/ 230010176 h 15"/>
                <a:gd name="T10" fmla="*/ 9299258 w 60"/>
                <a:gd name="T11" fmla="*/ 214675642 h 15"/>
                <a:gd name="T12" fmla="*/ 10887075 w 60"/>
                <a:gd name="T13" fmla="*/ 184006575 h 15"/>
                <a:gd name="T14" fmla="*/ 12474893 w 60"/>
                <a:gd name="T15" fmla="*/ 138006889 h 15"/>
                <a:gd name="T16" fmla="*/ 13608844 w 60"/>
                <a:gd name="T17" fmla="*/ 76668753 h 15"/>
                <a:gd name="T18" fmla="*/ 12928283 w 60"/>
                <a:gd name="T19" fmla="*/ 46003602 h 15"/>
                <a:gd name="T20" fmla="*/ 12248198 w 60"/>
                <a:gd name="T21" fmla="*/ 0 h 15"/>
                <a:gd name="T22" fmla="*/ 11567636 w 60"/>
                <a:gd name="T23" fmla="*/ 0 h 15"/>
                <a:gd name="T24" fmla="*/ 10660380 w 60"/>
                <a:gd name="T25" fmla="*/ 0 h 15"/>
                <a:gd name="T26" fmla="*/ 9072563 w 60"/>
                <a:gd name="T27" fmla="*/ 0 h 15"/>
                <a:gd name="T28" fmla="*/ 7484745 w 60"/>
                <a:gd name="T29" fmla="*/ 46003602 h 15"/>
                <a:gd name="T30" fmla="*/ 5443538 w 60"/>
                <a:gd name="T31" fmla="*/ 92003287 h 15"/>
                <a:gd name="T32" fmla="*/ 3629025 w 60"/>
                <a:gd name="T33" fmla="*/ 122672355 h 15"/>
                <a:gd name="T34" fmla="*/ 1587818 w 60"/>
                <a:gd name="T35" fmla="*/ 153341423 h 15"/>
                <a:gd name="T36" fmla="*/ 0 w 60"/>
                <a:gd name="T37" fmla="*/ 16867595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US"/>
            </a:p>
          </p:txBody>
        </p:sp>
        <p:sp>
          <p:nvSpPr>
            <p:cNvPr id="141" name="Freeform 202">
              <a:extLst>
                <a:ext uri="{FF2B5EF4-FFF2-40B4-BE49-F238E27FC236}">
                  <a16:creationId xmlns:a16="http://schemas.microsoft.com/office/drawing/2014/main" id="{8EF298BA-3728-4736-B925-FABA6CC052B6}"/>
                </a:ext>
              </a:extLst>
            </p:cNvPr>
            <p:cNvSpPr>
              <a:spLocks/>
            </p:cNvSpPr>
            <p:nvPr>
              <p:custDataLst>
                <p:tags r:id="rId129"/>
              </p:custDataLst>
            </p:nvPr>
          </p:nvSpPr>
          <p:spPr bwMode="auto">
            <a:xfrm>
              <a:off x="2422525" y="5678488"/>
              <a:ext cx="33338" cy="57150"/>
            </a:xfrm>
            <a:custGeom>
              <a:avLst/>
              <a:gdLst>
                <a:gd name="T0" fmla="*/ 7123360 w 79"/>
                <a:gd name="T1" fmla="*/ 0 h 32"/>
                <a:gd name="T2" fmla="*/ 6054856 w 79"/>
                <a:gd name="T3" fmla="*/ 3189684 h 32"/>
                <a:gd name="T4" fmla="*/ 5342520 w 79"/>
                <a:gd name="T5" fmla="*/ 6379369 h 32"/>
                <a:gd name="T6" fmla="*/ 4452100 w 79"/>
                <a:gd name="T7" fmla="*/ 12758738 h 32"/>
                <a:gd name="T8" fmla="*/ 3561680 w 79"/>
                <a:gd name="T9" fmla="*/ 19138106 h 32"/>
                <a:gd name="T10" fmla="*/ 2671260 w 79"/>
                <a:gd name="T11" fmla="*/ 28705373 h 32"/>
                <a:gd name="T12" fmla="*/ 1780840 w 79"/>
                <a:gd name="T13" fmla="*/ 35084742 h 32"/>
                <a:gd name="T14" fmla="*/ 890420 w 79"/>
                <a:gd name="T15" fmla="*/ 38274427 h 32"/>
                <a:gd name="T16" fmla="*/ 0 w 79"/>
                <a:gd name="T17" fmla="*/ 41464111 h 32"/>
                <a:gd name="T18" fmla="*/ 890420 w 79"/>
                <a:gd name="T19" fmla="*/ 66981586 h 32"/>
                <a:gd name="T20" fmla="*/ 1780840 w 79"/>
                <a:gd name="T21" fmla="*/ 82928222 h 32"/>
                <a:gd name="T22" fmla="*/ 2137008 w 79"/>
                <a:gd name="T23" fmla="*/ 92497275 h 32"/>
                <a:gd name="T24" fmla="*/ 2671260 w 79"/>
                <a:gd name="T25" fmla="*/ 98876644 h 32"/>
                <a:gd name="T26" fmla="*/ 3205512 w 79"/>
                <a:gd name="T27" fmla="*/ 98876644 h 32"/>
                <a:gd name="T28" fmla="*/ 3561680 w 79"/>
                <a:gd name="T29" fmla="*/ 102066328 h 32"/>
                <a:gd name="T30" fmla="*/ 4808268 w 79"/>
                <a:gd name="T31" fmla="*/ 98876644 h 32"/>
                <a:gd name="T32" fmla="*/ 6054856 w 79"/>
                <a:gd name="T33" fmla="*/ 95686959 h 32"/>
                <a:gd name="T34" fmla="*/ 7301444 w 79"/>
                <a:gd name="T35" fmla="*/ 86117906 h 32"/>
                <a:gd name="T36" fmla="*/ 8548032 w 79"/>
                <a:gd name="T37" fmla="*/ 76550639 h 32"/>
                <a:gd name="T38" fmla="*/ 11041208 w 79"/>
                <a:gd name="T39" fmla="*/ 57412533 h 32"/>
                <a:gd name="T40" fmla="*/ 14068636 w 79"/>
                <a:gd name="T41" fmla="*/ 41464111 h 32"/>
                <a:gd name="T42" fmla="*/ 11931628 w 79"/>
                <a:gd name="T43" fmla="*/ 19138106 h 32"/>
                <a:gd name="T44" fmla="*/ 10328872 w 79"/>
                <a:gd name="T45" fmla="*/ 6379369 h 32"/>
                <a:gd name="T46" fmla="*/ 8726116 w 79"/>
                <a:gd name="T47" fmla="*/ 3189684 h 32"/>
                <a:gd name="T48" fmla="*/ 712336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142" name="Freeform 203">
              <a:extLst>
                <a:ext uri="{FF2B5EF4-FFF2-40B4-BE49-F238E27FC236}">
                  <a16:creationId xmlns:a16="http://schemas.microsoft.com/office/drawing/2014/main" id="{AAACD251-8CAD-4639-98BB-FAA078D102F1}"/>
                </a:ext>
              </a:extLst>
            </p:cNvPr>
            <p:cNvSpPr>
              <a:spLocks/>
            </p:cNvSpPr>
            <p:nvPr>
              <p:custDataLst>
                <p:tags r:id="rId130"/>
              </p:custDataLst>
            </p:nvPr>
          </p:nvSpPr>
          <p:spPr bwMode="auto">
            <a:xfrm>
              <a:off x="2416175" y="5659438"/>
              <a:ext cx="30163" cy="57150"/>
            </a:xfrm>
            <a:custGeom>
              <a:avLst/>
              <a:gdLst>
                <a:gd name="T0" fmla="*/ 6892703 w 66"/>
                <a:gd name="T1" fmla="*/ 0 h 19"/>
                <a:gd name="T2" fmla="*/ 5221398 w 66"/>
                <a:gd name="T3" fmla="*/ 9047747 h 19"/>
                <a:gd name="T4" fmla="*/ 3968263 w 66"/>
                <a:gd name="T5" fmla="*/ 18095495 h 19"/>
                <a:gd name="T6" fmla="*/ 2715127 w 66"/>
                <a:gd name="T7" fmla="*/ 36190989 h 19"/>
                <a:gd name="T8" fmla="*/ 1879703 w 66"/>
                <a:gd name="T9" fmla="*/ 63331224 h 19"/>
                <a:gd name="T10" fmla="*/ 1044280 w 66"/>
                <a:gd name="T11" fmla="*/ 99522213 h 19"/>
                <a:gd name="T12" fmla="*/ 417712 w 66"/>
                <a:gd name="T13" fmla="*/ 126665455 h 19"/>
                <a:gd name="T14" fmla="*/ 0 w 66"/>
                <a:gd name="T15" fmla="*/ 153805689 h 19"/>
                <a:gd name="T16" fmla="*/ 0 w 66"/>
                <a:gd name="T17" fmla="*/ 171901184 h 19"/>
                <a:gd name="T18" fmla="*/ 3968263 w 66"/>
                <a:gd name="T19" fmla="*/ 171901184 h 19"/>
                <a:gd name="T20" fmla="*/ 7936982 w 66"/>
                <a:gd name="T21" fmla="*/ 171901184 h 19"/>
                <a:gd name="T22" fmla="*/ 9607830 w 66"/>
                <a:gd name="T23" fmla="*/ 162853437 h 19"/>
                <a:gd name="T24" fmla="*/ 11278677 w 66"/>
                <a:gd name="T25" fmla="*/ 153805689 h 19"/>
                <a:gd name="T26" fmla="*/ 12740668 w 66"/>
                <a:gd name="T27" fmla="*/ 135710195 h 19"/>
                <a:gd name="T28" fmla="*/ 13784948 w 66"/>
                <a:gd name="T29" fmla="*/ 117617708 h 19"/>
                <a:gd name="T30" fmla="*/ 11905245 w 66"/>
                <a:gd name="T31" fmla="*/ 72378971 h 19"/>
                <a:gd name="T32" fmla="*/ 10443253 w 66"/>
                <a:gd name="T33" fmla="*/ 36190989 h 19"/>
                <a:gd name="T34" fmla="*/ 8772406 w 66"/>
                <a:gd name="T35" fmla="*/ 9047747 h 19"/>
                <a:gd name="T36" fmla="*/ 6892703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US"/>
            </a:p>
          </p:txBody>
        </p:sp>
        <p:sp>
          <p:nvSpPr>
            <p:cNvPr id="143" name="Freeform 204">
              <a:extLst>
                <a:ext uri="{FF2B5EF4-FFF2-40B4-BE49-F238E27FC236}">
                  <a16:creationId xmlns:a16="http://schemas.microsoft.com/office/drawing/2014/main" id="{3E3C460C-06B5-4157-8771-89095A59929C}"/>
                </a:ext>
              </a:extLst>
            </p:cNvPr>
            <p:cNvSpPr>
              <a:spLocks/>
            </p:cNvSpPr>
            <p:nvPr>
              <p:custDataLst>
                <p:tags r:id="rId131"/>
              </p:custDataLst>
            </p:nvPr>
          </p:nvSpPr>
          <p:spPr bwMode="auto">
            <a:xfrm>
              <a:off x="2316163" y="5349875"/>
              <a:ext cx="25400" cy="60325"/>
            </a:xfrm>
            <a:custGeom>
              <a:avLst/>
              <a:gdLst>
                <a:gd name="T0" fmla="*/ 2985698 w 53"/>
                <a:gd name="T1" fmla="*/ 0 h 80"/>
                <a:gd name="T2" fmla="*/ 1837426 w 53"/>
                <a:gd name="T3" fmla="*/ 2842816 h 80"/>
                <a:gd name="T4" fmla="*/ 918713 w 53"/>
                <a:gd name="T5" fmla="*/ 5686385 h 80"/>
                <a:gd name="T6" fmla="*/ 459117 w 53"/>
                <a:gd name="T7" fmla="*/ 7392075 h 80"/>
                <a:gd name="T8" fmla="*/ 229558 w 53"/>
                <a:gd name="T9" fmla="*/ 9097764 h 80"/>
                <a:gd name="T10" fmla="*/ 0 w 53"/>
                <a:gd name="T11" fmla="*/ 11372017 h 80"/>
                <a:gd name="T12" fmla="*/ 0 w 53"/>
                <a:gd name="T13" fmla="*/ 14215586 h 80"/>
                <a:gd name="T14" fmla="*/ 0 w 53"/>
                <a:gd name="T15" fmla="*/ 17058402 h 80"/>
                <a:gd name="T16" fmla="*/ 459117 w 53"/>
                <a:gd name="T17" fmla="*/ 22175470 h 80"/>
                <a:gd name="T18" fmla="*/ 1377830 w 53"/>
                <a:gd name="T19" fmla="*/ 27293292 h 80"/>
                <a:gd name="T20" fmla="*/ 2066985 w 53"/>
                <a:gd name="T21" fmla="*/ 32411114 h 80"/>
                <a:gd name="T22" fmla="*/ 2985698 w 53"/>
                <a:gd name="T23" fmla="*/ 37528183 h 80"/>
                <a:gd name="T24" fmla="*/ 4593566 w 53"/>
                <a:gd name="T25" fmla="*/ 41508878 h 80"/>
                <a:gd name="T26" fmla="*/ 5052683 w 53"/>
                <a:gd name="T27" fmla="*/ 43214568 h 80"/>
                <a:gd name="T28" fmla="*/ 5971396 w 53"/>
                <a:gd name="T29" fmla="*/ 44351694 h 80"/>
                <a:gd name="T30" fmla="*/ 6890109 w 53"/>
                <a:gd name="T31" fmla="*/ 45488820 h 80"/>
                <a:gd name="T32" fmla="*/ 7579264 w 53"/>
                <a:gd name="T33" fmla="*/ 45488820 h 80"/>
                <a:gd name="T34" fmla="*/ 8268419 w 53"/>
                <a:gd name="T35" fmla="*/ 44920257 h 80"/>
                <a:gd name="T36" fmla="*/ 8727536 w 53"/>
                <a:gd name="T37" fmla="*/ 44351694 h 80"/>
                <a:gd name="T38" fmla="*/ 9646249 w 53"/>
                <a:gd name="T39" fmla="*/ 43214568 h 80"/>
                <a:gd name="T40" fmla="*/ 10335404 w 53"/>
                <a:gd name="T41" fmla="*/ 41508878 h 80"/>
                <a:gd name="T42" fmla="*/ 11024558 w 53"/>
                <a:gd name="T43" fmla="*/ 39802435 h 80"/>
                <a:gd name="T44" fmla="*/ 11713713 w 53"/>
                <a:gd name="T45" fmla="*/ 38096746 h 80"/>
                <a:gd name="T46" fmla="*/ 12172830 w 53"/>
                <a:gd name="T47" fmla="*/ 36391056 h 80"/>
                <a:gd name="T48" fmla="*/ 12172830 w 53"/>
                <a:gd name="T49" fmla="*/ 35253930 h 80"/>
                <a:gd name="T50" fmla="*/ 11943272 w 53"/>
                <a:gd name="T51" fmla="*/ 30704671 h 80"/>
                <a:gd name="T52" fmla="*/ 11254117 w 53"/>
                <a:gd name="T53" fmla="*/ 26724729 h 80"/>
                <a:gd name="T54" fmla="*/ 10564962 w 53"/>
                <a:gd name="T55" fmla="*/ 23881913 h 80"/>
                <a:gd name="T56" fmla="*/ 9876287 w 53"/>
                <a:gd name="T57" fmla="*/ 21038344 h 80"/>
                <a:gd name="T58" fmla="*/ 9187132 w 53"/>
                <a:gd name="T59" fmla="*/ 18195528 h 80"/>
                <a:gd name="T60" fmla="*/ 8268419 w 53"/>
                <a:gd name="T61" fmla="*/ 15352713 h 80"/>
                <a:gd name="T62" fmla="*/ 7808823 w 53"/>
                <a:gd name="T63" fmla="*/ 11372017 h 80"/>
                <a:gd name="T64" fmla="*/ 7579264 w 53"/>
                <a:gd name="T65" fmla="*/ 6823512 h 80"/>
                <a:gd name="T66" fmla="*/ 7579264 w 53"/>
                <a:gd name="T67" fmla="*/ 5686385 h 80"/>
                <a:gd name="T68" fmla="*/ 7120147 w 53"/>
                <a:gd name="T69" fmla="*/ 4549259 h 80"/>
                <a:gd name="T70" fmla="*/ 6660551 w 53"/>
                <a:gd name="T71" fmla="*/ 3411379 h 80"/>
                <a:gd name="T72" fmla="*/ 5741838 w 53"/>
                <a:gd name="T73" fmla="*/ 2274253 h 80"/>
                <a:gd name="T74" fmla="*/ 4364008 w 53"/>
                <a:gd name="T75" fmla="*/ 568563 h 80"/>
                <a:gd name="T76" fmla="*/ 2985698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144" name="Freeform 205">
              <a:extLst>
                <a:ext uri="{FF2B5EF4-FFF2-40B4-BE49-F238E27FC236}">
                  <a16:creationId xmlns:a16="http://schemas.microsoft.com/office/drawing/2014/main" id="{CB81E2AD-3F1C-4895-A273-9CD39971629D}"/>
                </a:ext>
              </a:extLst>
            </p:cNvPr>
            <p:cNvSpPr>
              <a:spLocks/>
            </p:cNvSpPr>
            <p:nvPr>
              <p:custDataLst>
                <p:tags r:id="rId132"/>
              </p:custDataLst>
            </p:nvPr>
          </p:nvSpPr>
          <p:spPr bwMode="auto">
            <a:xfrm>
              <a:off x="2346325" y="5445125"/>
              <a:ext cx="17463" cy="53975"/>
            </a:xfrm>
            <a:custGeom>
              <a:avLst/>
              <a:gdLst>
                <a:gd name="T0" fmla="*/ 0 w 41"/>
                <a:gd name="T1" fmla="*/ 67751177 h 43"/>
                <a:gd name="T2" fmla="*/ 4898159 w 41"/>
                <a:gd name="T3" fmla="*/ 67751177 h 43"/>
                <a:gd name="T4" fmla="*/ 7437960 w 41"/>
                <a:gd name="T5" fmla="*/ 37815136 h 43"/>
                <a:gd name="T6" fmla="*/ 6893626 w 41"/>
                <a:gd name="T7" fmla="*/ 18907568 h 43"/>
                <a:gd name="T8" fmla="*/ 6168272 w 41"/>
                <a:gd name="T9" fmla="*/ 0 h 43"/>
                <a:gd name="T10" fmla="*/ 4898159 w 41"/>
                <a:gd name="T11" fmla="*/ 6302523 h 43"/>
                <a:gd name="T12" fmla="*/ 3628471 w 41"/>
                <a:gd name="T13" fmla="*/ 14180362 h 43"/>
                <a:gd name="T14" fmla="*/ 2721247 w 41"/>
                <a:gd name="T15" fmla="*/ 22058202 h 43"/>
                <a:gd name="T16" fmla="*/ 1814022 w 41"/>
                <a:gd name="T17" fmla="*/ 29936041 h 43"/>
                <a:gd name="T18" fmla="*/ 1088669 w 41"/>
                <a:gd name="T19" fmla="*/ 37815136 h 43"/>
                <a:gd name="T20" fmla="*/ 544334 w 41"/>
                <a:gd name="T21" fmla="*/ 47268292 h 43"/>
                <a:gd name="T22" fmla="*/ 181445 w 41"/>
                <a:gd name="T23" fmla="*/ 58298021 h 43"/>
                <a:gd name="T24" fmla="*/ 0 w 41"/>
                <a:gd name="T25" fmla="*/ 6775117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145" name="Freeform 206">
              <a:extLst>
                <a:ext uri="{FF2B5EF4-FFF2-40B4-BE49-F238E27FC236}">
                  <a16:creationId xmlns:a16="http://schemas.microsoft.com/office/drawing/2014/main" id="{60B2E2BE-A046-41C9-8866-6AEE34D99553}"/>
                </a:ext>
              </a:extLst>
            </p:cNvPr>
            <p:cNvSpPr>
              <a:spLocks/>
            </p:cNvSpPr>
            <p:nvPr>
              <p:custDataLst>
                <p:tags r:id="rId133"/>
              </p:custDataLst>
            </p:nvPr>
          </p:nvSpPr>
          <p:spPr bwMode="auto">
            <a:xfrm>
              <a:off x="2351088" y="5467350"/>
              <a:ext cx="7937" cy="58738"/>
            </a:xfrm>
            <a:custGeom>
              <a:avLst/>
              <a:gdLst>
                <a:gd name="T0" fmla="*/ 3149798 w 20"/>
                <a:gd name="T1" fmla="*/ 0 h 24"/>
                <a:gd name="T2" fmla="*/ 0 w 20"/>
                <a:gd name="T3" fmla="*/ 0 h 24"/>
                <a:gd name="T4" fmla="*/ 157549 w 20"/>
                <a:gd name="T5" fmla="*/ 29948528 h 24"/>
                <a:gd name="T6" fmla="*/ 315099 w 20"/>
                <a:gd name="T7" fmla="*/ 53905882 h 24"/>
                <a:gd name="T8" fmla="*/ 629801 w 20"/>
                <a:gd name="T9" fmla="*/ 77865683 h 24"/>
                <a:gd name="T10" fmla="*/ 1102449 w 20"/>
                <a:gd name="T11" fmla="*/ 101823037 h 24"/>
                <a:gd name="T12" fmla="*/ 1575098 w 20"/>
                <a:gd name="T13" fmla="*/ 119794112 h 24"/>
                <a:gd name="T14" fmla="*/ 2204899 w 20"/>
                <a:gd name="T15" fmla="*/ 131771565 h 24"/>
                <a:gd name="T16" fmla="*/ 2677150 w 20"/>
                <a:gd name="T17" fmla="*/ 143751465 h 24"/>
                <a:gd name="T18" fmla="*/ 3149798 w 20"/>
                <a:gd name="T19" fmla="*/ 143751465 h 24"/>
                <a:gd name="T20" fmla="*/ 3149798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146" name="Freeform 207">
              <a:extLst>
                <a:ext uri="{FF2B5EF4-FFF2-40B4-BE49-F238E27FC236}">
                  <a16:creationId xmlns:a16="http://schemas.microsoft.com/office/drawing/2014/main" id="{09B777C4-8120-4140-8012-A8B72103F2E2}"/>
                </a:ext>
              </a:extLst>
            </p:cNvPr>
            <p:cNvSpPr>
              <a:spLocks/>
            </p:cNvSpPr>
            <p:nvPr>
              <p:custDataLst>
                <p:tags r:id="rId134"/>
              </p:custDataLst>
            </p:nvPr>
          </p:nvSpPr>
          <p:spPr bwMode="auto">
            <a:xfrm>
              <a:off x="2365375" y="5529263"/>
              <a:ext cx="17463" cy="60325"/>
            </a:xfrm>
            <a:custGeom>
              <a:avLst/>
              <a:gdLst>
                <a:gd name="T0" fmla="*/ 0 w 39"/>
                <a:gd name="T1" fmla="*/ 23617939 h 43"/>
                <a:gd name="T2" fmla="*/ 401201 w 39"/>
                <a:gd name="T3" fmla="*/ 33457928 h 43"/>
                <a:gd name="T4" fmla="*/ 1203156 w 39"/>
                <a:gd name="T5" fmla="*/ 43299321 h 43"/>
                <a:gd name="T6" fmla="*/ 2405864 w 39"/>
                <a:gd name="T7" fmla="*/ 53139310 h 43"/>
                <a:gd name="T8" fmla="*/ 3207819 w 39"/>
                <a:gd name="T9" fmla="*/ 62980703 h 43"/>
                <a:gd name="T10" fmla="*/ 4611575 w 39"/>
                <a:gd name="T11" fmla="*/ 72822095 h 43"/>
                <a:gd name="T12" fmla="*/ 5614131 w 39"/>
                <a:gd name="T13" fmla="*/ 78725528 h 43"/>
                <a:gd name="T14" fmla="*/ 6816839 w 39"/>
                <a:gd name="T15" fmla="*/ 84630363 h 43"/>
                <a:gd name="T16" fmla="*/ 7819394 w 39"/>
                <a:gd name="T17" fmla="*/ 84630363 h 43"/>
                <a:gd name="T18" fmla="*/ 7618793 w 39"/>
                <a:gd name="T19" fmla="*/ 62980703 h 43"/>
                <a:gd name="T20" fmla="*/ 7218040 w 39"/>
                <a:gd name="T21" fmla="*/ 37394485 h 43"/>
                <a:gd name="T22" fmla="*/ 6816839 w 39"/>
                <a:gd name="T23" fmla="*/ 15744825 h 43"/>
                <a:gd name="T24" fmla="*/ 6416085 w 39"/>
                <a:gd name="T25" fmla="*/ 0 h 43"/>
                <a:gd name="T26" fmla="*/ 3809621 w 39"/>
                <a:gd name="T27" fmla="*/ 5904835 h 43"/>
                <a:gd name="T28" fmla="*/ 1203156 w 39"/>
                <a:gd name="T29" fmla="*/ 11808268 h 43"/>
                <a:gd name="T30" fmla="*/ 0 w 39"/>
                <a:gd name="T31" fmla="*/ 23617939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147" name="Freeform 208">
              <a:extLst>
                <a:ext uri="{FF2B5EF4-FFF2-40B4-BE49-F238E27FC236}">
                  <a16:creationId xmlns:a16="http://schemas.microsoft.com/office/drawing/2014/main" id="{092429E3-D7D4-411F-942D-37D3DC30CA71}"/>
                </a:ext>
              </a:extLst>
            </p:cNvPr>
            <p:cNvSpPr>
              <a:spLocks/>
            </p:cNvSpPr>
            <p:nvPr>
              <p:custDataLst>
                <p:tags r:id="rId135"/>
              </p:custDataLst>
            </p:nvPr>
          </p:nvSpPr>
          <p:spPr bwMode="auto">
            <a:xfrm>
              <a:off x="2352675" y="5541963"/>
              <a:ext cx="26988" cy="58737"/>
            </a:xfrm>
            <a:custGeom>
              <a:avLst/>
              <a:gdLst>
                <a:gd name="T0" fmla="*/ 6982532 w 55"/>
                <a:gd name="T1" fmla="*/ 23336039 h 62"/>
                <a:gd name="T2" fmla="*/ 1926453 w 55"/>
                <a:gd name="T3" fmla="*/ 0 h 62"/>
                <a:gd name="T4" fmla="*/ 963226 w 55"/>
                <a:gd name="T5" fmla="*/ 4487773 h 62"/>
                <a:gd name="T6" fmla="*/ 240929 w 55"/>
                <a:gd name="T7" fmla="*/ 9872721 h 62"/>
                <a:gd name="T8" fmla="*/ 0 w 55"/>
                <a:gd name="T9" fmla="*/ 14360494 h 62"/>
                <a:gd name="T10" fmla="*/ 0 w 55"/>
                <a:gd name="T11" fmla="*/ 18848266 h 62"/>
                <a:gd name="T12" fmla="*/ 481368 w 55"/>
                <a:gd name="T13" fmla="*/ 23336039 h 62"/>
                <a:gd name="T14" fmla="*/ 963226 w 55"/>
                <a:gd name="T15" fmla="*/ 27823812 h 62"/>
                <a:gd name="T16" fmla="*/ 1926453 w 55"/>
                <a:gd name="T17" fmla="*/ 32311584 h 62"/>
                <a:gd name="T18" fmla="*/ 2648750 w 55"/>
                <a:gd name="T19" fmla="*/ 36799357 h 62"/>
                <a:gd name="T20" fmla="*/ 3852414 w 55"/>
                <a:gd name="T21" fmla="*/ 40389007 h 62"/>
                <a:gd name="T22" fmla="*/ 5056570 w 55"/>
                <a:gd name="T23" fmla="*/ 43979604 h 62"/>
                <a:gd name="T24" fmla="*/ 6260235 w 55"/>
                <a:gd name="T25" fmla="*/ 47570201 h 62"/>
                <a:gd name="T26" fmla="*/ 7945758 w 55"/>
                <a:gd name="T27" fmla="*/ 50262675 h 62"/>
                <a:gd name="T28" fmla="*/ 9149423 w 55"/>
                <a:gd name="T29" fmla="*/ 52057026 h 62"/>
                <a:gd name="T30" fmla="*/ 10594017 w 55"/>
                <a:gd name="T31" fmla="*/ 53852325 h 62"/>
                <a:gd name="T32" fmla="*/ 11798172 w 55"/>
                <a:gd name="T33" fmla="*/ 54750448 h 62"/>
                <a:gd name="T34" fmla="*/ 13242766 w 55"/>
                <a:gd name="T35" fmla="*/ 55647623 h 62"/>
                <a:gd name="T36" fmla="*/ 13001837 w 55"/>
                <a:gd name="T37" fmla="*/ 47570201 h 62"/>
                <a:gd name="T38" fmla="*/ 12761398 w 55"/>
                <a:gd name="T39" fmla="*/ 41287130 h 62"/>
                <a:gd name="T40" fmla="*/ 11798172 w 55"/>
                <a:gd name="T41" fmla="*/ 35901234 h 62"/>
                <a:gd name="T42" fmla="*/ 11075875 w 55"/>
                <a:gd name="T43" fmla="*/ 31414409 h 62"/>
                <a:gd name="T44" fmla="*/ 10353578 w 55"/>
                <a:gd name="T45" fmla="*/ 27823812 h 62"/>
                <a:gd name="T46" fmla="*/ 9149423 w 55"/>
                <a:gd name="T47" fmla="*/ 25131338 h 62"/>
                <a:gd name="T48" fmla="*/ 7945758 w 55"/>
                <a:gd name="T49" fmla="*/ 23336039 h 62"/>
                <a:gd name="T50" fmla="*/ 6982532 w 55"/>
                <a:gd name="T51" fmla="*/ 23336039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US"/>
            </a:p>
          </p:txBody>
        </p:sp>
        <p:sp>
          <p:nvSpPr>
            <p:cNvPr id="148" name="Freeform 209">
              <a:extLst>
                <a:ext uri="{FF2B5EF4-FFF2-40B4-BE49-F238E27FC236}">
                  <a16:creationId xmlns:a16="http://schemas.microsoft.com/office/drawing/2014/main" id="{6E255C8D-27B1-4FC7-BE17-369627E9C35A}"/>
                </a:ext>
              </a:extLst>
            </p:cNvPr>
            <p:cNvSpPr>
              <a:spLocks/>
            </p:cNvSpPr>
            <p:nvPr>
              <p:custDataLst>
                <p:tags r:id="rId136"/>
              </p:custDataLst>
            </p:nvPr>
          </p:nvSpPr>
          <p:spPr bwMode="auto">
            <a:xfrm>
              <a:off x="2382838" y="5575300"/>
              <a:ext cx="11112" cy="58738"/>
            </a:xfrm>
            <a:custGeom>
              <a:avLst/>
              <a:gdLst>
                <a:gd name="T0" fmla="*/ 3326298 w 35"/>
                <a:gd name="T1" fmla="*/ 24257015 h 43"/>
                <a:gd name="T2" fmla="*/ 705453 w 35"/>
                <a:gd name="T3" fmla="*/ 0 h 43"/>
                <a:gd name="T4" fmla="*/ 403207 w 35"/>
                <a:gd name="T5" fmla="*/ 14927394 h 43"/>
                <a:gd name="T6" fmla="*/ 0 w 35"/>
                <a:gd name="T7" fmla="*/ 35452560 h 43"/>
                <a:gd name="T8" fmla="*/ 201603 w 35"/>
                <a:gd name="T9" fmla="*/ 52244513 h 43"/>
                <a:gd name="T10" fmla="*/ 503850 w 35"/>
                <a:gd name="T11" fmla="*/ 67171906 h 43"/>
                <a:gd name="T12" fmla="*/ 604810 w 35"/>
                <a:gd name="T13" fmla="*/ 72769679 h 43"/>
                <a:gd name="T14" fmla="*/ 806414 w 35"/>
                <a:gd name="T15" fmla="*/ 76501528 h 43"/>
                <a:gd name="T16" fmla="*/ 1108660 w 35"/>
                <a:gd name="T17" fmla="*/ 80233376 h 43"/>
                <a:gd name="T18" fmla="*/ 1411224 w 35"/>
                <a:gd name="T19" fmla="*/ 80233376 h 43"/>
                <a:gd name="T20" fmla="*/ 1814431 w 35"/>
                <a:gd name="T21" fmla="*/ 80233376 h 43"/>
                <a:gd name="T22" fmla="*/ 2217638 w 35"/>
                <a:gd name="T23" fmla="*/ 78367452 h 43"/>
                <a:gd name="T24" fmla="*/ 2620845 w 35"/>
                <a:gd name="T25" fmla="*/ 76501528 h 43"/>
                <a:gd name="T26" fmla="*/ 2822448 w 35"/>
                <a:gd name="T27" fmla="*/ 72769679 h 43"/>
                <a:gd name="T28" fmla="*/ 3124694 w 35"/>
                <a:gd name="T29" fmla="*/ 65305982 h 43"/>
                <a:gd name="T30" fmla="*/ 3326298 w 35"/>
                <a:gd name="T31" fmla="*/ 55976361 h 43"/>
                <a:gd name="T32" fmla="*/ 3527901 w 35"/>
                <a:gd name="T33" fmla="*/ 37318485 h 43"/>
                <a:gd name="T34" fmla="*/ 3326298 w 35"/>
                <a:gd name="T35" fmla="*/ 24257015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US"/>
            </a:p>
          </p:txBody>
        </p:sp>
        <p:sp>
          <p:nvSpPr>
            <p:cNvPr id="149" name="Freeform 210">
              <a:extLst>
                <a:ext uri="{FF2B5EF4-FFF2-40B4-BE49-F238E27FC236}">
                  <a16:creationId xmlns:a16="http://schemas.microsoft.com/office/drawing/2014/main" id="{17E03693-E68D-4981-92D4-93B6362E4600}"/>
                </a:ext>
              </a:extLst>
            </p:cNvPr>
            <p:cNvSpPr>
              <a:spLocks/>
            </p:cNvSpPr>
            <p:nvPr>
              <p:custDataLst>
                <p:tags r:id="rId137"/>
              </p:custDataLst>
            </p:nvPr>
          </p:nvSpPr>
          <p:spPr bwMode="auto">
            <a:xfrm>
              <a:off x="2379663" y="5608638"/>
              <a:ext cx="20637" cy="55562"/>
            </a:xfrm>
            <a:custGeom>
              <a:avLst/>
              <a:gdLst>
                <a:gd name="T0" fmla="*/ 8035581 w 53"/>
                <a:gd name="T1" fmla="*/ 0 h 21"/>
                <a:gd name="T2" fmla="*/ 6216020 w 53"/>
                <a:gd name="T3" fmla="*/ 7000938 h 21"/>
                <a:gd name="T4" fmla="*/ 4851642 w 53"/>
                <a:gd name="T5" fmla="*/ 14001876 h 21"/>
                <a:gd name="T6" fmla="*/ 3790199 w 53"/>
                <a:gd name="T7" fmla="*/ 35002044 h 21"/>
                <a:gd name="T8" fmla="*/ 3183939 w 53"/>
                <a:gd name="T9" fmla="*/ 49003920 h 21"/>
                <a:gd name="T10" fmla="*/ 2577289 w 53"/>
                <a:gd name="T11" fmla="*/ 70006734 h 21"/>
                <a:gd name="T12" fmla="*/ 1971028 w 53"/>
                <a:gd name="T13" fmla="*/ 91006902 h 21"/>
                <a:gd name="T14" fmla="*/ 1212910 w 53"/>
                <a:gd name="T15" fmla="*/ 112009716 h 21"/>
                <a:gd name="T16" fmla="*/ 0 w 53"/>
                <a:gd name="T17" fmla="*/ 126008946 h 21"/>
                <a:gd name="T18" fmla="*/ 758118 w 53"/>
                <a:gd name="T19" fmla="*/ 140010822 h 21"/>
                <a:gd name="T20" fmla="*/ 1667703 w 53"/>
                <a:gd name="T21" fmla="*/ 147011760 h 21"/>
                <a:gd name="T22" fmla="*/ 2577289 w 53"/>
                <a:gd name="T23" fmla="*/ 147011760 h 21"/>
                <a:gd name="T24" fmla="*/ 3638731 w 53"/>
                <a:gd name="T25" fmla="*/ 147011760 h 21"/>
                <a:gd name="T26" fmla="*/ 5761227 w 53"/>
                <a:gd name="T27" fmla="*/ 133009884 h 21"/>
                <a:gd name="T28" fmla="*/ 8035581 w 53"/>
                <a:gd name="T29" fmla="*/ 126008946 h 21"/>
                <a:gd name="T30" fmla="*/ 8035581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US"/>
            </a:p>
          </p:txBody>
        </p:sp>
        <p:sp>
          <p:nvSpPr>
            <p:cNvPr id="150" name="Freeform 211">
              <a:extLst>
                <a:ext uri="{FF2B5EF4-FFF2-40B4-BE49-F238E27FC236}">
                  <a16:creationId xmlns:a16="http://schemas.microsoft.com/office/drawing/2014/main" id="{8C49B5F5-A28A-4086-92B6-1D23182DAC72}"/>
                </a:ext>
              </a:extLst>
            </p:cNvPr>
            <p:cNvSpPr>
              <a:spLocks/>
            </p:cNvSpPr>
            <p:nvPr>
              <p:custDataLst>
                <p:tags r:id="rId138"/>
              </p:custDataLst>
            </p:nvPr>
          </p:nvSpPr>
          <p:spPr bwMode="auto">
            <a:xfrm>
              <a:off x="2403475" y="5622925"/>
              <a:ext cx="17463" cy="57150"/>
            </a:xfrm>
            <a:custGeom>
              <a:avLst/>
              <a:gdLst>
                <a:gd name="T0" fmla="*/ 3628649 w 43"/>
                <a:gd name="T1" fmla="*/ 0 h 38"/>
                <a:gd name="T2" fmla="*/ 1979005 w 43"/>
                <a:gd name="T3" fmla="*/ 0 h 38"/>
                <a:gd name="T4" fmla="*/ 329766 w 43"/>
                <a:gd name="T5" fmla="*/ 0 h 38"/>
                <a:gd name="T6" fmla="*/ 164883 w 43"/>
                <a:gd name="T7" fmla="*/ 0 h 38"/>
                <a:gd name="T8" fmla="*/ 0 w 43"/>
                <a:gd name="T9" fmla="*/ 2261937 h 38"/>
                <a:gd name="T10" fmla="*/ 0 w 43"/>
                <a:gd name="T11" fmla="*/ 6785811 h 38"/>
                <a:gd name="T12" fmla="*/ 0 w 43"/>
                <a:gd name="T13" fmla="*/ 13571621 h 38"/>
                <a:gd name="T14" fmla="*/ 164883 w 43"/>
                <a:gd name="T15" fmla="*/ 22617864 h 38"/>
                <a:gd name="T16" fmla="*/ 329766 w 43"/>
                <a:gd name="T17" fmla="*/ 27141738 h 38"/>
                <a:gd name="T18" fmla="*/ 494650 w 43"/>
                <a:gd name="T19" fmla="*/ 40713359 h 38"/>
                <a:gd name="T20" fmla="*/ 824822 w 43"/>
                <a:gd name="T21" fmla="*/ 56546917 h 38"/>
                <a:gd name="T22" fmla="*/ 1649238 w 43"/>
                <a:gd name="T23" fmla="*/ 67855097 h 38"/>
                <a:gd name="T24" fmla="*/ 2474060 w 43"/>
                <a:gd name="T25" fmla="*/ 76902845 h 38"/>
                <a:gd name="T26" fmla="*/ 3463360 w 43"/>
                <a:gd name="T27" fmla="*/ 83688655 h 38"/>
                <a:gd name="T28" fmla="*/ 4453065 w 43"/>
                <a:gd name="T29" fmla="*/ 85950592 h 38"/>
                <a:gd name="T30" fmla="*/ 5772537 w 43"/>
                <a:gd name="T31" fmla="*/ 85950592 h 38"/>
                <a:gd name="T32" fmla="*/ 7092009 w 43"/>
                <a:gd name="T33" fmla="*/ 83688655 h 38"/>
                <a:gd name="T34" fmla="*/ 6597359 w 43"/>
                <a:gd name="T35" fmla="*/ 65593161 h 38"/>
                <a:gd name="T36" fmla="*/ 5937420 w 43"/>
                <a:gd name="T37" fmla="*/ 52023043 h 38"/>
                <a:gd name="T38" fmla="*/ 5442770 w 43"/>
                <a:gd name="T39" fmla="*/ 38451422 h 38"/>
                <a:gd name="T40" fmla="*/ 4947715 w 43"/>
                <a:gd name="T41" fmla="*/ 29403675 h 38"/>
                <a:gd name="T42" fmla="*/ 4453065 w 43"/>
                <a:gd name="T43" fmla="*/ 22617864 h 38"/>
                <a:gd name="T44" fmla="*/ 3958415 w 43"/>
                <a:gd name="T45" fmla="*/ 15833558 h 38"/>
                <a:gd name="T46" fmla="*/ 3793532 w 43"/>
                <a:gd name="T47" fmla="*/ 9047747 h 38"/>
                <a:gd name="T48" fmla="*/ 3628649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US"/>
            </a:p>
          </p:txBody>
        </p:sp>
        <p:sp>
          <p:nvSpPr>
            <p:cNvPr id="151" name="Freeform 212">
              <a:extLst>
                <a:ext uri="{FF2B5EF4-FFF2-40B4-BE49-F238E27FC236}">
                  <a16:creationId xmlns:a16="http://schemas.microsoft.com/office/drawing/2014/main" id="{486B83D5-8DB5-4804-807A-947ECD9B926B}"/>
                </a:ext>
              </a:extLst>
            </p:cNvPr>
            <p:cNvSpPr>
              <a:spLocks/>
            </p:cNvSpPr>
            <p:nvPr>
              <p:custDataLst>
                <p:tags r:id="rId139"/>
              </p:custDataLst>
            </p:nvPr>
          </p:nvSpPr>
          <p:spPr bwMode="auto">
            <a:xfrm>
              <a:off x="2405063" y="5651500"/>
              <a:ext cx="6350" cy="57150"/>
            </a:xfrm>
            <a:custGeom>
              <a:avLst/>
              <a:gdLst>
                <a:gd name="T0" fmla="*/ 0 w 20"/>
                <a:gd name="T1" fmla="*/ 0 h 5"/>
                <a:gd name="T2" fmla="*/ 100965 w 20"/>
                <a:gd name="T3" fmla="*/ 261289800 h 5"/>
                <a:gd name="T4" fmla="*/ 201613 w 20"/>
                <a:gd name="T5" fmla="*/ 391934700 h 5"/>
                <a:gd name="T6" fmla="*/ 403225 w 20"/>
                <a:gd name="T7" fmla="*/ 522579600 h 5"/>
                <a:gd name="T8" fmla="*/ 705803 w 20"/>
                <a:gd name="T9" fmla="*/ 653224500 h 5"/>
                <a:gd name="T10" fmla="*/ 1109028 w 20"/>
                <a:gd name="T11" fmla="*/ 522579600 h 5"/>
                <a:gd name="T12" fmla="*/ 1411288 w 20"/>
                <a:gd name="T13" fmla="*/ 391934700 h 5"/>
                <a:gd name="T14" fmla="*/ 1713865 w 20"/>
                <a:gd name="T15" fmla="*/ 261289800 h 5"/>
                <a:gd name="T16" fmla="*/ 2016125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52" name="Freeform 213">
              <a:extLst>
                <a:ext uri="{FF2B5EF4-FFF2-40B4-BE49-F238E27FC236}">
                  <a16:creationId xmlns:a16="http://schemas.microsoft.com/office/drawing/2014/main" id="{637769F1-31F8-49D3-8A47-7DE0A60C1574}"/>
                </a:ext>
              </a:extLst>
            </p:cNvPr>
            <p:cNvSpPr>
              <a:spLocks/>
            </p:cNvSpPr>
            <p:nvPr>
              <p:custDataLst>
                <p:tags r:id="rId140"/>
              </p:custDataLst>
            </p:nvPr>
          </p:nvSpPr>
          <p:spPr bwMode="auto">
            <a:xfrm>
              <a:off x="2479675" y="5721350"/>
              <a:ext cx="34925" cy="57150"/>
            </a:xfrm>
            <a:custGeom>
              <a:avLst/>
              <a:gdLst>
                <a:gd name="T0" fmla="*/ 9155613 w 73"/>
                <a:gd name="T1" fmla="*/ 0 h 22"/>
                <a:gd name="T2" fmla="*/ 7324682 w 73"/>
                <a:gd name="T3" fmla="*/ 6748895 h 22"/>
                <a:gd name="T4" fmla="*/ 5951124 w 73"/>
                <a:gd name="T5" fmla="*/ 13495193 h 22"/>
                <a:gd name="T6" fmla="*/ 4577567 w 73"/>
                <a:gd name="T7" fmla="*/ 33741880 h 22"/>
                <a:gd name="T8" fmla="*/ 3433175 w 73"/>
                <a:gd name="T9" fmla="*/ 53985968 h 22"/>
                <a:gd name="T10" fmla="*/ 1373557 w 73"/>
                <a:gd name="T11" fmla="*/ 94474145 h 22"/>
                <a:gd name="T12" fmla="*/ 0 w 73"/>
                <a:gd name="T13" fmla="*/ 128216025 h 22"/>
                <a:gd name="T14" fmla="*/ 4577567 w 73"/>
                <a:gd name="T15" fmla="*/ 134964920 h 22"/>
                <a:gd name="T16" fmla="*/ 8926926 w 73"/>
                <a:gd name="T17" fmla="*/ 148460114 h 22"/>
                <a:gd name="T18" fmla="*/ 11215709 w 73"/>
                <a:gd name="T19" fmla="*/ 148460114 h 22"/>
                <a:gd name="T20" fmla="*/ 13046640 w 73"/>
                <a:gd name="T21" fmla="*/ 148460114 h 22"/>
                <a:gd name="T22" fmla="*/ 14878050 w 73"/>
                <a:gd name="T23" fmla="*/ 141711218 h 22"/>
                <a:gd name="T24" fmla="*/ 16708981 w 73"/>
                <a:gd name="T25" fmla="*/ 128216025 h 22"/>
                <a:gd name="T26" fmla="*/ 14648885 w 73"/>
                <a:gd name="T27" fmla="*/ 94474145 h 22"/>
                <a:gd name="T28" fmla="*/ 12817953 w 73"/>
                <a:gd name="T29" fmla="*/ 53985968 h 22"/>
                <a:gd name="T30" fmla="*/ 12131414 w 73"/>
                <a:gd name="T31" fmla="*/ 33741880 h 22"/>
                <a:gd name="T32" fmla="*/ 11215709 w 73"/>
                <a:gd name="T33" fmla="*/ 13495193 h 22"/>
                <a:gd name="T34" fmla="*/ 10071317 w 73"/>
                <a:gd name="T35" fmla="*/ 6748895 h 22"/>
                <a:gd name="T36" fmla="*/ 9155613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153" name="Freeform 214">
              <a:extLst>
                <a:ext uri="{FF2B5EF4-FFF2-40B4-BE49-F238E27FC236}">
                  <a16:creationId xmlns:a16="http://schemas.microsoft.com/office/drawing/2014/main" id="{71513D5C-5CEF-4DAA-A911-CB47061EFF3D}"/>
                </a:ext>
              </a:extLst>
            </p:cNvPr>
            <p:cNvSpPr>
              <a:spLocks/>
            </p:cNvSpPr>
            <p:nvPr>
              <p:custDataLst>
                <p:tags r:id="rId141"/>
              </p:custDataLst>
            </p:nvPr>
          </p:nvSpPr>
          <p:spPr bwMode="auto">
            <a:xfrm>
              <a:off x="2517775" y="5662613"/>
              <a:ext cx="123825" cy="100012"/>
            </a:xfrm>
            <a:custGeom>
              <a:avLst/>
              <a:gdLst>
                <a:gd name="T0" fmla="*/ 45632377 w 281"/>
                <a:gd name="T1" fmla="*/ 45113636 h 193"/>
                <a:gd name="T2" fmla="*/ 36505901 w 281"/>
                <a:gd name="T3" fmla="*/ 45919440 h 193"/>
                <a:gd name="T4" fmla="*/ 32622379 w 281"/>
                <a:gd name="T5" fmla="*/ 45113636 h 193"/>
                <a:gd name="T6" fmla="*/ 30097848 w 281"/>
                <a:gd name="T7" fmla="*/ 44039403 h 193"/>
                <a:gd name="T8" fmla="*/ 25243555 w 281"/>
                <a:gd name="T9" fmla="*/ 36251862 h 193"/>
                <a:gd name="T10" fmla="*/ 20194491 w 281"/>
                <a:gd name="T11" fmla="*/ 25242141 h 193"/>
                <a:gd name="T12" fmla="*/ 18252951 w 281"/>
                <a:gd name="T13" fmla="*/ 19871495 h 193"/>
                <a:gd name="T14" fmla="*/ 16893520 w 281"/>
                <a:gd name="T15" fmla="*/ 13695044 h 193"/>
                <a:gd name="T16" fmla="*/ 16117080 w 281"/>
                <a:gd name="T17" fmla="*/ 7250165 h 193"/>
                <a:gd name="T18" fmla="*/ 8349595 w 281"/>
                <a:gd name="T19" fmla="*/ 0 h 193"/>
                <a:gd name="T20" fmla="*/ 5436843 w 281"/>
                <a:gd name="T21" fmla="*/ 13963991 h 193"/>
                <a:gd name="T22" fmla="*/ 3495302 w 281"/>
                <a:gd name="T23" fmla="*/ 16380368 h 193"/>
                <a:gd name="T24" fmla="*/ 1165101 w 281"/>
                <a:gd name="T25" fmla="*/ 18528833 h 193"/>
                <a:gd name="T26" fmla="*/ 0 w 281"/>
                <a:gd name="T27" fmla="*/ 19603066 h 193"/>
                <a:gd name="T28" fmla="*/ 194330 w 281"/>
                <a:gd name="T29" fmla="*/ 20139924 h 193"/>
                <a:gd name="T30" fmla="*/ 1747651 w 281"/>
                <a:gd name="T31" fmla="*/ 21751014 h 193"/>
                <a:gd name="T32" fmla="*/ 7184494 w 281"/>
                <a:gd name="T33" fmla="*/ 29806983 h 193"/>
                <a:gd name="T34" fmla="*/ 8738255 w 281"/>
                <a:gd name="T35" fmla="*/ 32761253 h 193"/>
                <a:gd name="T36" fmla="*/ 10291576 w 281"/>
                <a:gd name="T37" fmla="*/ 34640772 h 193"/>
                <a:gd name="T38" fmla="*/ 12039227 w 281"/>
                <a:gd name="T39" fmla="*/ 35983434 h 193"/>
                <a:gd name="T40" fmla="*/ 13786878 w 281"/>
                <a:gd name="T41" fmla="*/ 36520291 h 193"/>
                <a:gd name="T42" fmla="*/ 14757649 w 281"/>
                <a:gd name="T43" fmla="*/ 37862953 h 193"/>
                <a:gd name="T44" fmla="*/ 15340199 w 281"/>
                <a:gd name="T45" fmla="*/ 39742990 h 193"/>
                <a:gd name="T46" fmla="*/ 16699630 w 281"/>
                <a:gd name="T47" fmla="*/ 41085651 h 193"/>
                <a:gd name="T48" fmla="*/ 19223721 w 281"/>
                <a:gd name="T49" fmla="*/ 41354080 h 193"/>
                <a:gd name="T50" fmla="*/ 20583152 w 281"/>
                <a:gd name="T51" fmla="*/ 42159884 h 193"/>
                <a:gd name="T52" fmla="*/ 21165702 w 281"/>
                <a:gd name="T53" fmla="*/ 43770974 h 193"/>
                <a:gd name="T54" fmla="*/ 21165702 w 281"/>
                <a:gd name="T55" fmla="*/ 48067388 h 193"/>
                <a:gd name="T56" fmla="*/ 21553923 w 281"/>
                <a:gd name="T57" fmla="*/ 50752711 h 193"/>
                <a:gd name="T58" fmla="*/ 22330803 w 281"/>
                <a:gd name="T59" fmla="*/ 51826944 h 193"/>
                <a:gd name="T60" fmla="*/ 25049225 w 281"/>
                <a:gd name="T61" fmla="*/ 51826944 h 193"/>
                <a:gd name="T62" fmla="*/ 31845499 w 281"/>
                <a:gd name="T63" fmla="*/ 51290087 h 193"/>
                <a:gd name="T64" fmla="*/ 34952581 w 281"/>
                <a:gd name="T65" fmla="*/ 50752711 h 193"/>
                <a:gd name="T66" fmla="*/ 37282341 w 281"/>
                <a:gd name="T67" fmla="*/ 49947425 h 193"/>
                <a:gd name="T68" fmla="*/ 41166304 w 281"/>
                <a:gd name="T69" fmla="*/ 50484282 h 193"/>
                <a:gd name="T70" fmla="*/ 54564522 w 281"/>
                <a:gd name="T71" fmla="*/ 4484520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US"/>
            </a:p>
          </p:txBody>
        </p:sp>
        <p:sp>
          <p:nvSpPr>
            <p:cNvPr id="154" name="Freeform 215">
              <a:extLst>
                <a:ext uri="{FF2B5EF4-FFF2-40B4-BE49-F238E27FC236}">
                  <a16:creationId xmlns:a16="http://schemas.microsoft.com/office/drawing/2014/main" id="{9D824582-7993-429C-A2D1-A88BA9C63201}"/>
                </a:ext>
              </a:extLst>
            </p:cNvPr>
            <p:cNvSpPr>
              <a:spLocks/>
            </p:cNvSpPr>
            <p:nvPr>
              <p:custDataLst>
                <p:tags r:id="rId142"/>
              </p:custDataLst>
            </p:nvPr>
          </p:nvSpPr>
          <p:spPr bwMode="auto">
            <a:xfrm>
              <a:off x="2070100" y="3429000"/>
              <a:ext cx="52388" cy="58738"/>
            </a:xfrm>
            <a:custGeom>
              <a:avLst/>
              <a:gdLst>
                <a:gd name="T0" fmla="*/ 0 w 120"/>
                <a:gd name="T1" fmla="*/ 19802760 h 56"/>
                <a:gd name="T2" fmla="*/ 762245 w 120"/>
                <a:gd name="T3" fmla="*/ 28603870 h 56"/>
                <a:gd name="T4" fmla="*/ 1906050 w 120"/>
                <a:gd name="T5" fmla="*/ 36304710 h 56"/>
                <a:gd name="T6" fmla="*/ 2859075 w 120"/>
                <a:gd name="T7" fmla="*/ 40704741 h 56"/>
                <a:gd name="T8" fmla="*/ 4002443 w 120"/>
                <a:gd name="T9" fmla="*/ 45105821 h 56"/>
                <a:gd name="T10" fmla="*/ 5145811 w 120"/>
                <a:gd name="T11" fmla="*/ 48406630 h 56"/>
                <a:gd name="T12" fmla="*/ 6670739 w 120"/>
                <a:gd name="T13" fmla="*/ 50606121 h 56"/>
                <a:gd name="T14" fmla="*/ 8195229 w 120"/>
                <a:gd name="T15" fmla="*/ 52806661 h 56"/>
                <a:gd name="T16" fmla="*/ 9720157 w 120"/>
                <a:gd name="T17" fmla="*/ 53906931 h 56"/>
                <a:gd name="T18" fmla="*/ 12769575 w 120"/>
                <a:gd name="T19" fmla="*/ 55007201 h 56"/>
                <a:gd name="T20" fmla="*/ 16200116 w 120"/>
                <a:gd name="T21" fmla="*/ 56107470 h 56"/>
                <a:gd name="T22" fmla="*/ 19440314 w 120"/>
                <a:gd name="T23" fmla="*/ 57207740 h 56"/>
                <a:gd name="T24" fmla="*/ 22870855 w 120"/>
                <a:gd name="T25" fmla="*/ 61607771 h 56"/>
                <a:gd name="T26" fmla="*/ 22870855 w 120"/>
                <a:gd name="T27" fmla="*/ 40704741 h 56"/>
                <a:gd name="T28" fmla="*/ 21155584 w 120"/>
                <a:gd name="T29" fmla="*/ 37404980 h 56"/>
                <a:gd name="T30" fmla="*/ 19440314 w 120"/>
                <a:gd name="T31" fmla="*/ 33003901 h 56"/>
                <a:gd name="T32" fmla="*/ 17915386 w 120"/>
                <a:gd name="T33" fmla="*/ 26403330 h 56"/>
                <a:gd name="T34" fmla="*/ 16772018 w 120"/>
                <a:gd name="T35" fmla="*/ 19802760 h 56"/>
                <a:gd name="T36" fmla="*/ 15437870 w 120"/>
                <a:gd name="T37" fmla="*/ 14301411 h 56"/>
                <a:gd name="T38" fmla="*/ 14294502 w 120"/>
                <a:gd name="T39" fmla="*/ 7700840 h 56"/>
                <a:gd name="T40" fmla="*/ 12769575 w 120"/>
                <a:gd name="T41" fmla="*/ 3300810 h 56"/>
                <a:gd name="T42" fmla="*/ 11435427 w 120"/>
                <a:gd name="T43" fmla="*/ 0 h 56"/>
                <a:gd name="T44" fmla="*/ 10482402 w 120"/>
                <a:gd name="T45" fmla="*/ 1100270 h 56"/>
                <a:gd name="T46" fmla="*/ 9148255 w 120"/>
                <a:gd name="T47" fmla="*/ 3300810 h 56"/>
                <a:gd name="T48" fmla="*/ 7814107 w 120"/>
                <a:gd name="T49" fmla="*/ 6600570 h 56"/>
                <a:gd name="T50" fmla="*/ 6289616 w 120"/>
                <a:gd name="T51" fmla="*/ 9901380 h 56"/>
                <a:gd name="T52" fmla="*/ 4574346 w 120"/>
                <a:gd name="T53" fmla="*/ 14301411 h 56"/>
                <a:gd name="T54" fmla="*/ 3049418 w 120"/>
                <a:gd name="T55" fmla="*/ 16501950 h 56"/>
                <a:gd name="T56" fmla="*/ 1524927 w 120"/>
                <a:gd name="T57" fmla="*/ 19802760 h 56"/>
                <a:gd name="T58" fmla="*/ 0 w 120"/>
                <a:gd name="T59" fmla="*/ 1980276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155" name="Freeform 216">
              <a:extLst>
                <a:ext uri="{FF2B5EF4-FFF2-40B4-BE49-F238E27FC236}">
                  <a16:creationId xmlns:a16="http://schemas.microsoft.com/office/drawing/2014/main" id="{20F7E935-F0C5-4F2F-8BCE-24FD23A8E51B}"/>
                </a:ext>
              </a:extLst>
            </p:cNvPr>
            <p:cNvSpPr>
              <a:spLocks/>
            </p:cNvSpPr>
            <p:nvPr>
              <p:custDataLst>
                <p:tags r:id="rId143"/>
              </p:custDataLst>
            </p:nvPr>
          </p:nvSpPr>
          <p:spPr bwMode="auto">
            <a:xfrm>
              <a:off x="1927225" y="3290888"/>
              <a:ext cx="250825" cy="109537"/>
            </a:xfrm>
            <a:custGeom>
              <a:avLst/>
              <a:gdLst>
                <a:gd name="T0" fmla="*/ 24250495 w 574"/>
                <a:gd name="T1" fmla="*/ 288343 h 204"/>
                <a:gd name="T2" fmla="*/ 18140241 w 574"/>
                <a:gd name="T3" fmla="*/ 1730056 h 204"/>
                <a:gd name="T4" fmla="*/ 12602864 w 574"/>
                <a:gd name="T5" fmla="*/ 4612946 h 204"/>
                <a:gd name="T6" fmla="*/ 8210804 w 574"/>
                <a:gd name="T7" fmla="*/ 7496373 h 204"/>
                <a:gd name="T8" fmla="*/ 5728336 w 574"/>
                <a:gd name="T9" fmla="*/ 10090920 h 204"/>
                <a:gd name="T10" fmla="*/ 3055346 w 574"/>
                <a:gd name="T11" fmla="*/ 14704403 h 204"/>
                <a:gd name="T12" fmla="*/ 763836 w 574"/>
                <a:gd name="T13" fmla="*/ 20470719 h 204"/>
                <a:gd name="T14" fmla="*/ 0 w 574"/>
                <a:gd name="T15" fmla="*/ 23641952 h 204"/>
                <a:gd name="T16" fmla="*/ 190959 w 574"/>
                <a:gd name="T17" fmla="*/ 24795322 h 204"/>
                <a:gd name="T18" fmla="*/ 2482468 w 574"/>
                <a:gd name="T19" fmla="*/ 24795322 h 204"/>
                <a:gd name="T20" fmla="*/ 5537377 w 574"/>
                <a:gd name="T21" fmla="*/ 23930294 h 204"/>
                <a:gd name="T22" fmla="*/ 9929436 w 574"/>
                <a:gd name="T23" fmla="*/ 21623553 h 204"/>
                <a:gd name="T24" fmla="*/ 15275854 w 574"/>
                <a:gd name="T25" fmla="*/ 16722264 h 204"/>
                <a:gd name="T26" fmla="*/ 19476955 w 574"/>
                <a:gd name="T27" fmla="*/ 13262689 h 204"/>
                <a:gd name="T28" fmla="*/ 22722822 w 574"/>
                <a:gd name="T29" fmla="*/ 11532633 h 204"/>
                <a:gd name="T30" fmla="*/ 33416095 w 574"/>
                <a:gd name="T31" fmla="*/ 10667605 h 204"/>
                <a:gd name="T32" fmla="*/ 33607054 w 574"/>
                <a:gd name="T33" fmla="*/ 13839375 h 204"/>
                <a:gd name="T34" fmla="*/ 34370891 w 574"/>
                <a:gd name="T35" fmla="*/ 15857236 h 204"/>
                <a:gd name="T36" fmla="*/ 35134727 w 574"/>
                <a:gd name="T37" fmla="*/ 17010607 h 204"/>
                <a:gd name="T38" fmla="*/ 36280482 w 574"/>
                <a:gd name="T39" fmla="*/ 17587292 h 204"/>
                <a:gd name="T40" fmla="*/ 43727450 w 574"/>
                <a:gd name="T41" fmla="*/ 17587292 h 204"/>
                <a:gd name="T42" fmla="*/ 51365377 w 574"/>
                <a:gd name="T43" fmla="*/ 22488581 h 204"/>
                <a:gd name="T44" fmla="*/ 57666590 w 574"/>
                <a:gd name="T45" fmla="*/ 27389870 h 204"/>
                <a:gd name="T46" fmla="*/ 64158763 w 574"/>
                <a:gd name="T47" fmla="*/ 32003352 h 204"/>
                <a:gd name="T48" fmla="*/ 71606168 w 574"/>
                <a:gd name="T49" fmla="*/ 35462928 h 204"/>
                <a:gd name="T50" fmla="*/ 71796690 w 574"/>
                <a:gd name="T51" fmla="*/ 38634160 h 204"/>
                <a:gd name="T52" fmla="*/ 72942444 w 574"/>
                <a:gd name="T53" fmla="*/ 40940901 h 204"/>
                <a:gd name="T54" fmla="*/ 75615872 w 574"/>
                <a:gd name="T55" fmla="*/ 43824328 h 204"/>
                <a:gd name="T56" fmla="*/ 81726126 w 574"/>
                <a:gd name="T57" fmla="*/ 47860589 h 204"/>
                <a:gd name="T58" fmla="*/ 76761627 w 574"/>
                <a:gd name="T59" fmla="*/ 55068619 h 204"/>
                <a:gd name="T60" fmla="*/ 77716422 w 574"/>
                <a:gd name="T61" fmla="*/ 56798138 h 204"/>
                <a:gd name="T62" fmla="*/ 79053136 w 574"/>
                <a:gd name="T63" fmla="*/ 57951508 h 204"/>
                <a:gd name="T64" fmla="*/ 81917085 w 574"/>
                <a:gd name="T65" fmla="*/ 58816536 h 204"/>
                <a:gd name="T66" fmla="*/ 88027777 w 574"/>
                <a:gd name="T67" fmla="*/ 58816536 h 204"/>
                <a:gd name="T68" fmla="*/ 105976621 w 574"/>
                <a:gd name="T69" fmla="*/ 54491933 h 204"/>
                <a:gd name="T70" fmla="*/ 106740458 w 574"/>
                <a:gd name="T71" fmla="*/ 52761877 h 204"/>
                <a:gd name="T72" fmla="*/ 107886212 w 574"/>
                <a:gd name="T73" fmla="*/ 51031821 h 204"/>
                <a:gd name="T74" fmla="*/ 109222926 w 574"/>
                <a:gd name="T75" fmla="*/ 49878987 h 204"/>
                <a:gd name="T76" fmla="*/ 109604844 w 574"/>
                <a:gd name="T77" fmla="*/ 46418875 h 204"/>
                <a:gd name="T78" fmla="*/ 107122376 w 574"/>
                <a:gd name="T79" fmla="*/ 44112671 h 204"/>
                <a:gd name="T80" fmla="*/ 101584999 w 574"/>
                <a:gd name="T81" fmla="*/ 42670957 h 204"/>
                <a:gd name="T82" fmla="*/ 96238581 w 574"/>
                <a:gd name="T83" fmla="*/ 39787531 h 204"/>
                <a:gd name="T84" fmla="*/ 90700767 w 574"/>
                <a:gd name="T85" fmla="*/ 35751270 h 204"/>
                <a:gd name="T86" fmla="*/ 82680922 w 574"/>
                <a:gd name="T87" fmla="*/ 28831583 h 204"/>
                <a:gd name="T88" fmla="*/ 73133404 w 574"/>
                <a:gd name="T89" fmla="*/ 19605691 h 204"/>
                <a:gd name="T90" fmla="*/ 68359863 w 574"/>
                <a:gd name="T91" fmla="*/ 15568894 h 204"/>
                <a:gd name="T92" fmla="*/ 66450272 w 574"/>
                <a:gd name="T93" fmla="*/ 14992208 h 204"/>
                <a:gd name="T94" fmla="*/ 63013445 w 574"/>
                <a:gd name="T95" fmla="*/ 14992208 h 204"/>
                <a:gd name="T96" fmla="*/ 59576181 w 574"/>
                <a:gd name="T97" fmla="*/ 14704403 h 204"/>
                <a:gd name="T98" fmla="*/ 57666590 w 574"/>
                <a:gd name="T99" fmla="*/ 14127717 h 204"/>
                <a:gd name="T100" fmla="*/ 56138917 w 574"/>
                <a:gd name="T101" fmla="*/ 12397661 h 204"/>
                <a:gd name="T102" fmla="*/ 55375081 w 574"/>
                <a:gd name="T103" fmla="*/ 9225892 h 204"/>
                <a:gd name="T104" fmla="*/ 27114882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US"/>
            </a:p>
          </p:txBody>
        </p:sp>
        <p:sp>
          <p:nvSpPr>
            <p:cNvPr id="156" name="Freeform 217">
              <a:extLst>
                <a:ext uri="{FF2B5EF4-FFF2-40B4-BE49-F238E27FC236}">
                  <a16:creationId xmlns:a16="http://schemas.microsoft.com/office/drawing/2014/main" id="{80A1132D-DED6-4C65-B772-7F79DB79B85B}"/>
                </a:ext>
              </a:extLst>
            </p:cNvPr>
            <p:cNvSpPr>
              <a:spLocks/>
            </p:cNvSpPr>
            <p:nvPr>
              <p:custDataLst>
                <p:tags r:id="rId144"/>
              </p:custDataLst>
            </p:nvPr>
          </p:nvSpPr>
          <p:spPr bwMode="auto">
            <a:xfrm>
              <a:off x="2232025" y="3394075"/>
              <a:ext cx="88900" cy="69850"/>
            </a:xfrm>
            <a:custGeom>
              <a:avLst/>
              <a:gdLst>
                <a:gd name="T0" fmla="*/ 7562083 w 207"/>
                <a:gd name="T1" fmla="*/ 37821880 h 129"/>
                <a:gd name="T2" fmla="*/ 9221979 w 207"/>
                <a:gd name="T3" fmla="*/ 35476219 h 129"/>
                <a:gd name="T4" fmla="*/ 11066547 w 207"/>
                <a:gd name="T5" fmla="*/ 33716974 h 129"/>
                <a:gd name="T6" fmla="*/ 12911114 w 207"/>
                <a:gd name="T7" fmla="*/ 32251207 h 129"/>
                <a:gd name="T8" fmla="*/ 14939924 w 207"/>
                <a:gd name="T9" fmla="*/ 30785440 h 129"/>
                <a:gd name="T10" fmla="*/ 19366457 w 207"/>
                <a:gd name="T11" fmla="*/ 29026195 h 129"/>
                <a:gd name="T12" fmla="*/ 23792990 w 207"/>
                <a:gd name="T13" fmla="*/ 26974012 h 129"/>
                <a:gd name="T14" fmla="*/ 28035281 w 207"/>
                <a:gd name="T15" fmla="*/ 25507704 h 129"/>
                <a:gd name="T16" fmla="*/ 31908658 w 207"/>
                <a:gd name="T17" fmla="*/ 23748459 h 129"/>
                <a:gd name="T18" fmla="*/ 33568554 w 207"/>
                <a:gd name="T19" fmla="*/ 22575628 h 129"/>
                <a:gd name="T20" fmla="*/ 35228880 w 207"/>
                <a:gd name="T21" fmla="*/ 21403340 h 129"/>
                <a:gd name="T22" fmla="*/ 36888776 w 207"/>
                <a:gd name="T23" fmla="*/ 19644094 h 129"/>
                <a:gd name="T24" fmla="*/ 38179758 w 207"/>
                <a:gd name="T25" fmla="*/ 17884849 h 129"/>
                <a:gd name="T26" fmla="*/ 36519862 w 207"/>
                <a:gd name="T27" fmla="*/ 15832667 h 129"/>
                <a:gd name="T28" fmla="*/ 34675295 w 207"/>
                <a:gd name="T29" fmla="*/ 13779943 h 129"/>
                <a:gd name="T30" fmla="*/ 33015399 w 207"/>
                <a:gd name="T31" fmla="*/ 12314176 h 129"/>
                <a:gd name="T32" fmla="*/ 31170831 w 207"/>
                <a:gd name="T33" fmla="*/ 10554931 h 129"/>
                <a:gd name="T34" fmla="*/ 27666367 w 207"/>
                <a:gd name="T35" fmla="*/ 8502748 h 129"/>
                <a:gd name="T36" fmla="*/ 23792990 w 207"/>
                <a:gd name="T37" fmla="*/ 6743503 h 129"/>
                <a:gd name="T38" fmla="*/ 19735371 w 207"/>
                <a:gd name="T39" fmla="*/ 5277736 h 129"/>
                <a:gd name="T40" fmla="*/ 15677751 w 207"/>
                <a:gd name="T41" fmla="*/ 3811428 h 129"/>
                <a:gd name="T42" fmla="*/ 11620132 w 207"/>
                <a:gd name="T43" fmla="*/ 2052182 h 129"/>
                <a:gd name="T44" fmla="*/ 7562083 w 207"/>
                <a:gd name="T45" fmla="*/ 0 h 129"/>
                <a:gd name="T46" fmla="*/ 0 w 207"/>
                <a:gd name="T47" fmla="*/ 0 h 129"/>
                <a:gd name="T48" fmla="*/ 184242 w 207"/>
                <a:gd name="T49" fmla="*/ 1759245 h 129"/>
                <a:gd name="T50" fmla="*/ 368914 w 207"/>
                <a:gd name="T51" fmla="*/ 3811428 h 129"/>
                <a:gd name="T52" fmla="*/ 737827 w 207"/>
                <a:gd name="T53" fmla="*/ 5570673 h 129"/>
                <a:gd name="T54" fmla="*/ 1106741 w 207"/>
                <a:gd name="T55" fmla="*/ 7329918 h 129"/>
                <a:gd name="T56" fmla="*/ 1844568 w 207"/>
                <a:gd name="T57" fmla="*/ 10261994 h 129"/>
                <a:gd name="T58" fmla="*/ 2397723 w 207"/>
                <a:gd name="T59" fmla="*/ 13487006 h 129"/>
                <a:gd name="T60" fmla="*/ 3135550 w 207"/>
                <a:gd name="T61" fmla="*/ 15832667 h 129"/>
                <a:gd name="T62" fmla="*/ 3319792 w 207"/>
                <a:gd name="T63" fmla="*/ 18177786 h 129"/>
                <a:gd name="T64" fmla="*/ 3135550 w 207"/>
                <a:gd name="T65" fmla="*/ 19057679 h 129"/>
                <a:gd name="T66" fmla="*/ 2582395 w 207"/>
                <a:gd name="T67" fmla="*/ 19937031 h 129"/>
                <a:gd name="T68" fmla="*/ 2028810 w 207"/>
                <a:gd name="T69" fmla="*/ 20816924 h 129"/>
                <a:gd name="T70" fmla="*/ 1290983 w 207"/>
                <a:gd name="T71" fmla="*/ 21403340 h 129"/>
                <a:gd name="T72" fmla="*/ 0 w 207"/>
                <a:gd name="T73" fmla="*/ 30491962 h 129"/>
                <a:gd name="T74" fmla="*/ 737827 w 207"/>
                <a:gd name="T75" fmla="*/ 31078377 h 129"/>
                <a:gd name="T76" fmla="*/ 2397723 w 207"/>
                <a:gd name="T77" fmla="*/ 32251207 h 129"/>
                <a:gd name="T78" fmla="*/ 3504464 w 207"/>
                <a:gd name="T79" fmla="*/ 33130559 h 129"/>
                <a:gd name="T80" fmla="*/ 4611204 w 207"/>
                <a:gd name="T81" fmla="*/ 34303389 h 129"/>
                <a:gd name="T82" fmla="*/ 6086429 w 207"/>
                <a:gd name="T83" fmla="*/ 35769698 h 129"/>
                <a:gd name="T84" fmla="*/ 7562083 w 207"/>
                <a:gd name="T85" fmla="*/ 3782188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US"/>
            </a:p>
          </p:txBody>
        </p:sp>
        <p:sp>
          <p:nvSpPr>
            <p:cNvPr id="157" name="Freeform 218">
              <a:extLst>
                <a:ext uri="{FF2B5EF4-FFF2-40B4-BE49-F238E27FC236}">
                  <a16:creationId xmlns:a16="http://schemas.microsoft.com/office/drawing/2014/main" id="{C33FA1C8-DDFA-475D-A61F-7F2234315941}"/>
                </a:ext>
              </a:extLst>
            </p:cNvPr>
            <p:cNvSpPr>
              <a:spLocks/>
            </p:cNvSpPr>
            <p:nvPr>
              <p:custDataLst>
                <p:tags r:id="rId145"/>
              </p:custDataLst>
            </p:nvPr>
          </p:nvSpPr>
          <p:spPr bwMode="auto">
            <a:xfrm>
              <a:off x="1800225" y="3454400"/>
              <a:ext cx="33338" cy="84138"/>
            </a:xfrm>
            <a:custGeom>
              <a:avLst/>
              <a:gdLst>
                <a:gd name="T0" fmla="*/ 15436420 w 72"/>
                <a:gd name="T1" fmla="*/ 0 h 154"/>
                <a:gd name="T2" fmla="*/ 14793274 w 72"/>
                <a:gd name="T3" fmla="*/ 1193762 h 154"/>
                <a:gd name="T4" fmla="*/ 14364511 w 72"/>
                <a:gd name="T5" fmla="*/ 2686374 h 154"/>
                <a:gd name="T6" fmla="*/ 14150129 w 72"/>
                <a:gd name="T7" fmla="*/ 3880136 h 154"/>
                <a:gd name="T8" fmla="*/ 14150129 w 72"/>
                <a:gd name="T9" fmla="*/ 5372748 h 154"/>
                <a:gd name="T10" fmla="*/ 14150129 w 72"/>
                <a:gd name="T11" fmla="*/ 8059123 h 154"/>
                <a:gd name="T12" fmla="*/ 14150129 w 72"/>
                <a:gd name="T13" fmla="*/ 11044347 h 154"/>
                <a:gd name="T14" fmla="*/ 14793274 w 72"/>
                <a:gd name="T15" fmla="*/ 12835263 h 154"/>
                <a:gd name="T16" fmla="*/ 15222038 w 72"/>
                <a:gd name="T17" fmla="*/ 14924483 h 154"/>
                <a:gd name="T18" fmla="*/ 15222038 w 72"/>
                <a:gd name="T19" fmla="*/ 17014250 h 154"/>
                <a:gd name="T20" fmla="*/ 15222038 w 72"/>
                <a:gd name="T21" fmla="*/ 19401774 h 154"/>
                <a:gd name="T22" fmla="*/ 14793274 w 72"/>
                <a:gd name="T23" fmla="*/ 21789844 h 154"/>
                <a:gd name="T24" fmla="*/ 14364511 w 72"/>
                <a:gd name="T25" fmla="*/ 24476218 h 154"/>
                <a:gd name="T26" fmla="*/ 13935747 w 72"/>
                <a:gd name="T27" fmla="*/ 27162592 h 154"/>
                <a:gd name="T28" fmla="*/ 13078220 w 72"/>
                <a:gd name="T29" fmla="*/ 29848967 h 154"/>
                <a:gd name="T30" fmla="*/ 11362702 w 72"/>
                <a:gd name="T31" fmla="*/ 34625107 h 154"/>
                <a:gd name="T32" fmla="*/ 9433265 w 72"/>
                <a:gd name="T33" fmla="*/ 39102398 h 154"/>
                <a:gd name="T34" fmla="*/ 7289446 w 72"/>
                <a:gd name="T35" fmla="*/ 42983080 h 154"/>
                <a:gd name="T36" fmla="*/ 5574391 w 72"/>
                <a:gd name="T37" fmla="*/ 45967758 h 154"/>
                <a:gd name="T38" fmla="*/ 5574391 w 72"/>
                <a:gd name="T39" fmla="*/ 42087622 h 154"/>
                <a:gd name="T40" fmla="*/ 3215728 w 72"/>
                <a:gd name="T41" fmla="*/ 42983080 h 154"/>
                <a:gd name="T42" fmla="*/ 0 w 72"/>
                <a:gd name="T43" fmla="*/ 44176842 h 154"/>
                <a:gd name="T44" fmla="*/ 643146 w 72"/>
                <a:gd name="T45" fmla="*/ 38505243 h 154"/>
                <a:gd name="T46" fmla="*/ 1715055 w 72"/>
                <a:gd name="T47" fmla="*/ 31341579 h 154"/>
                <a:gd name="T48" fmla="*/ 1929437 w 72"/>
                <a:gd name="T49" fmla="*/ 27461443 h 154"/>
                <a:gd name="T50" fmla="*/ 2572582 w 72"/>
                <a:gd name="T51" fmla="*/ 22984152 h 154"/>
                <a:gd name="T52" fmla="*/ 3215728 w 72"/>
                <a:gd name="T53" fmla="*/ 18805166 h 154"/>
                <a:gd name="T54" fmla="*/ 4288100 w 72"/>
                <a:gd name="T55" fmla="*/ 14626179 h 154"/>
                <a:gd name="T56" fmla="*/ 4288100 w 72"/>
                <a:gd name="T57" fmla="*/ 0 h 154"/>
                <a:gd name="T58" fmla="*/ 5360010 w 72"/>
                <a:gd name="T59" fmla="*/ 0 h 154"/>
                <a:gd name="T60" fmla="*/ 8146974 w 72"/>
                <a:gd name="T61" fmla="*/ 0 h 154"/>
                <a:gd name="T62" fmla="*/ 12006310 w 72"/>
                <a:gd name="T63" fmla="*/ 0 h 154"/>
                <a:gd name="T64" fmla="*/ 15436420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8" name="Freeform 219">
              <a:extLst>
                <a:ext uri="{FF2B5EF4-FFF2-40B4-BE49-F238E27FC236}">
                  <a16:creationId xmlns:a16="http://schemas.microsoft.com/office/drawing/2014/main" id="{4B0BC9DE-76D8-4686-8F46-01A30F68C900}"/>
                </a:ext>
              </a:extLst>
            </p:cNvPr>
            <p:cNvSpPr>
              <a:spLocks/>
            </p:cNvSpPr>
            <p:nvPr>
              <p:custDataLst>
                <p:tags r:id="rId146"/>
              </p:custDataLst>
            </p:nvPr>
          </p:nvSpPr>
          <p:spPr bwMode="auto">
            <a:xfrm>
              <a:off x="1720850" y="3454400"/>
              <a:ext cx="93663" cy="146050"/>
            </a:xfrm>
            <a:custGeom>
              <a:avLst/>
              <a:gdLst>
                <a:gd name="T0" fmla="*/ 1532309 w 214"/>
                <a:gd name="T1" fmla="*/ 60121941 h 271"/>
                <a:gd name="T2" fmla="*/ 2298683 w 214"/>
                <a:gd name="T3" fmla="*/ 52570455 h 271"/>
                <a:gd name="T4" fmla="*/ 4597365 w 214"/>
                <a:gd name="T5" fmla="*/ 42986126 h 271"/>
                <a:gd name="T6" fmla="*/ 6704783 w 214"/>
                <a:gd name="T7" fmla="*/ 34272707 h 271"/>
                <a:gd name="T8" fmla="*/ 8428795 w 214"/>
                <a:gd name="T9" fmla="*/ 32529808 h 271"/>
                <a:gd name="T10" fmla="*/ 12451489 w 214"/>
                <a:gd name="T11" fmla="*/ 32239325 h 271"/>
                <a:gd name="T12" fmla="*/ 17048854 w 214"/>
                <a:gd name="T13" fmla="*/ 32239325 h 271"/>
                <a:gd name="T14" fmla="*/ 20305613 w 214"/>
                <a:gd name="T15" fmla="*/ 31948842 h 271"/>
                <a:gd name="T16" fmla="*/ 22987264 w 214"/>
                <a:gd name="T17" fmla="*/ 30496965 h 271"/>
                <a:gd name="T18" fmla="*/ 24902978 w 214"/>
                <a:gd name="T19" fmla="*/ 27301649 h 271"/>
                <a:gd name="T20" fmla="*/ 21646657 w 214"/>
                <a:gd name="T21" fmla="*/ 21202580 h 271"/>
                <a:gd name="T22" fmla="*/ 16474184 w 214"/>
                <a:gd name="T23" fmla="*/ 16845870 h 271"/>
                <a:gd name="T24" fmla="*/ 14750172 w 214"/>
                <a:gd name="T25" fmla="*/ 14232061 h 271"/>
                <a:gd name="T26" fmla="*/ 14175501 w 214"/>
                <a:gd name="T27" fmla="*/ 11908195 h 271"/>
                <a:gd name="T28" fmla="*/ 14367204 w 214"/>
                <a:gd name="T29" fmla="*/ 9875351 h 271"/>
                <a:gd name="T30" fmla="*/ 15708248 w 214"/>
                <a:gd name="T31" fmla="*/ 8132452 h 271"/>
                <a:gd name="T32" fmla="*/ 19347537 w 214"/>
                <a:gd name="T33" fmla="*/ 5518642 h 271"/>
                <a:gd name="T34" fmla="*/ 28734408 w 214"/>
                <a:gd name="T35" fmla="*/ 871450 h 271"/>
                <a:gd name="T36" fmla="*/ 34481114 w 214"/>
                <a:gd name="T37" fmla="*/ 0 h 271"/>
                <a:gd name="T38" fmla="*/ 37929138 w 214"/>
                <a:gd name="T39" fmla="*/ 0 h 271"/>
                <a:gd name="T40" fmla="*/ 39653150 w 214"/>
                <a:gd name="T41" fmla="*/ 14232061 h 271"/>
                <a:gd name="T42" fmla="*/ 38120841 w 214"/>
                <a:gd name="T43" fmla="*/ 22364513 h 271"/>
                <a:gd name="T44" fmla="*/ 37354468 w 214"/>
                <a:gd name="T45" fmla="*/ 30496965 h 271"/>
                <a:gd name="T46" fmla="*/ 35822158 w 214"/>
                <a:gd name="T47" fmla="*/ 42986126 h 271"/>
                <a:gd name="T48" fmla="*/ 40802491 w 214"/>
                <a:gd name="T49" fmla="*/ 44728486 h 271"/>
                <a:gd name="T50" fmla="*/ 40994194 w 214"/>
                <a:gd name="T51" fmla="*/ 48213746 h 271"/>
                <a:gd name="T52" fmla="*/ 40227821 w 214"/>
                <a:gd name="T53" fmla="*/ 50537611 h 271"/>
                <a:gd name="T54" fmla="*/ 39653150 w 214"/>
                <a:gd name="T55" fmla="*/ 51409061 h 271"/>
                <a:gd name="T56" fmla="*/ 38312544 w 214"/>
                <a:gd name="T57" fmla="*/ 51699544 h 271"/>
                <a:gd name="T58" fmla="*/ 36779797 w 214"/>
                <a:gd name="T59" fmla="*/ 56927164 h 271"/>
                <a:gd name="T60" fmla="*/ 34672817 w 214"/>
                <a:gd name="T61" fmla="*/ 62155323 h 271"/>
                <a:gd name="T62" fmla="*/ 29692046 w 214"/>
                <a:gd name="T63" fmla="*/ 70578258 h 271"/>
                <a:gd name="T64" fmla="*/ 22987264 w 214"/>
                <a:gd name="T65" fmla="*/ 78710710 h 271"/>
                <a:gd name="T66" fmla="*/ 16665887 w 214"/>
                <a:gd name="T67" fmla="*/ 75806417 h 271"/>
                <a:gd name="T68" fmla="*/ 10535774 w 214"/>
                <a:gd name="T69" fmla="*/ 72030674 h 271"/>
                <a:gd name="T70" fmla="*/ 0 w 214"/>
                <a:gd name="T71" fmla="*/ 64188706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9" name="Freeform 220">
              <a:extLst>
                <a:ext uri="{FF2B5EF4-FFF2-40B4-BE49-F238E27FC236}">
                  <a16:creationId xmlns:a16="http://schemas.microsoft.com/office/drawing/2014/main" id="{3E45E149-EC10-49B0-B5C6-3777B3534673}"/>
                </a:ext>
              </a:extLst>
            </p:cNvPr>
            <p:cNvSpPr>
              <a:spLocks/>
            </p:cNvSpPr>
            <p:nvPr>
              <p:custDataLst>
                <p:tags r:id="rId147"/>
              </p:custDataLst>
            </p:nvPr>
          </p:nvSpPr>
          <p:spPr bwMode="auto">
            <a:xfrm>
              <a:off x="1768475" y="3565525"/>
              <a:ext cx="71438" cy="57150"/>
            </a:xfrm>
            <a:custGeom>
              <a:avLst/>
              <a:gdLst>
                <a:gd name="T0" fmla="*/ 13080625 w 153"/>
                <a:gd name="T1" fmla="*/ 0 h 80"/>
                <a:gd name="T2" fmla="*/ 18094825 w 153"/>
                <a:gd name="T3" fmla="*/ 7144464 h 80"/>
                <a:gd name="T4" fmla="*/ 22672927 w 153"/>
                <a:gd name="T5" fmla="*/ 12247959 h 80"/>
                <a:gd name="T6" fmla="*/ 25071003 w 153"/>
                <a:gd name="T7" fmla="*/ 14289643 h 80"/>
                <a:gd name="T8" fmla="*/ 27469078 w 153"/>
                <a:gd name="T9" fmla="*/ 15820549 h 80"/>
                <a:gd name="T10" fmla="*/ 28995424 w 153"/>
                <a:gd name="T11" fmla="*/ 16330613 h 80"/>
                <a:gd name="T12" fmla="*/ 30303253 w 153"/>
                <a:gd name="T13" fmla="*/ 16330613 h 80"/>
                <a:gd name="T14" fmla="*/ 31829598 w 153"/>
                <a:gd name="T15" fmla="*/ 15820549 h 80"/>
                <a:gd name="T16" fmla="*/ 33355476 w 153"/>
                <a:gd name="T17" fmla="*/ 15309771 h 80"/>
                <a:gd name="T18" fmla="*/ 33355476 w 153"/>
                <a:gd name="T19" fmla="*/ 28578572 h 80"/>
                <a:gd name="T20" fmla="*/ 32483279 w 153"/>
                <a:gd name="T21" fmla="*/ 30620256 h 80"/>
                <a:gd name="T22" fmla="*/ 31611548 w 153"/>
                <a:gd name="T23" fmla="*/ 33171289 h 80"/>
                <a:gd name="T24" fmla="*/ 30085203 w 153"/>
                <a:gd name="T25" fmla="*/ 35212973 h 80"/>
                <a:gd name="T26" fmla="*/ 28777374 w 153"/>
                <a:gd name="T27" fmla="*/ 36743878 h 80"/>
                <a:gd name="T28" fmla="*/ 27251029 w 153"/>
                <a:gd name="T29" fmla="*/ 38274784 h 80"/>
                <a:gd name="T30" fmla="*/ 25943200 w 153"/>
                <a:gd name="T31" fmla="*/ 39805689 h 80"/>
                <a:gd name="T32" fmla="*/ 24416855 w 153"/>
                <a:gd name="T33" fmla="*/ 40316468 h 80"/>
                <a:gd name="T34" fmla="*/ 23109026 w 153"/>
                <a:gd name="T35" fmla="*/ 40826531 h 80"/>
                <a:gd name="T36" fmla="*/ 19620704 w 153"/>
                <a:gd name="T37" fmla="*/ 37764720 h 80"/>
                <a:gd name="T38" fmla="*/ 16568947 w 153"/>
                <a:gd name="T39" fmla="*/ 36233814 h 80"/>
                <a:gd name="T40" fmla="*/ 13734773 w 153"/>
                <a:gd name="T41" fmla="*/ 35212973 h 80"/>
                <a:gd name="T42" fmla="*/ 10900598 w 153"/>
                <a:gd name="T43" fmla="*/ 35212973 h 80"/>
                <a:gd name="T44" fmla="*/ 8502523 w 153"/>
                <a:gd name="T45" fmla="*/ 34702909 h 80"/>
                <a:gd name="T46" fmla="*/ 5886398 w 153"/>
                <a:gd name="T47" fmla="*/ 34192131 h 80"/>
                <a:gd name="T48" fmla="*/ 3052224 w 153"/>
                <a:gd name="T49" fmla="*/ 33171289 h 80"/>
                <a:gd name="T50" fmla="*/ 0 w 153"/>
                <a:gd name="T51" fmla="*/ 31640383 h 80"/>
                <a:gd name="T52" fmla="*/ 1525878 w 153"/>
                <a:gd name="T53" fmla="*/ 29599414 h 80"/>
                <a:gd name="T54" fmla="*/ 5014201 w 153"/>
                <a:gd name="T55" fmla="*/ 22965013 h 80"/>
                <a:gd name="T56" fmla="*/ 7412276 w 153"/>
                <a:gd name="T57" fmla="*/ 18882360 h 80"/>
                <a:gd name="T58" fmla="*/ 9810352 w 153"/>
                <a:gd name="T59" fmla="*/ 14289643 h 80"/>
                <a:gd name="T60" fmla="*/ 12208427 w 153"/>
                <a:gd name="T61" fmla="*/ 8675370 h 80"/>
                <a:gd name="T62" fmla="*/ 14606503 w 153"/>
                <a:gd name="T63" fmla="*/ 3061811 h 80"/>
                <a:gd name="T64" fmla="*/ 1308062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0" name="Freeform 221">
              <a:extLst>
                <a:ext uri="{FF2B5EF4-FFF2-40B4-BE49-F238E27FC236}">
                  <a16:creationId xmlns:a16="http://schemas.microsoft.com/office/drawing/2014/main" id="{B9B21FD7-ACF7-4147-B119-597DED0B69DA}"/>
                </a:ext>
              </a:extLst>
            </p:cNvPr>
            <p:cNvSpPr>
              <a:spLocks/>
            </p:cNvSpPr>
            <p:nvPr>
              <p:custDataLst>
                <p:tags r:id="rId148"/>
              </p:custDataLst>
            </p:nvPr>
          </p:nvSpPr>
          <p:spPr bwMode="auto">
            <a:xfrm>
              <a:off x="1800225" y="3527425"/>
              <a:ext cx="142875" cy="87313"/>
            </a:xfrm>
            <a:custGeom>
              <a:avLst/>
              <a:gdLst>
                <a:gd name="T0" fmla="*/ 0 w 332"/>
                <a:gd name="T1" fmla="*/ 20552418 h 169"/>
                <a:gd name="T2" fmla="*/ 8148609 w 332"/>
                <a:gd name="T3" fmla="*/ 26958742 h 169"/>
                <a:gd name="T4" fmla="*/ 12223128 w 332"/>
                <a:gd name="T5" fmla="*/ 28826909 h 169"/>
                <a:gd name="T6" fmla="*/ 14630486 w 332"/>
                <a:gd name="T7" fmla="*/ 29094012 h 169"/>
                <a:gd name="T8" fmla="*/ 17223323 w 332"/>
                <a:gd name="T9" fmla="*/ 28559807 h 169"/>
                <a:gd name="T10" fmla="*/ 16667746 w 332"/>
                <a:gd name="T11" fmla="*/ 38435879 h 169"/>
                <a:gd name="T12" fmla="*/ 17593851 w 332"/>
                <a:gd name="T13" fmla="*/ 41104836 h 169"/>
                <a:gd name="T14" fmla="*/ 18334477 w 332"/>
                <a:gd name="T15" fmla="*/ 43507208 h 169"/>
                <a:gd name="T16" fmla="*/ 19816160 w 332"/>
                <a:gd name="T17" fmla="*/ 44841687 h 169"/>
                <a:gd name="T18" fmla="*/ 21668371 w 332"/>
                <a:gd name="T19" fmla="*/ 45108789 h 169"/>
                <a:gd name="T20" fmla="*/ 22779525 w 332"/>
                <a:gd name="T21" fmla="*/ 44307998 h 169"/>
                <a:gd name="T22" fmla="*/ 24446257 w 332"/>
                <a:gd name="T23" fmla="*/ 41905627 h 169"/>
                <a:gd name="T24" fmla="*/ 27039094 w 332"/>
                <a:gd name="T25" fmla="*/ 36300610 h 169"/>
                <a:gd name="T26" fmla="*/ 32224337 w 332"/>
                <a:gd name="T27" fmla="*/ 30695076 h 169"/>
                <a:gd name="T28" fmla="*/ 39632320 w 332"/>
                <a:gd name="T29" fmla="*/ 25623747 h 169"/>
                <a:gd name="T30" fmla="*/ 47410831 w 332"/>
                <a:gd name="T31" fmla="*/ 21353209 h 169"/>
                <a:gd name="T32" fmla="*/ 56300066 w 332"/>
                <a:gd name="T33" fmla="*/ 17349773 h 169"/>
                <a:gd name="T34" fmla="*/ 61485740 w 332"/>
                <a:gd name="T35" fmla="*/ 12277927 h 169"/>
                <a:gd name="T36" fmla="*/ 61485740 w 332"/>
                <a:gd name="T37" fmla="*/ 5872119 h 169"/>
                <a:gd name="T38" fmla="*/ 59263431 w 332"/>
                <a:gd name="T39" fmla="*/ 533688 h 169"/>
                <a:gd name="T40" fmla="*/ 52411026 w 332"/>
                <a:gd name="T41" fmla="*/ 267102 h 169"/>
                <a:gd name="T42" fmla="*/ 43336311 w 332"/>
                <a:gd name="T43" fmla="*/ 0 h 169"/>
                <a:gd name="T44" fmla="*/ 33335492 w 332"/>
                <a:gd name="T45" fmla="*/ 267102 h 169"/>
                <a:gd name="T46" fmla="*/ 24260777 w 332"/>
                <a:gd name="T47" fmla="*/ 1067893 h 169"/>
                <a:gd name="T48" fmla="*/ 16667746 w 332"/>
                <a:gd name="T49" fmla="*/ 2668957 h 169"/>
                <a:gd name="T50" fmla="*/ 10926495 w 332"/>
                <a:gd name="T51" fmla="*/ 5071329 h 169"/>
                <a:gd name="T52" fmla="*/ 7778511 w 332"/>
                <a:gd name="T53" fmla="*/ 5872119 h 169"/>
                <a:gd name="T54" fmla="*/ 6481877 w 332"/>
                <a:gd name="T55" fmla="*/ 6139222 h 169"/>
                <a:gd name="T56" fmla="*/ 6296828 w 332"/>
                <a:gd name="T57" fmla="*/ 6940012 h 169"/>
                <a:gd name="T58" fmla="*/ 6111349 w 332"/>
                <a:gd name="T59" fmla="*/ 10142658 h 169"/>
                <a:gd name="T60" fmla="*/ 5370723 w 332"/>
                <a:gd name="T61" fmla="*/ 11744239 h 169"/>
                <a:gd name="T62" fmla="*/ 4259569 w 332"/>
                <a:gd name="T63" fmla="*/ 12277927 h 169"/>
                <a:gd name="T64" fmla="*/ 3518942 w 332"/>
                <a:gd name="T65" fmla="*/ 14680299 h 169"/>
                <a:gd name="T66" fmla="*/ 2037260 w 332"/>
                <a:gd name="T67" fmla="*/ 19217940 h 169"/>
                <a:gd name="T68" fmla="*/ 1296203 w 332"/>
                <a:gd name="T69" fmla="*/ 22153999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1" name="Freeform 222">
              <a:extLst>
                <a:ext uri="{FF2B5EF4-FFF2-40B4-BE49-F238E27FC236}">
                  <a16:creationId xmlns:a16="http://schemas.microsoft.com/office/drawing/2014/main" id="{806F2796-F383-4F42-8CF3-8F507AA98314}"/>
                </a:ext>
              </a:extLst>
            </p:cNvPr>
            <p:cNvSpPr>
              <a:spLocks/>
            </p:cNvSpPr>
            <p:nvPr>
              <p:custDataLst>
                <p:tags r:id="rId149"/>
              </p:custDataLst>
            </p:nvPr>
          </p:nvSpPr>
          <p:spPr bwMode="auto">
            <a:xfrm>
              <a:off x="1817688" y="3557588"/>
              <a:ext cx="125412" cy="122237"/>
            </a:xfrm>
            <a:custGeom>
              <a:avLst/>
              <a:gdLst>
                <a:gd name="T0" fmla="*/ 8460486 w 286"/>
                <a:gd name="T1" fmla="*/ 23268914 h 235"/>
                <a:gd name="T2" fmla="*/ 9422125 w 286"/>
                <a:gd name="T3" fmla="*/ 25974795 h 235"/>
                <a:gd name="T4" fmla="*/ 10191260 w 286"/>
                <a:gd name="T5" fmla="*/ 28409672 h 235"/>
                <a:gd name="T6" fmla="*/ 11729530 w 286"/>
                <a:gd name="T7" fmla="*/ 29762612 h 235"/>
                <a:gd name="T8" fmla="*/ 13652368 w 286"/>
                <a:gd name="T9" fmla="*/ 30033096 h 235"/>
                <a:gd name="T10" fmla="*/ 14806071 w 286"/>
                <a:gd name="T11" fmla="*/ 29221124 h 235"/>
                <a:gd name="T12" fmla="*/ 16536405 w 286"/>
                <a:gd name="T13" fmla="*/ 26786247 h 235"/>
                <a:gd name="T14" fmla="*/ 19228378 w 286"/>
                <a:gd name="T15" fmla="*/ 21104521 h 235"/>
                <a:gd name="T16" fmla="*/ 24612324 w 286"/>
                <a:gd name="T17" fmla="*/ 15422274 h 235"/>
                <a:gd name="T18" fmla="*/ 32304114 w 286"/>
                <a:gd name="T19" fmla="*/ 10281516 h 235"/>
                <a:gd name="T20" fmla="*/ 40380033 w 286"/>
                <a:gd name="T21" fmla="*/ 5952731 h 235"/>
                <a:gd name="T22" fmla="*/ 49609655 w 286"/>
                <a:gd name="T23" fmla="*/ 1893909 h 235"/>
                <a:gd name="T24" fmla="*/ 54993601 w 286"/>
                <a:gd name="T25" fmla="*/ 2976365 h 235"/>
                <a:gd name="T26" fmla="*/ 54224465 w 286"/>
                <a:gd name="T27" fmla="*/ 8658092 h 235"/>
                <a:gd name="T28" fmla="*/ 52301628 w 286"/>
                <a:gd name="T29" fmla="*/ 18939608 h 235"/>
                <a:gd name="T30" fmla="*/ 48840519 w 286"/>
                <a:gd name="T31" fmla="*/ 34632886 h 235"/>
                <a:gd name="T32" fmla="*/ 46917682 w 286"/>
                <a:gd name="T33" fmla="*/ 47078795 h 235"/>
                <a:gd name="T34" fmla="*/ 46148546 w 286"/>
                <a:gd name="T35" fmla="*/ 55736887 h 235"/>
                <a:gd name="T36" fmla="*/ 28073871 w 286"/>
                <a:gd name="T37" fmla="*/ 58442768 h 235"/>
                <a:gd name="T38" fmla="*/ 26535162 w 286"/>
                <a:gd name="T39" fmla="*/ 58983736 h 235"/>
                <a:gd name="T40" fmla="*/ 25381459 w 286"/>
                <a:gd name="T41" fmla="*/ 60336677 h 235"/>
                <a:gd name="T42" fmla="*/ 24420260 w 286"/>
                <a:gd name="T43" fmla="*/ 63583526 h 235"/>
                <a:gd name="T44" fmla="*/ 20959152 w 286"/>
                <a:gd name="T45" fmla="*/ 58713252 h 235"/>
                <a:gd name="T46" fmla="*/ 18074676 w 286"/>
                <a:gd name="T47" fmla="*/ 53842978 h 235"/>
                <a:gd name="T48" fmla="*/ 13267800 w 286"/>
                <a:gd name="T49" fmla="*/ 43290978 h 235"/>
                <a:gd name="T50" fmla="*/ 10575827 w 286"/>
                <a:gd name="T51" fmla="*/ 38420704 h 235"/>
                <a:gd name="T52" fmla="*/ 7883854 w 286"/>
                <a:gd name="T53" fmla="*/ 33820914 h 235"/>
                <a:gd name="T54" fmla="*/ 4230243 w 286"/>
                <a:gd name="T55" fmla="*/ 29762612 h 235"/>
                <a:gd name="T56" fmla="*/ 0 w 286"/>
                <a:gd name="T57" fmla="*/ 26786247 h 235"/>
                <a:gd name="T58" fmla="*/ 2499908 w 286"/>
                <a:gd name="T59" fmla="*/ 26245279 h 235"/>
                <a:gd name="T60" fmla="*/ 4999378 w 286"/>
                <a:gd name="T61" fmla="*/ 24621854 h 235"/>
                <a:gd name="T62" fmla="*/ 7499287 w 286"/>
                <a:gd name="T63" fmla="*/ 22727945 h 235"/>
                <a:gd name="T64" fmla="*/ 9037557 w 286"/>
                <a:gd name="T65" fmla="*/ 20292548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2" name="Freeform 223">
              <a:extLst>
                <a:ext uri="{FF2B5EF4-FFF2-40B4-BE49-F238E27FC236}">
                  <a16:creationId xmlns:a16="http://schemas.microsoft.com/office/drawing/2014/main" id="{93EB3766-F1BE-4316-A195-609C99E16B8F}"/>
                </a:ext>
              </a:extLst>
            </p:cNvPr>
            <p:cNvSpPr>
              <a:spLocks/>
            </p:cNvSpPr>
            <p:nvPr>
              <p:custDataLst>
                <p:tags r:id="rId150"/>
              </p:custDataLst>
            </p:nvPr>
          </p:nvSpPr>
          <p:spPr bwMode="auto">
            <a:xfrm>
              <a:off x="1868488" y="3670300"/>
              <a:ext cx="84137" cy="100013"/>
            </a:xfrm>
            <a:custGeom>
              <a:avLst/>
              <a:gdLst>
                <a:gd name="T0" fmla="*/ 31668346 w 205"/>
                <a:gd name="T1" fmla="*/ 50723364 h 191"/>
                <a:gd name="T2" fmla="*/ 29478321 w 205"/>
                <a:gd name="T3" fmla="*/ 50723364 h 191"/>
                <a:gd name="T4" fmla="*/ 26614790 w 205"/>
                <a:gd name="T5" fmla="*/ 50723364 h 191"/>
                <a:gd name="T6" fmla="*/ 24256492 w 205"/>
                <a:gd name="T7" fmla="*/ 49352518 h 191"/>
                <a:gd name="T8" fmla="*/ 22909069 w 205"/>
                <a:gd name="T9" fmla="*/ 47433440 h 191"/>
                <a:gd name="T10" fmla="*/ 21729919 w 205"/>
                <a:gd name="T11" fmla="*/ 44691750 h 191"/>
                <a:gd name="T12" fmla="*/ 20213812 w 205"/>
                <a:gd name="T13" fmla="*/ 40304836 h 191"/>
                <a:gd name="T14" fmla="*/ 18529430 w 205"/>
                <a:gd name="T15" fmla="*/ 35917922 h 191"/>
                <a:gd name="T16" fmla="*/ 16676364 w 205"/>
                <a:gd name="T17" fmla="*/ 33175708 h 191"/>
                <a:gd name="T18" fmla="*/ 15665489 w 205"/>
                <a:gd name="T19" fmla="*/ 34547077 h 191"/>
                <a:gd name="T20" fmla="*/ 15160256 w 205"/>
                <a:gd name="T21" fmla="*/ 37014389 h 191"/>
                <a:gd name="T22" fmla="*/ 14149791 w 205"/>
                <a:gd name="T23" fmla="*/ 35643544 h 191"/>
                <a:gd name="T24" fmla="*/ 12128451 w 205"/>
                <a:gd name="T25" fmla="*/ 30982251 h 191"/>
                <a:gd name="T26" fmla="*/ 9433194 w 205"/>
                <a:gd name="T27" fmla="*/ 23853647 h 191"/>
                <a:gd name="T28" fmla="*/ 6906211 w 205"/>
                <a:gd name="T29" fmla="*/ 18370267 h 191"/>
                <a:gd name="T30" fmla="*/ 5221830 w 205"/>
                <a:gd name="T31" fmla="*/ 15902432 h 191"/>
                <a:gd name="T32" fmla="*/ 4379639 w 205"/>
                <a:gd name="T33" fmla="*/ 16450665 h 191"/>
                <a:gd name="T34" fmla="*/ 4884871 w 205"/>
                <a:gd name="T35" fmla="*/ 18918500 h 191"/>
                <a:gd name="T36" fmla="*/ 5727062 w 205"/>
                <a:gd name="T37" fmla="*/ 21386336 h 191"/>
                <a:gd name="T38" fmla="*/ 6906211 w 205"/>
                <a:gd name="T39" fmla="*/ 23031036 h 191"/>
                <a:gd name="T40" fmla="*/ 7748812 w 205"/>
                <a:gd name="T41" fmla="*/ 28788795 h 191"/>
                <a:gd name="T42" fmla="*/ 2190025 w 205"/>
                <a:gd name="T43" fmla="*/ 26869716 h 191"/>
                <a:gd name="T44" fmla="*/ 673917 w 205"/>
                <a:gd name="T45" fmla="*/ 23031036 h 191"/>
                <a:gd name="T46" fmla="*/ 0 w 205"/>
                <a:gd name="T47" fmla="*/ 16450665 h 191"/>
                <a:gd name="T48" fmla="*/ 0 w 205"/>
                <a:gd name="T49" fmla="*/ 10419051 h 191"/>
                <a:gd name="T50" fmla="*/ 505232 w 205"/>
                <a:gd name="T51" fmla="*/ 7676837 h 191"/>
                <a:gd name="T52" fmla="*/ 1347423 w 205"/>
                <a:gd name="T53" fmla="*/ 6032137 h 191"/>
                <a:gd name="T54" fmla="*/ 2358299 w 205"/>
                <a:gd name="T55" fmla="*/ 3564302 h 191"/>
                <a:gd name="T56" fmla="*/ 3368763 w 205"/>
                <a:gd name="T57" fmla="*/ 1096467 h 191"/>
                <a:gd name="T58" fmla="*/ 4716597 w 205"/>
                <a:gd name="T59" fmla="*/ 0 h 191"/>
                <a:gd name="T60" fmla="*/ 21224276 w 205"/>
                <a:gd name="T61" fmla="*/ 1645224 h 191"/>
                <a:gd name="T62" fmla="*/ 21392961 w 205"/>
                <a:gd name="T63" fmla="*/ 5757759 h 191"/>
                <a:gd name="T64" fmla="*/ 21898193 w 205"/>
                <a:gd name="T65" fmla="*/ 10144673 h 191"/>
                <a:gd name="T66" fmla="*/ 24088218 w 205"/>
                <a:gd name="T67" fmla="*/ 19192879 h 191"/>
                <a:gd name="T68" fmla="*/ 27793940 w 205"/>
                <a:gd name="T69" fmla="*/ 27966706 h 191"/>
                <a:gd name="T70" fmla="*/ 29815280 w 205"/>
                <a:gd name="T71" fmla="*/ 32079242 h 191"/>
                <a:gd name="T72" fmla="*/ 32341852 w 205"/>
                <a:gd name="T73" fmla="*/ 35643544 h 191"/>
                <a:gd name="T74" fmla="*/ 31836620 w 205"/>
                <a:gd name="T75" fmla="*/ 39207846 h 191"/>
                <a:gd name="T76" fmla="*/ 31836620 w 205"/>
                <a:gd name="T77" fmla="*/ 42772148 h 191"/>
                <a:gd name="T78" fmla="*/ 32341852 w 205"/>
                <a:gd name="T79" fmla="*/ 52368587 h 191"/>
                <a:gd name="T80" fmla="*/ 34531877 w 205"/>
                <a:gd name="T81" fmla="*/ 50723364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3" name="Freeform 224">
              <a:extLst>
                <a:ext uri="{FF2B5EF4-FFF2-40B4-BE49-F238E27FC236}">
                  <a16:creationId xmlns:a16="http://schemas.microsoft.com/office/drawing/2014/main" id="{3792D6B8-A4FB-4D60-B4F1-9D7B32901754}"/>
                </a:ext>
              </a:extLst>
            </p:cNvPr>
            <p:cNvSpPr>
              <a:spLocks/>
            </p:cNvSpPr>
            <p:nvPr>
              <p:custDataLst>
                <p:tags r:id="rId151"/>
              </p:custDataLst>
            </p:nvPr>
          </p:nvSpPr>
          <p:spPr bwMode="auto">
            <a:xfrm>
              <a:off x="1949450" y="3724275"/>
              <a:ext cx="142875" cy="79375"/>
            </a:xfrm>
            <a:custGeom>
              <a:avLst/>
              <a:gdLst>
                <a:gd name="T0" fmla="*/ 565854 w 329"/>
                <a:gd name="T1" fmla="*/ 15408028 h 154"/>
                <a:gd name="T2" fmla="*/ 0 w 329"/>
                <a:gd name="T3" fmla="*/ 11157857 h 154"/>
                <a:gd name="T4" fmla="*/ 377381 w 329"/>
                <a:gd name="T5" fmla="*/ 8235414 h 154"/>
                <a:gd name="T6" fmla="*/ 3206219 w 329"/>
                <a:gd name="T7" fmla="*/ 8766814 h 154"/>
                <a:gd name="T8" fmla="*/ 6789385 w 329"/>
                <a:gd name="T9" fmla="*/ 10891899 h 154"/>
                <a:gd name="T10" fmla="*/ 9240842 w 329"/>
                <a:gd name="T11" fmla="*/ 11423300 h 154"/>
                <a:gd name="T12" fmla="*/ 12635535 w 329"/>
                <a:gd name="T13" fmla="*/ 11423300 h 154"/>
                <a:gd name="T14" fmla="*/ 16218701 w 329"/>
                <a:gd name="T15" fmla="*/ 10360499 h 154"/>
                <a:gd name="T16" fmla="*/ 20745103 w 329"/>
                <a:gd name="T17" fmla="*/ 7969972 h 154"/>
                <a:gd name="T18" fmla="*/ 26402779 w 329"/>
                <a:gd name="T19" fmla="*/ 3453328 h 154"/>
                <a:gd name="T20" fmla="*/ 30551799 w 329"/>
                <a:gd name="T21" fmla="*/ 1062800 h 154"/>
                <a:gd name="T22" fmla="*/ 33757584 w 329"/>
                <a:gd name="T23" fmla="*/ 0 h 154"/>
                <a:gd name="T24" fmla="*/ 38283986 w 329"/>
                <a:gd name="T25" fmla="*/ 0 h 154"/>
                <a:gd name="T26" fmla="*/ 42244533 w 329"/>
                <a:gd name="T27" fmla="*/ 1594200 h 154"/>
                <a:gd name="T28" fmla="*/ 45827699 w 329"/>
                <a:gd name="T29" fmla="*/ 3984728 h 154"/>
                <a:gd name="T30" fmla="*/ 48845011 w 329"/>
                <a:gd name="T31" fmla="*/ 7438571 h 154"/>
                <a:gd name="T32" fmla="*/ 52805558 w 329"/>
                <a:gd name="T33" fmla="*/ 12220142 h 154"/>
                <a:gd name="T34" fmla="*/ 56954578 w 329"/>
                <a:gd name="T35" fmla="*/ 16205386 h 154"/>
                <a:gd name="T36" fmla="*/ 60160363 w 329"/>
                <a:gd name="T37" fmla="*/ 17799071 h 154"/>
                <a:gd name="T38" fmla="*/ 59029089 w 329"/>
                <a:gd name="T39" fmla="*/ 21784314 h 154"/>
                <a:gd name="T40" fmla="*/ 55257015 w 329"/>
                <a:gd name="T41" fmla="*/ 28160085 h 154"/>
                <a:gd name="T42" fmla="*/ 52239703 w 329"/>
                <a:gd name="T43" fmla="*/ 36660942 h 154"/>
                <a:gd name="T44" fmla="*/ 49976720 w 329"/>
                <a:gd name="T45" fmla="*/ 40646185 h 154"/>
                <a:gd name="T46" fmla="*/ 47713302 w 329"/>
                <a:gd name="T47" fmla="*/ 38786542 h 154"/>
                <a:gd name="T48" fmla="*/ 45261845 w 329"/>
                <a:gd name="T49" fmla="*/ 36129541 h 154"/>
                <a:gd name="T50" fmla="*/ 43375808 w 329"/>
                <a:gd name="T51" fmla="*/ 33473056 h 154"/>
                <a:gd name="T52" fmla="*/ 43375808 w 329"/>
                <a:gd name="T53" fmla="*/ 30285170 h 154"/>
                <a:gd name="T54" fmla="*/ 44319043 w 329"/>
                <a:gd name="T55" fmla="*/ 26565885 h 154"/>
                <a:gd name="T56" fmla="*/ 46958974 w 329"/>
                <a:gd name="T57" fmla="*/ 22846599 h 154"/>
                <a:gd name="T58" fmla="*/ 43941662 w 329"/>
                <a:gd name="T59" fmla="*/ 18065028 h 154"/>
                <a:gd name="T60" fmla="*/ 39038314 w 329"/>
                <a:gd name="T61" fmla="*/ 14611185 h 154"/>
                <a:gd name="T62" fmla="*/ 36775330 w 329"/>
                <a:gd name="T63" fmla="*/ 10891899 h 154"/>
                <a:gd name="T64" fmla="*/ 33757584 w 329"/>
                <a:gd name="T65" fmla="*/ 9032256 h 154"/>
                <a:gd name="T66" fmla="*/ 30740273 w 329"/>
                <a:gd name="T67" fmla="*/ 10891899 h 154"/>
                <a:gd name="T68" fmla="*/ 28288816 w 329"/>
                <a:gd name="T69" fmla="*/ 13282942 h 154"/>
                <a:gd name="T70" fmla="*/ 26402779 w 329"/>
                <a:gd name="T71" fmla="*/ 16205386 h 154"/>
                <a:gd name="T72" fmla="*/ 24894123 w 329"/>
                <a:gd name="T73" fmla="*/ 19658713 h 154"/>
                <a:gd name="T74" fmla="*/ 24139795 w 329"/>
                <a:gd name="T75" fmla="*/ 23377999 h 154"/>
                <a:gd name="T76" fmla="*/ 23196560 w 329"/>
                <a:gd name="T77" fmla="*/ 28956928 h 154"/>
                <a:gd name="T78" fmla="*/ 23008086 w 329"/>
                <a:gd name="T79" fmla="*/ 33207614 h 154"/>
                <a:gd name="T80" fmla="*/ 22253758 w 329"/>
                <a:gd name="T81" fmla="*/ 34269899 h 154"/>
                <a:gd name="T82" fmla="*/ 20367722 w 329"/>
                <a:gd name="T83" fmla="*/ 35864099 h 154"/>
                <a:gd name="T84" fmla="*/ 18104738 w 329"/>
                <a:gd name="T85" fmla="*/ 35864099 h 154"/>
                <a:gd name="T86" fmla="*/ 15652847 w 329"/>
                <a:gd name="T87" fmla="*/ 34269899 h 154"/>
                <a:gd name="T88" fmla="*/ 12447062 w 329"/>
                <a:gd name="T89" fmla="*/ 30816571 h 154"/>
                <a:gd name="T90" fmla="*/ 9052369 w 329"/>
                <a:gd name="T91" fmla="*/ 24972200 h 154"/>
                <a:gd name="T92" fmla="*/ 6223531 w 329"/>
                <a:gd name="T93" fmla="*/ 21252914 h 154"/>
                <a:gd name="T94" fmla="*/ 4149021 w 329"/>
                <a:gd name="T95" fmla="*/ 19658713 h 154"/>
                <a:gd name="T96" fmla="*/ 565854 w 329"/>
                <a:gd name="T97" fmla="*/ 19393271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4" name="Freeform 225">
              <a:extLst>
                <a:ext uri="{FF2B5EF4-FFF2-40B4-BE49-F238E27FC236}">
                  <a16:creationId xmlns:a16="http://schemas.microsoft.com/office/drawing/2014/main" id="{BA271CAC-2A0F-4685-BC9A-A86035ACDBA4}"/>
                </a:ext>
              </a:extLst>
            </p:cNvPr>
            <p:cNvSpPr>
              <a:spLocks/>
            </p:cNvSpPr>
            <p:nvPr>
              <p:custDataLst>
                <p:tags r:id="rId152"/>
              </p:custDataLst>
            </p:nvPr>
          </p:nvSpPr>
          <p:spPr bwMode="auto">
            <a:xfrm>
              <a:off x="2630488" y="4978400"/>
              <a:ext cx="133350" cy="155575"/>
            </a:xfrm>
            <a:custGeom>
              <a:avLst/>
              <a:gdLst>
                <a:gd name="T0" fmla="*/ 56402692 w 306"/>
                <a:gd name="T1" fmla="*/ 51029662 h 293"/>
                <a:gd name="T2" fmla="*/ 56212690 w 306"/>
                <a:gd name="T3" fmla="*/ 52157448 h 293"/>
                <a:gd name="T4" fmla="*/ 55263116 w 306"/>
                <a:gd name="T5" fmla="*/ 54694966 h 293"/>
                <a:gd name="T6" fmla="*/ 53553970 w 306"/>
                <a:gd name="T7" fmla="*/ 56104699 h 293"/>
                <a:gd name="T8" fmla="*/ 51654822 w 306"/>
                <a:gd name="T9" fmla="*/ 56668592 h 293"/>
                <a:gd name="T10" fmla="*/ 49945676 w 306"/>
                <a:gd name="T11" fmla="*/ 58359740 h 293"/>
                <a:gd name="T12" fmla="*/ 48046528 w 306"/>
                <a:gd name="T13" fmla="*/ 64562563 h 293"/>
                <a:gd name="T14" fmla="*/ 45957814 w 306"/>
                <a:gd name="T15" fmla="*/ 71610695 h 293"/>
                <a:gd name="T16" fmla="*/ 43868664 w 306"/>
                <a:gd name="T17" fmla="*/ 75275999 h 293"/>
                <a:gd name="T18" fmla="*/ 41969516 w 306"/>
                <a:gd name="T19" fmla="*/ 76967678 h 293"/>
                <a:gd name="T20" fmla="*/ 37981653 w 306"/>
                <a:gd name="T21" fmla="*/ 79222719 h 293"/>
                <a:gd name="T22" fmla="*/ 31145069 w 306"/>
                <a:gd name="T23" fmla="*/ 81760238 h 293"/>
                <a:gd name="T24" fmla="*/ 26397199 w 306"/>
                <a:gd name="T25" fmla="*/ 82606077 h 293"/>
                <a:gd name="T26" fmla="*/ 23358475 w 306"/>
                <a:gd name="T27" fmla="*/ 82606077 h 293"/>
                <a:gd name="T28" fmla="*/ 20130185 w 306"/>
                <a:gd name="T29" fmla="*/ 81760238 h 293"/>
                <a:gd name="T30" fmla="*/ 17471465 w 306"/>
                <a:gd name="T31" fmla="*/ 80632452 h 293"/>
                <a:gd name="T32" fmla="*/ 15192749 w 306"/>
                <a:gd name="T33" fmla="*/ 78376880 h 293"/>
                <a:gd name="T34" fmla="*/ 13483602 w 306"/>
                <a:gd name="T35" fmla="*/ 75557946 h 293"/>
                <a:gd name="T36" fmla="*/ 190002 w 306"/>
                <a:gd name="T37" fmla="*/ 66536189 h 293"/>
                <a:gd name="T38" fmla="*/ 0 w 306"/>
                <a:gd name="T39" fmla="*/ 24810230 h 293"/>
                <a:gd name="T40" fmla="*/ 190002 w 306"/>
                <a:gd name="T41" fmla="*/ 13814848 h 293"/>
                <a:gd name="T42" fmla="*/ 759572 w 306"/>
                <a:gd name="T43" fmla="*/ 9867597 h 293"/>
                <a:gd name="T44" fmla="*/ 2089150 w 306"/>
                <a:gd name="T45" fmla="*/ 5920346 h 293"/>
                <a:gd name="T46" fmla="*/ 3798296 w 306"/>
                <a:gd name="T47" fmla="*/ 2255572 h 293"/>
                <a:gd name="T48" fmla="*/ 7786158 w 306"/>
                <a:gd name="T49" fmla="*/ 563893 h 293"/>
                <a:gd name="T50" fmla="*/ 10065310 w 306"/>
                <a:gd name="T51" fmla="*/ 0 h 293"/>
                <a:gd name="T52" fmla="*/ 13673169 w 306"/>
                <a:gd name="T53" fmla="*/ 1691679 h 293"/>
                <a:gd name="T54" fmla="*/ 15192749 w 306"/>
                <a:gd name="T55" fmla="*/ 1973626 h 293"/>
                <a:gd name="T56" fmla="*/ 15952321 w 306"/>
                <a:gd name="T57" fmla="*/ 1127786 h 293"/>
                <a:gd name="T58" fmla="*/ 16521891 w 306"/>
                <a:gd name="T59" fmla="*/ 1409733 h 293"/>
                <a:gd name="T60" fmla="*/ 17091897 w 306"/>
                <a:gd name="T61" fmla="*/ 3101412 h 293"/>
                <a:gd name="T62" fmla="*/ 18801043 w 306"/>
                <a:gd name="T63" fmla="*/ 5356453 h 293"/>
                <a:gd name="T64" fmla="*/ 22978907 w 306"/>
                <a:gd name="T65" fmla="*/ 8739811 h 293"/>
                <a:gd name="T66" fmla="*/ 28106345 w 306"/>
                <a:gd name="T67" fmla="*/ 11559276 h 293"/>
                <a:gd name="T68" fmla="*/ 34563361 w 306"/>
                <a:gd name="T69" fmla="*/ 16633782 h 293"/>
                <a:gd name="T70" fmla="*/ 39880801 w 306"/>
                <a:gd name="T71" fmla="*/ 22272712 h 293"/>
                <a:gd name="T72" fmla="*/ 45767812 w 306"/>
                <a:gd name="T73" fmla="*/ 28756950 h 293"/>
                <a:gd name="T74" fmla="*/ 49566108 w 306"/>
                <a:gd name="T75" fmla="*/ 32986148 h 293"/>
                <a:gd name="T76" fmla="*/ 50515682 w 306"/>
                <a:gd name="T77" fmla="*/ 34959773 h 293"/>
                <a:gd name="T78" fmla="*/ 53174402 w 306"/>
                <a:gd name="T79" fmla="*/ 38060654 h 293"/>
                <a:gd name="T80" fmla="*/ 56782696 w 306"/>
                <a:gd name="T81" fmla="*/ 42571798 h 293"/>
                <a:gd name="T82" fmla="*/ 58111838 w 306"/>
                <a:gd name="T83" fmla="*/ 45391263 h 293"/>
                <a:gd name="T84" fmla="*/ 57731834 w 306"/>
                <a:gd name="T85" fmla="*/ 46800464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5" name="Freeform 226">
              <a:extLst>
                <a:ext uri="{FF2B5EF4-FFF2-40B4-BE49-F238E27FC236}">
                  <a16:creationId xmlns:a16="http://schemas.microsoft.com/office/drawing/2014/main" id="{C8060CD8-CAFA-4E75-ADCE-015936AA6FCC}"/>
                </a:ext>
              </a:extLst>
            </p:cNvPr>
            <p:cNvSpPr>
              <a:spLocks/>
            </p:cNvSpPr>
            <p:nvPr>
              <p:custDataLst>
                <p:tags r:id="rId153"/>
              </p:custDataLst>
            </p:nvPr>
          </p:nvSpPr>
          <p:spPr bwMode="auto">
            <a:xfrm>
              <a:off x="4176713" y="1595438"/>
              <a:ext cx="236537" cy="92075"/>
            </a:xfrm>
            <a:custGeom>
              <a:avLst/>
              <a:gdLst>
                <a:gd name="T0" fmla="*/ 13888101 w 546"/>
                <a:gd name="T1" fmla="*/ 5381864 h 173"/>
                <a:gd name="T2" fmla="*/ 17641501 w 546"/>
                <a:gd name="T3" fmla="*/ 9631151 h 173"/>
                <a:gd name="T4" fmla="*/ 20644568 w 546"/>
                <a:gd name="T5" fmla="*/ 7648079 h 173"/>
                <a:gd name="T6" fmla="*/ 24773568 w 546"/>
                <a:gd name="T7" fmla="*/ 7648079 h 173"/>
                <a:gd name="T8" fmla="*/ 30216085 w 546"/>
                <a:gd name="T9" fmla="*/ 12463655 h 173"/>
                <a:gd name="T10" fmla="*/ 39224853 w 546"/>
                <a:gd name="T11" fmla="*/ 5381864 h 173"/>
                <a:gd name="T12" fmla="*/ 45605720 w 546"/>
                <a:gd name="T13" fmla="*/ 5381864 h 173"/>
                <a:gd name="T14" fmla="*/ 48796370 w 546"/>
                <a:gd name="T15" fmla="*/ 4532432 h 173"/>
                <a:gd name="T16" fmla="*/ 50485487 w 546"/>
                <a:gd name="T17" fmla="*/ 3965612 h 173"/>
                <a:gd name="T18" fmla="*/ 52362187 w 546"/>
                <a:gd name="T19" fmla="*/ 3115648 h 173"/>
                <a:gd name="T20" fmla="*/ 53675704 w 546"/>
                <a:gd name="T21" fmla="*/ 849964 h 173"/>
                <a:gd name="T22" fmla="*/ 60244588 w 546"/>
                <a:gd name="T23" fmla="*/ 1416252 h 173"/>
                <a:gd name="T24" fmla="*/ 62496888 w 546"/>
                <a:gd name="T25" fmla="*/ 3399324 h 173"/>
                <a:gd name="T26" fmla="*/ 65311938 w 546"/>
                <a:gd name="T27" fmla="*/ 1983072 h 173"/>
                <a:gd name="T28" fmla="*/ 66250288 w 546"/>
                <a:gd name="T29" fmla="*/ 0 h 173"/>
                <a:gd name="T30" fmla="*/ 68877755 w 546"/>
                <a:gd name="T31" fmla="*/ 1983072 h 173"/>
                <a:gd name="T32" fmla="*/ 73006755 w 546"/>
                <a:gd name="T33" fmla="*/ 1983072 h 173"/>
                <a:gd name="T34" fmla="*/ 81827506 w 546"/>
                <a:gd name="T35" fmla="*/ 283144 h 173"/>
                <a:gd name="T36" fmla="*/ 90460673 w 546"/>
                <a:gd name="T37" fmla="*/ 1699396 h 173"/>
                <a:gd name="T38" fmla="*/ 99093840 w 546"/>
                <a:gd name="T39" fmla="*/ 3399324 h 173"/>
                <a:gd name="T40" fmla="*/ 102284491 w 546"/>
                <a:gd name="T41" fmla="*/ 13879907 h 173"/>
                <a:gd name="T42" fmla="*/ 100782957 w 546"/>
                <a:gd name="T43" fmla="*/ 16996087 h 173"/>
                <a:gd name="T44" fmla="*/ 96278790 w 546"/>
                <a:gd name="T45" fmla="*/ 17562375 h 173"/>
                <a:gd name="T46" fmla="*/ 90648256 w 546"/>
                <a:gd name="T47" fmla="*/ 15296159 h 173"/>
                <a:gd name="T48" fmla="*/ 77510922 w 546"/>
                <a:gd name="T49" fmla="*/ 12463655 h 173"/>
                <a:gd name="T50" fmla="*/ 82202673 w 546"/>
                <a:gd name="T51" fmla="*/ 22944238 h 173"/>
                <a:gd name="T52" fmla="*/ 88396390 w 546"/>
                <a:gd name="T53" fmla="*/ 28892922 h 173"/>
                <a:gd name="T54" fmla="*/ 92524957 w 546"/>
                <a:gd name="T55" fmla="*/ 33708498 h 173"/>
                <a:gd name="T56" fmla="*/ 89147156 w 546"/>
                <a:gd name="T57" fmla="*/ 38524074 h 173"/>
                <a:gd name="T58" fmla="*/ 84267389 w 546"/>
                <a:gd name="T59" fmla="*/ 40223469 h 173"/>
                <a:gd name="T60" fmla="*/ 79950806 w 546"/>
                <a:gd name="T61" fmla="*/ 39940325 h 173"/>
                <a:gd name="T62" fmla="*/ 77323339 w 546"/>
                <a:gd name="T63" fmla="*/ 37957253 h 173"/>
                <a:gd name="T64" fmla="*/ 74883455 w 546"/>
                <a:gd name="T65" fmla="*/ 36824146 h 173"/>
                <a:gd name="T66" fmla="*/ 72255988 w 546"/>
                <a:gd name="T67" fmla="*/ 34274786 h 173"/>
                <a:gd name="T68" fmla="*/ 70379288 w 546"/>
                <a:gd name="T69" fmla="*/ 29459210 h 173"/>
                <a:gd name="T70" fmla="*/ 68502588 w 546"/>
                <a:gd name="T71" fmla="*/ 26060418 h 173"/>
                <a:gd name="T72" fmla="*/ 64561171 w 546"/>
                <a:gd name="T73" fmla="*/ 23794202 h 173"/>
                <a:gd name="T74" fmla="*/ 60995354 w 546"/>
                <a:gd name="T75" fmla="*/ 21527987 h 173"/>
                <a:gd name="T76" fmla="*/ 56866354 w 546"/>
                <a:gd name="T77" fmla="*/ 24644166 h 173"/>
                <a:gd name="T78" fmla="*/ 48420770 w 546"/>
                <a:gd name="T79" fmla="*/ 37957253 h 173"/>
                <a:gd name="T80" fmla="*/ 44291770 w 546"/>
                <a:gd name="T81" fmla="*/ 46172153 h 173"/>
                <a:gd name="T82" fmla="*/ 41289136 w 546"/>
                <a:gd name="T83" fmla="*/ 48721513 h 173"/>
                <a:gd name="T84" fmla="*/ 35283436 w 546"/>
                <a:gd name="T85" fmla="*/ 47305261 h 173"/>
                <a:gd name="T86" fmla="*/ 30966852 w 546"/>
                <a:gd name="T87" fmla="*/ 43905937 h 173"/>
                <a:gd name="T88" fmla="*/ 21207751 w 546"/>
                <a:gd name="T89" fmla="*/ 29742886 h 173"/>
                <a:gd name="T90" fmla="*/ 17829518 w 546"/>
                <a:gd name="T91" fmla="*/ 25777274 h 173"/>
                <a:gd name="T92" fmla="*/ 11260634 w 546"/>
                <a:gd name="T93" fmla="*/ 21527987 h 173"/>
                <a:gd name="T94" fmla="*/ 3002634 w 546"/>
                <a:gd name="T95" fmla="*/ 16429267 h 173"/>
                <a:gd name="T96" fmla="*/ 2064284 w 546"/>
                <a:gd name="T97" fmla="*/ 9631151 h 173"/>
                <a:gd name="T98" fmla="*/ 5254934 w 546"/>
                <a:gd name="T99" fmla="*/ 5381864 h 173"/>
                <a:gd name="T100" fmla="*/ 8820751 w 546"/>
                <a:gd name="T101" fmla="*/ 3399324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6" name="Freeform 227">
              <a:extLst>
                <a:ext uri="{FF2B5EF4-FFF2-40B4-BE49-F238E27FC236}">
                  <a16:creationId xmlns:a16="http://schemas.microsoft.com/office/drawing/2014/main" id="{FB6FFC2F-F961-4599-A1E8-E8FA4531B164}"/>
                </a:ext>
              </a:extLst>
            </p:cNvPr>
            <p:cNvSpPr>
              <a:spLocks/>
            </p:cNvSpPr>
            <p:nvPr>
              <p:custDataLst>
                <p:tags r:id="rId154"/>
              </p:custDataLst>
            </p:nvPr>
          </p:nvSpPr>
          <p:spPr bwMode="auto">
            <a:xfrm>
              <a:off x="4103688" y="1825625"/>
              <a:ext cx="449262" cy="361950"/>
            </a:xfrm>
            <a:custGeom>
              <a:avLst/>
              <a:gdLst>
                <a:gd name="T0" fmla="*/ 45045772 w 1037"/>
                <a:gd name="T1" fmla="*/ 171155139 h 690"/>
                <a:gd name="T2" fmla="*/ 29091989 w 1037"/>
                <a:gd name="T3" fmla="*/ 187940177 h 690"/>
                <a:gd name="T4" fmla="*/ 6005901 w 1037"/>
                <a:gd name="T5" fmla="*/ 179960491 h 690"/>
                <a:gd name="T6" fmla="*/ 12575437 w 1037"/>
                <a:gd name="T7" fmla="*/ 174456753 h 690"/>
                <a:gd name="T8" fmla="*/ 3378346 w 1037"/>
                <a:gd name="T9" fmla="*/ 164000594 h 690"/>
                <a:gd name="T10" fmla="*/ 8258276 w 1037"/>
                <a:gd name="T11" fmla="*/ 163725197 h 690"/>
                <a:gd name="T12" fmla="*/ 12575437 w 1037"/>
                <a:gd name="T13" fmla="*/ 156020383 h 690"/>
                <a:gd name="T14" fmla="*/ 1501584 w 1037"/>
                <a:gd name="T15" fmla="*/ 150242298 h 690"/>
                <a:gd name="T16" fmla="*/ 13888998 w 1037"/>
                <a:gd name="T17" fmla="*/ 143913418 h 690"/>
                <a:gd name="T18" fmla="*/ 0 w 1037"/>
                <a:gd name="T19" fmla="*/ 137309142 h 690"/>
                <a:gd name="T20" fmla="*/ 3753959 w 1037"/>
                <a:gd name="T21" fmla="*/ 125477049 h 690"/>
                <a:gd name="T22" fmla="*/ 6944715 w 1037"/>
                <a:gd name="T23" fmla="*/ 126852984 h 690"/>
                <a:gd name="T24" fmla="*/ 14452200 w 1037"/>
                <a:gd name="T25" fmla="*/ 123550846 h 690"/>
                <a:gd name="T26" fmla="*/ 17267344 w 1037"/>
                <a:gd name="T27" fmla="*/ 116671697 h 690"/>
                <a:gd name="T28" fmla="*/ 24399649 w 1037"/>
                <a:gd name="T29" fmla="*/ 112543894 h 690"/>
                <a:gd name="T30" fmla="*/ 41291813 w 1037"/>
                <a:gd name="T31" fmla="*/ 105114477 h 690"/>
                <a:gd name="T32" fmla="*/ 42605807 w 1037"/>
                <a:gd name="T33" fmla="*/ 93282383 h 690"/>
                <a:gd name="T34" fmla="*/ 53116459 w 1037"/>
                <a:gd name="T35" fmla="*/ 89429977 h 690"/>
                <a:gd name="T36" fmla="*/ 52928869 w 1037"/>
                <a:gd name="T37" fmla="*/ 85302173 h 690"/>
                <a:gd name="T38" fmla="*/ 55931603 w 1037"/>
                <a:gd name="T39" fmla="*/ 78423025 h 690"/>
                <a:gd name="T40" fmla="*/ 62876318 w 1037"/>
                <a:gd name="T41" fmla="*/ 66865804 h 690"/>
                <a:gd name="T42" fmla="*/ 64377902 w 1037"/>
                <a:gd name="T43" fmla="*/ 62188256 h 690"/>
                <a:gd name="T44" fmla="*/ 73199380 w 1037"/>
                <a:gd name="T45" fmla="*/ 55033711 h 690"/>
                <a:gd name="T46" fmla="*/ 72636178 w 1037"/>
                <a:gd name="T47" fmla="*/ 43201618 h 690"/>
                <a:gd name="T48" fmla="*/ 70008623 w 1037"/>
                <a:gd name="T49" fmla="*/ 39073814 h 690"/>
                <a:gd name="T50" fmla="*/ 62688728 w 1037"/>
                <a:gd name="T51" fmla="*/ 42375952 h 690"/>
                <a:gd name="T52" fmla="*/ 73199380 w 1037"/>
                <a:gd name="T53" fmla="*/ 28342259 h 690"/>
                <a:gd name="T54" fmla="*/ 77140928 w 1037"/>
                <a:gd name="T55" fmla="*/ 26416055 h 690"/>
                <a:gd name="T56" fmla="*/ 86900788 w 1037"/>
                <a:gd name="T57" fmla="*/ 31369000 h 690"/>
                <a:gd name="T58" fmla="*/ 87463557 w 1037"/>
                <a:gd name="T59" fmla="*/ 25040121 h 690"/>
                <a:gd name="T60" fmla="*/ 104731334 w 1037"/>
                <a:gd name="T61" fmla="*/ 16785038 h 690"/>
                <a:gd name="T62" fmla="*/ 110924824 w 1037"/>
                <a:gd name="T63" fmla="*/ 17335831 h 690"/>
                <a:gd name="T64" fmla="*/ 121060296 w 1037"/>
                <a:gd name="T65" fmla="*/ 15134231 h 690"/>
                <a:gd name="T66" fmla="*/ 121060296 w 1037"/>
                <a:gd name="T67" fmla="*/ 9080748 h 690"/>
                <a:gd name="T68" fmla="*/ 131195335 w 1037"/>
                <a:gd name="T69" fmla="*/ 3577010 h 690"/>
                <a:gd name="T70" fmla="*/ 132321739 w 1037"/>
                <a:gd name="T71" fmla="*/ 7979686 h 690"/>
                <a:gd name="T72" fmla="*/ 133635300 w 1037"/>
                <a:gd name="T73" fmla="*/ 11006952 h 690"/>
                <a:gd name="T74" fmla="*/ 142269188 w 1037"/>
                <a:gd name="T75" fmla="*/ 3302138 h 690"/>
                <a:gd name="T76" fmla="*/ 153343042 w 1037"/>
                <a:gd name="T77" fmla="*/ 1650807 h 690"/>
                <a:gd name="T78" fmla="*/ 158410561 w 1037"/>
                <a:gd name="T79" fmla="*/ 2201600 h 690"/>
                <a:gd name="T80" fmla="*/ 161788907 w 1037"/>
                <a:gd name="T81" fmla="*/ 3026741 h 690"/>
                <a:gd name="T82" fmla="*/ 173425963 w 1037"/>
                <a:gd name="T83" fmla="*/ 1650807 h 690"/>
                <a:gd name="T84" fmla="*/ 194634855 w 1037"/>
                <a:gd name="T85" fmla="*/ 11832093 h 690"/>
                <a:gd name="T86" fmla="*/ 188628954 w 1037"/>
                <a:gd name="T87" fmla="*/ 21738507 h 690"/>
                <a:gd name="T88" fmla="*/ 174551934 w 1037"/>
                <a:gd name="T89" fmla="*/ 15134231 h 690"/>
                <a:gd name="T90" fmla="*/ 163853693 w 1037"/>
                <a:gd name="T91" fmla="*/ 20362573 h 690"/>
                <a:gd name="T92" fmla="*/ 159161353 w 1037"/>
                <a:gd name="T93" fmla="*/ 31919793 h 690"/>
                <a:gd name="T94" fmla="*/ 152216637 w 1037"/>
                <a:gd name="T95" fmla="*/ 30543859 h 690"/>
                <a:gd name="T96" fmla="*/ 139829223 w 1037"/>
                <a:gd name="T97" fmla="*/ 35221407 h 690"/>
                <a:gd name="T98" fmla="*/ 130256953 w 1037"/>
                <a:gd name="T99" fmla="*/ 25315517 h 690"/>
                <a:gd name="T100" fmla="*/ 116367956 w 1037"/>
                <a:gd name="T101" fmla="*/ 30818731 h 690"/>
                <a:gd name="T102" fmla="*/ 100226583 w 1037"/>
                <a:gd name="T103" fmla="*/ 36872738 h 690"/>
                <a:gd name="T104" fmla="*/ 91217515 w 1037"/>
                <a:gd name="T105" fmla="*/ 57785580 h 690"/>
                <a:gd name="T106" fmla="*/ 80706864 w 1037"/>
                <a:gd name="T107" fmla="*/ 76772218 h 690"/>
                <a:gd name="T108" fmla="*/ 74888553 w 1037"/>
                <a:gd name="T109" fmla="*/ 100161532 h 690"/>
                <a:gd name="T110" fmla="*/ 62500706 w 1037"/>
                <a:gd name="T111" fmla="*/ 116946570 h 690"/>
                <a:gd name="T112" fmla="*/ 66630277 w 1037"/>
                <a:gd name="T113" fmla="*/ 136758873 h 690"/>
                <a:gd name="T114" fmla="*/ 66442254 w 1037"/>
                <a:gd name="T115" fmla="*/ 153543911 h 690"/>
                <a:gd name="T116" fmla="*/ 62125526 w 1037"/>
                <a:gd name="T117" fmla="*/ 169228936 h 690"/>
                <a:gd name="T118" fmla="*/ 55368834 w 1037"/>
                <a:gd name="T119" fmla="*/ 177484018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7" name="Freeform 228">
              <a:extLst>
                <a:ext uri="{FF2B5EF4-FFF2-40B4-BE49-F238E27FC236}">
                  <a16:creationId xmlns:a16="http://schemas.microsoft.com/office/drawing/2014/main" id="{B21A84DD-FDB0-485B-A23A-20F3AF2C76D3}"/>
                </a:ext>
              </a:extLst>
            </p:cNvPr>
            <p:cNvSpPr>
              <a:spLocks/>
            </p:cNvSpPr>
            <p:nvPr>
              <p:custDataLst>
                <p:tags r:id="rId155"/>
              </p:custDataLst>
            </p:nvPr>
          </p:nvSpPr>
          <p:spPr bwMode="auto">
            <a:xfrm>
              <a:off x="4443413" y="2667000"/>
              <a:ext cx="49212" cy="90488"/>
            </a:xfrm>
            <a:custGeom>
              <a:avLst/>
              <a:gdLst>
                <a:gd name="T0" fmla="*/ 20181841 w 120"/>
                <a:gd name="T1" fmla="*/ 27084381 h 173"/>
                <a:gd name="T2" fmla="*/ 15472663 w 120"/>
                <a:gd name="T3" fmla="*/ 16414760 h 173"/>
                <a:gd name="T4" fmla="*/ 11772741 w 120"/>
                <a:gd name="T5" fmla="*/ 7660012 h 173"/>
                <a:gd name="T6" fmla="*/ 10090921 w 120"/>
                <a:gd name="T7" fmla="*/ 4377374 h 173"/>
                <a:gd name="T8" fmla="*/ 8913524 w 120"/>
                <a:gd name="T9" fmla="*/ 2188425 h 173"/>
                <a:gd name="T10" fmla="*/ 8072819 w 120"/>
                <a:gd name="T11" fmla="*/ 1094213 h 173"/>
                <a:gd name="T12" fmla="*/ 7568396 w 120"/>
                <a:gd name="T13" fmla="*/ 547106 h 173"/>
                <a:gd name="T14" fmla="*/ 7231703 w 120"/>
                <a:gd name="T15" fmla="*/ 273553 h 173"/>
                <a:gd name="T16" fmla="*/ 6559139 w 120"/>
                <a:gd name="T17" fmla="*/ 0 h 173"/>
                <a:gd name="T18" fmla="*/ 5549883 w 120"/>
                <a:gd name="T19" fmla="*/ 0 h 173"/>
                <a:gd name="T20" fmla="*/ 4541037 w 120"/>
                <a:gd name="T21" fmla="*/ 273553 h 173"/>
                <a:gd name="T22" fmla="*/ 4036204 w 120"/>
                <a:gd name="T23" fmla="*/ 820660 h 173"/>
                <a:gd name="T24" fmla="*/ 3531781 w 120"/>
                <a:gd name="T25" fmla="*/ 1367766 h 173"/>
                <a:gd name="T26" fmla="*/ 3195499 w 120"/>
                <a:gd name="T27" fmla="*/ 2188425 h 173"/>
                <a:gd name="T28" fmla="*/ 2691076 w 120"/>
                <a:gd name="T29" fmla="*/ 3283161 h 173"/>
                <a:gd name="T30" fmla="*/ 2522935 w 120"/>
                <a:gd name="T31" fmla="*/ 4103821 h 173"/>
                <a:gd name="T32" fmla="*/ 2522935 w 120"/>
                <a:gd name="T33" fmla="*/ 5471587 h 173"/>
                <a:gd name="T34" fmla="*/ 2354384 w 120"/>
                <a:gd name="T35" fmla="*/ 8207119 h 173"/>
                <a:gd name="T36" fmla="*/ 2018102 w 120"/>
                <a:gd name="T37" fmla="*/ 11490280 h 173"/>
                <a:gd name="T38" fmla="*/ 1681820 w 120"/>
                <a:gd name="T39" fmla="*/ 13131599 h 173"/>
                <a:gd name="T40" fmla="*/ 1345538 w 120"/>
                <a:gd name="T41" fmla="*/ 14772918 h 173"/>
                <a:gd name="T42" fmla="*/ 672564 w 120"/>
                <a:gd name="T43" fmla="*/ 16688313 h 173"/>
                <a:gd name="T44" fmla="*/ 0 w 120"/>
                <a:gd name="T45" fmla="*/ 18603186 h 173"/>
                <a:gd name="T46" fmla="*/ 841115 w 120"/>
                <a:gd name="T47" fmla="*/ 22433453 h 173"/>
                <a:gd name="T48" fmla="*/ 1681820 w 120"/>
                <a:gd name="T49" fmla="*/ 27084381 h 173"/>
                <a:gd name="T50" fmla="*/ 2522935 w 120"/>
                <a:gd name="T51" fmla="*/ 31461232 h 173"/>
                <a:gd name="T52" fmla="*/ 3363640 w 120"/>
                <a:gd name="T53" fmla="*/ 35291499 h 173"/>
                <a:gd name="T54" fmla="*/ 4036204 w 120"/>
                <a:gd name="T55" fmla="*/ 36659265 h 173"/>
                <a:gd name="T56" fmla="*/ 5045460 w 120"/>
                <a:gd name="T57" fmla="*/ 38027031 h 173"/>
                <a:gd name="T58" fmla="*/ 6222857 w 120"/>
                <a:gd name="T59" fmla="*/ 39668873 h 173"/>
                <a:gd name="T60" fmla="*/ 7736537 w 120"/>
                <a:gd name="T61" fmla="*/ 41310192 h 173"/>
                <a:gd name="T62" fmla="*/ 9081665 w 120"/>
                <a:gd name="T63" fmla="*/ 42951511 h 173"/>
                <a:gd name="T64" fmla="*/ 10090921 w 120"/>
                <a:gd name="T65" fmla="*/ 44593354 h 173"/>
                <a:gd name="T66" fmla="*/ 10427203 w 120"/>
                <a:gd name="T67" fmla="*/ 45140460 h 173"/>
                <a:gd name="T68" fmla="*/ 10932036 w 120"/>
                <a:gd name="T69" fmla="*/ 45961119 h 173"/>
                <a:gd name="T70" fmla="*/ 11100177 w 120"/>
                <a:gd name="T71" fmla="*/ 46508226 h 173"/>
                <a:gd name="T72" fmla="*/ 11268318 w 120"/>
                <a:gd name="T73" fmla="*/ 47328885 h 173"/>
                <a:gd name="T74" fmla="*/ 12781997 w 120"/>
                <a:gd name="T75" fmla="*/ 45687566 h 173"/>
                <a:gd name="T76" fmla="*/ 14463817 w 120"/>
                <a:gd name="T77" fmla="*/ 43772171 h 173"/>
                <a:gd name="T78" fmla="*/ 15640804 w 120"/>
                <a:gd name="T79" fmla="*/ 41583745 h 173"/>
                <a:gd name="T80" fmla="*/ 16986342 w 120"/>
                <a:gd name="T81" fmla="*/ 38848214 h 173"/>
                <a:gd name="T82" fmla="*/ 17827457 w 120"/>
                <a:gd name="T83" fmla="*/ 36112159 h 173"/>
                <a:gd name="T84" fmla="*/ 18836303 w 120"/>
                <a:gd name="T85" fmla="*/ 33103074 h 173"/>
                <a:gd name="T86" fmla="*/ 19509277 w 120"/>
                <a:gd name="T87" fmla="*/ 30093466 h 173"/>
                <a:gd name="T88" fmla="*/ 20181841 w 120"/>
                <a:gd name="T89" fmla="*/ 27084381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endParaRPr lang="en-US"/>
            </a:p>
          </p:txBody>
        </p:sp>
        <p:sp>
          <p:nvSpPr>
            <p:cNvPr id="168" name="Freeform 229">
              <a:extLst>
                <a:ext uri="{FF2B5EF4-FFF2-40B4-BE49-F238E27FC236}">
                  <a16:creationId xmlns:a16="http://schemas.microsoft.com/office/drawing/2014/main" id="{BB1C7805-263F-4290-86CF-D7B503A75428}"/>
                </a:ext>
              </a:extLst>
            </p:cNvPr>
            <p:cNvSpPr>
              <a:spLocks/>
            </p:cNvSpPr>
            <p:nvPr>
              <p:custDataLst>
                <p:tags r:id="rId156"/>
              </p:custDataLst>
            </p:nvPr>
          </p:nvSpPr>
          <p:spPr bwMode="auto">
            <a:xfrm>
              <a:off x="4151313" y="2506663"/>
              <a:ext cx="84137" cy="58737"/>
            </a:xfrm>
            <a:custGeom>
              <a:avLst/>
              <a:gdLst>
                <a:gd name="T0" fmla="*/ 35395174 w 200"/>
                <a:gd name="T1" fmla="*/ 19758145 h 98"/>
                <a:gd name="T2" fmla="*/ 34510473 w 200"/>
                <a:gd name="T3" fmla="*/ 20117765 h 98"/>
                <a:gd name="T4" fmla="*/ 32917339 w 200"/>
                <a:gd name="T5" fmla="*/ 21554449 h 98"/>
                <a:gd name="T6" fmla="*/ 31324626 w 200"/>
                <a:gd name="T7" fmla="*/ 23350752 h 98"/>
                <a:gd name="T8" fmla="*/ 29378116 w 200"/>
                <a:gd name="T9" fmla="*/ 26224719 h 98"/>
                <a:gd name="T10" fmla="*/ 27431186 w 200"/>
                <a:gd name="T11" fmla="*/ 28739065 h 98"/>
                <a:gd name="T12" fmla="*/ 25661364 w 200"/>
                <a:gd name="T13" fmla="*/ 31254010 h 98"/>
                <a:gd name="T14" fmla="*/ 24245759 w 200"/>
                <a:gd name="T15" fmla="*/ 33409335 h 98"/>
                <a:gd name="T16" fmla="*/ 23537746 w 200"/>
                <a:gd name="T17" fmla="*/ 35205639 h 98"/>
                <a:gd name="T18" fmla="*/ 22475937 w 200"/>
                <a:gd name="T19" fmla="*/ 35205639 h 98"/>
                <a:gd name="T20" fmla="*/ 21591237 w 200"/>
                <a:gd name="T21" fmla="*/ 35205639 h 98"/>
                <a:gd name="T22" fmla="*/ 20529007 w 200"/>
                <a:gd name="T23" fmla="*/ 34846618 h 98"/>
                <a:gd name="T24" fmla="*/ 19644307 w 200"/>
                <a:gd name="T25" fmla="*/ 34127977 h 98"/>
                <a:gd name="T26" fmla="*/ 18759606 w 200"/>
                <a:gd name="T27" fmla="*/ 33409335 h 98"/>
                <a:gd name="T28" fmla="*/ 18228702 w 200"/>
                <a:gd name="T29" fmla="*/ 31613031 h 98"/>
                <a:gd name="T30" fmla="*/ 17874485 w 200"/>
                <a:gd name="T31" fmla="*/ 29457706 h 98"/>
                <a:gd name="T32" fmla="*/ 17697797 w 200"/>
                <a:gd name="T33" fmla="*/ 26583740 h 98"/>
                <a:gd name="T34" fmla="*/ 16104663 w 200"/>
                <a:gd name="T35" fmla="*/ 28739065 h 98"/>
                <a:gd name="T36" fmla="*/ 14511950 w 200"/>
                <a:gd name="T37" fmla="*/ 30894989 h 98"/>
                <a:gd name="T38" fmla="*/ 13803937 w 200"/>
                <a:gd name="T39" fmla="*/ 32331673 h 98"/>
                <a:gd name="T40" fmla="*/ 12742128 w 200"/>
                <a:gd name="T41" fmla="*/ 33409335 h 98"/>
                <a:gd name="T42" fmla="*/ 11857427 w 200"/>
                <a:gd name="T43" fmla="*/ 34486998 h 98"/>
                <a:gd name="T44" fmla="*/ 10618510 w 200"/>
                <a:gd name="T45" fmla="*/ 35205639 h 98"/>
                <a:gd name="T46" fmla="*/ 6902179 w 200"/>
                <a:gd name="T47" fmla="*/ 35205639 h 98"/>
                <a:gd name="T48" fmla="*/ 6017058 w 200"/>
                <a:gd name="T49" fmla="*/ 35205639 h 98"/>
                <a:gd name="T50" fmla="*/ 4955249 w 200"/>
                <a:gd name="T51" fmla="*/ 34127977 h 98"/>
                <a:gd name="T52" fmla="*/ 3893440 w 200"/>
                <a:gd name="T53" fmla="*/ 33050314 h 98"/>
                <a:gd name="T54" fmla="*/ 2654522 w 200"/>
                <a:gd name="T55" fmla="*/ 31972652 h 98"/>
                <a:gd name="T56" fmla="*/ 1592713 w 200"/>
                <a:gd name="T57" fmla="*/ 30535369 h 98"/>
                <a:gd name="T58" fmla="*/ 708013 w 200"/>
                <a:gd name="T59" fmla="*/ 29098685 h 98"/>
                <a:gd name="T60" fmla="*/ 177108 w 200"/>
                <a:gd name="T61" fmla="*/ 27661402 h 98"/>
                <a:gd name="T62" fmla="*/ 0 w 200"/>
                <a:gd name="T63" fmla="*/ 26583740 h 98"/>
                <a:gd name="T64" fmla="*/ 884701 w 200"/>
                <a:gd name="T65" fmla="*/ 25506077 h 98"/>
                <a:gd name="T66" fmla="*/ 1769822 w 200"/>
                <a:gd name="T67" fmla="*/ 24069394 h 98"/>
                <a:gd name="T68" fmla="*/ 2477835 w 200"/>
                <a:gd name="T69" fmla="*/ 21554449 h 98"/>
                <a:gd name="T70" fmla="*/ 3539644 w 200"/>
                <a:gd name="T71" fmla="*/ 19039503 h 98"/>
                <a:gd name="T72" fmla="*/ 4070548 w 200"/>
                <a:gd name="T73" fmla="*/ 16166136 h 98"/>
                <a:gd name="T74" fmla="*/ 4778140 w 200"/>
                <a:gd name="T75" fmla="*/ 13292170 h 98"/>
                <a:gd name="T76" fmla="*/ 5309465 w 200"/>
                <a:gd name="T77" fmla="*/ 10058583 h 98"/>
                <a:gd name="T78" fmla="*/ 5840370 w 200"/>
                <a:gd name="T79" fmla="*/ 6825595 h 98"/>
                <a:gd name="T80" fmla="*/ 11680319 w 200"/>
                <a:gd name="T81" fmla="*/ 5029291 h 98"/>
                <a:gd name="T82" fmla="*/ 18228702 w 200"/>
                <a:gd name="T83" fmla="*/ 3232987 h 98"/>
                <a:gd name="T84" fmla="*/ 25661364 w 200"/>
                <a:gd name="T85" fmla="*/ 1436684 h 98"/>
                <a:gd name="T86" fmla="*/ 34156257 w 200"/>
                <a:gd name="T87" fmla="*/ 0 h 98"/>
                <a:gd name="T88" fmla="*/ 29378116 w 200"/>
                <a:gd name="T89" fmla="*/ 11136245 h 98"/>
                <a:gd name="T90" fmla="*/ 29378116 w 200"/>
                <a:gd name="T91" fmla="*/ 12213908 h 98"/>
                <a:gd name="T92" fmla="*/ 29023900 w 200"/>
                <a:gd name="T93" fmla="*/ 13292170 h 98"/>
                <a:gd name="T94" fmla="*/ 28670103 w 200"/>
                <a:gd name="T95" fmla="*/ 14010212 h 98"/>
                <a:gd name="T96" fmla="*/ 28492995 w 200"/>
                <a:gd name="T97" fmla="*/ 14728853 h 98"/>
                <a:gd name="T98" fmla="*/ 27785403 w 200"/>
                <a:gd name="T99" fmla="*/ 16166136 h 98"/>
                <a:gd name="T100" fmla="*/ 27608294 w 200"/>
                <a:gd name="T101" fmla="*/ 16884178 h 98"/>
                <a:gd name="T102" fmla="*/ 27608294 w 200"/>
                <a:gd name="T103" fmla="*/ 17602820 h 98"/>
                <a:gd name="T104" fmla="*/ 27785403 w 200"/>
                <a:gd name="T105" fmla="*/ 17961841 h 98"/>
                <a:gd name="T106" fmla="*/ 28139199 w 200"/>
                <a:gd name="T107" fmla="*/ 17961841 h 98"/>
                <a:gd name="T108" fmla="*/ 28847212 w 200"/>
                <a:gd name="T109" fmla="*/ 18321461 h 98"/>
                <a:gd name="T110" fmla="*/ 31324626 w 200"/>
                <a:gd name="T111" fmla="*/ 19039503 h 98"/>
                <a:gd name="T112" fmla="*/ 35395174 w 200"/>
                <a:gd name="T113" fmla="*/ 1975814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9" name="Freeform 230">
              <a:extLst>
                <a:ext uri="{FF2B5EF4-FFF2-40B4-BE49-F238E27FC236}">
                  <a16:creationId xmlns:a16="http://schemas.microsoft.com/office/drawing/2014/main" id="{F99525E1-47ED-440B-9E68-9B061AB8D4F2}"/>
                </a:ext>
              </a:extLst>
            </p:cNvPr>
            <p:cNvSpPr>
              <a:spLocks/>
            </p:cNvSpPr>
            <p:nvPr>
              <p:custDataLst>
                <p:tags r:id="rId157"/>
              </p:custDataLst>
            </p:nvPr>
          </p:nvSpPr>
          <p:spPr bwMode="auto">
            <a:xfrm>
              <a:off x="4089400" y="2325688"/>
              <a:ext cx="84138" cy="73025"/>
            </a:xfrm>
            <a:custGeom>
              <a:avLst/>
              <a:gdLst>
                <a:gd name="T0" fmla="*/ 0 w 186"/>
                <a:gd name="T1" fmla="*/ 29619866 h 142"/>
                <a:gd name="T2" fmla="*/ 409381 w 186"/>
                <a:gd name="T3" fmla="*/ 30677700 h 142"/>
                <a:gd name="T4" fmla="*/ 613846 w 186"/>
                <a:gd name="T5" fmla="*/ 28297702 h 142"/>
                <a:gd name="T6" fmla="*/ 613846 w 186"/>
                <a:gd name="T7" fmla="*/ 24595026 h 142"/>
                <a:gd name="T8" fmla="*/ 1841537 w 186"/>
                <a:gd name="T9" fmla="*/ 21685854 h 142"/>
                <a:gd name="T10" fmla="*/ 3478609 w 186"/>
                <a:gd name="T11" fmla="*/ 18248022 h 142"/>
                <a:gd name="T12" fmla="*/ 4092454 w 186"/>
                <a:gd name="T13" fmla="*/ 14810190 h 142"/>
                <a:gd name="T14" fmla="*/ 4706300 w 186"/>
                <a:gd name="T15" fmla="*/ 12165348 h 142"/>
                <a:gd name="T16" fmla="*/ 5729526 w 186"/>
                <a:gd name="T17" fmla="*/ 9785350 h 142"/>
                <a:gd name="T18" fmla="*/ 7161682 w 186"/>
                <a:gd name="T19" fmla="*/ 8462672 h 142"/>
                <a:gd name="T20" fmla="*/ 8389825 w 186"/>
                <a:gd name="T21" fmla="*/ 10049680 h 142"/>
                <a:gd name="T22" fmla="*/ 8798754 w 186"/>
                <a:gd name="T23" fmla="*/ 12958852 h 142"/>
                <a:gd name="T24" fmla="*/ 9617516 w 186"/>
                <a:gd name="T25" fmla="*/ 15338850 h 142"/>
                <a:gd name="T26" fmla="*/ 11254588 w 186"/>
                <a:gd name="T27" fmla="*/ 17190188 h 142"/>
                <a:gd name="T28" fmla="*/ 17802425 w 186"/>
                <a:gd name="T29" fmla="*/ 17718848 h 142"/>
                <a:gd name="T30" fmla="*/ 16165353 w 186"/>
                <a:gd name="T31" fmla="*/ 10843184 h 142"/>
                <a:gd name="T32" fmla="*/ 14118899 w 186"/>
                <a:gd name="T33" fmla="*/ 9520506 h 142"/>
                <a:gd name="T34" fmla="*/ 12891208 w 186"/>
                <a:gd name="T35" fmla="*/ 7934012 h 142"/>
                <a:gd name="T36" fmla="*/ 12482279 w 186"/>
                <a:gd name="T37" fmla="*/ 6082674 h 142"/>
                <a:gd name="T38" fmla="*/ 14323816 w 186"/>
                <a:gd name="T39" fmla="*/ 4495666 h 142"/>
                <a:gd name="T40" fmla="*/ 17802425 w 186"/>
                <a:gd name="T41" fmla="*/ 3702676 h 142"/>
                <a:gd name="T42" fmla="*/ 20053342 w 186"/>
                <a:gd name="T43" fmla="*/ 2644842 h 142"/>
                <a:gd name="T44" fmla="*/ 22713189 w 186"/>
                <a:gd name="T45" fmla="*/ 1587008 h 142"/>
                <a:gd name="T46" fmla="*/ 26601179 w 186"/>
                <a:gd name="T47" fmla="*/ 793504 h 142"/>
                <a:gd name="T48" fmla="*/ 30079787 w 186"/>
                <a:gd name="T49" fmla="*/ 264330 h 142"/>
                <a:gd name="T50" fmla="*/ 32535169 w 186"/>
                <a:gd name="T51" fmla="*/ 529174 h 142"/>
                <a:gd name="T52" fmla="*/ 36013778 w 186"/>
                <a:gd name="T53" fmla="*/ 264330 h 142"/>
                <a:gd name="T54" fmla="*/ 37446386 w 186"/>
                <a:gd name="T55" fmla="*/ 2644842 h 142"/>
                <a:gd name="T56" fmla="*/ 36423159 w 186"/>
                <a:gd name="T57" fmla="*/ 6876178 h 142"/>
                <a:gd name="T58" fmla="*/ 34581623 w 186"/>
                <a:gd name="T59" fmla="*/ 10578340 h 142"/>
                <a:gd name="T60" fmla="*/ 32535169 w 186"/>
                <a:gd name="T61" fmla="*/ 13487512 h 142"/>
                <a:gd name="T62" fmla="*/ 31716860 w 186"/>
                <a:gd name="T63" fmla="*/ 16661014 h 142"/>
                <a:gd name="T64" fmla="*/ 31307478 w 186"/>
                <a:gd name="T65" fmla="*/ 20099360 h 142"/>
                <a:gd name="T66" fmla="*/ 24555178 w 186"/>
                <a:gd name="T67" fmla="*/ 37553878 h 142"/>
                <a:gd name="T68" fmla="*/ 16369817 w 186"/>
                <a:gd name="T69" fmla="*/ 32264708 h 142"/>
                <a:gd name="T70" fmla="*/ 7161682 w 186"/>
                <a:gd name="T71" fmla="*/ 30942030 h 142"/>
                <a:gd name="T72" fmla="*/ 1637072 w 186"/>
                <a:gd name="T73" fmla="*/ 29884196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170" name="Freeform 231">
              <a:extLst>
                <a:ext uri="{FF2B5EF4-FFF2-40B4-BE49-F238E27FC236}">
                  <a16:creationId xmlns:a16="http://schemas.microsoft.com/office/drawing/2014/main" id="{D181165B-8EFA-4EDA-B10F-74B8B91CE9D0}"/>
                </a:ext>
              </a:extLst>
            </p:cNvPr>
            <p:cNvSpPr>
              <a:spLocks/>
            </p:cNvSpPr>
            <p:nvPr>
              <p:custDataLst>
                <p:tags r:id="rId158"/>
              </p:custDataLst>
            </p:nvPr>
          </p:nvSpPr>
          <p:spPr bwMode="auto">
            <a:xfrm>
              <a:off x="4070350" y="2389188"/>
              <a:ext cx="84138" cy="57150"/>
            </a:xfrm>
            <a:custGeom>
              <a:avLst/>
              <a:gdLst>
                <a:gd name="T0" fmla="*/ 36870849 w 192"/>
                <a:gd name="T1" fmla="*/ 18070830 h 105"/>
                <a:gd name="T2" fmla="*/ 36294592 w 192"/>
                <a:gd name="T3" fmla="*/ 18367466 h 105"/>
                <a:gd name="T4" fmla="*/ 35334454 w 192"/>
                <a:gd name="T5" fmla="*/ 18663557 h 105"/>
                <a:gd name="T6" fmla="*/ 34566257 w 192"/>
                <a:gd name="T7" fmla="*/ 18959649 h 105"/>
                <a:gd name="T8" fmla="*/ 33990437 w 192"/>
                <a:gd name="T9" fmla="*/ 19848467 h 105"/>
                <a:gd name="T10" fmla="*/ 32262103 w 192"/>
                <a:gd name="T11" fmla="*/ 21330013 h 105"/>
                <a:gd name="T12" fmla="*/ 30725708 w 192"/>
                <a:gd name="T13" fmla="*/ 23403741 h 105"/>
                <a:gd name="T14" fmla="*/ 29573631 w 192"/>
                <a:gd name="T15" fmla="*/ 25477470 h 105"/>
                <a:gd name="T16" fmla="*/ 28229175 w 192"/>
                <a:gd name="T17" fmla="*/ 27551199 h 105"/>
                <a:gd name="T18" fmla="*/ 27460978 w 192"/>
                <a:gd name="T19" fmla="*/ 29328291 h 105"/>
                <a:gd name="T20" fmla="*/ 26692781 w 192"/>
                <a:gd name="T21" fmla="*/ 31105929 h 105"/>
                <a:gd name="T22" fmla="*/ 23044171 w 192"/>
                <a:gd name="T23" fmla="*/ 28736109 h 105"/>
                <a:gd name="T24" fmla="*/ 19587502 w 192"/>
                <a:gd name="T25" fmla="*/ 26365744 h 105"/>
                <a:gd name="T26" fmla="*/ 16515150 w 192"/>
                <a:gd name="T27" fmla="*/ 23699833 h 105"/>
                <a:gd name="T28" fmla="*/ 13250420 w 192"/>
                <a:gd name="T29" fmla="*/ 21033377 h 105"/>
                <a:gd name="T30" fmla="*/ 10178069 w 192"/>
                <a:gd name="T31" fmla="*/ 18070830 h 105"/>
                <a:gd name="T32" fmla="*/ 6913339 w 192"/>
                <a:gd name="T33" fmla="*/ 15701010 h 105"/>
                <a:gd name="T34" fmla="*/ 3648609 w 192"/>
                <a:gd name="T35" fmla="*/ 13035099 h 105"/>
                <a:gd name="T36" fmla="*/ 0 w 192"/>
                <a:gd name="T37" fmla="*/ 10961370 h 105"/>
                <a:gd name="T38" fmla="*/ 0 w 192"/>
                <a:gd name="T39" fmla="*/ 3851366 h 105"/>
                <a:gd name="T40" fmla="*/ 1344455 w 192"/>
                <a:gd name="T41" fmla="*/ 2073729 h 105"/>
                <a:gd name="T42" fmla="*/ 3072790 w 192"/>
                <a:gd name="T43" fmla="*/ 1184910 h 105"/>
                <a:gd name="T44" fmla="*/ 5568884 w 192"/>
                <a:gd name="T45" fmla="*/ 296091 h 105"/>
                <a:gd name="T46" fmla="*/ 7681536 w 192"/>
                <a:gd name="T47" fmla="*/ 0 h 105"/>
                <a:gd name="T48" fmla="*/ 11522086 w 192"/>
                <a:gd name="T49" fmla="*/ 592727 h 105"/>
                <a:gd name="T50" fmla="*/ 17859167 w 192"/>
                <a:gd name="T51" fmla="*/ 1481001 h 105"/>
                <a:gd name="T52" fmla="*/ 21315836 w 192"/>
                <a:gd name="T53" fmla="*/ 2073729 h 105"/>
                <a:gd name="T54" fmla="*/ 24580566 w 192"/>
                <a:gd name="T55" fmla="*/ 2073729 h 105"/>
                <a:gd name="T56" fmla="*/ 27460978 w 192"/>
                <a:gd name="T57" fmla="*/ 2073729 h 105"/>
                <a:gd name="T58" fmla="*/ 29381253 w 192"/>
                <a:gd name="T59" fmla="*/ 1777637 h 105"/>
                <a:gd name="T60" fmla="*/ 29765570 w 192"/>
                <a:gd name="T61" fmla="*/ 3258639 h 105"/>
                <a:gd name="T62" fmla="*/ 30533768 w 192"/>
                <a:gd name="T63" fmla="*/ 5036276 h 105"/>
                <a:gd name="T64" fmla="*/ 30917647 w 192"/>
                <a:gd name="T65" fmla="*/ 5925094 h 105"/>
                <a:gd name="T66" fmla="*/ 31493905 w 192"/>
                <a:gd name="T67" fmla="*/ 6813913 h 105"/>
                <a:gd name="T68" fmla="*/ 31685845 w 192"/>
                <a:gd name="T69" fmla="*/ 7998823 h 105"/>
                <a:gd name="T70" fmla="*/ 31877785 w 192"/>
                <a:gd name="T71" fmla="*/ 9183733 h 105"/>
                <a:gd name="T72" fmla="*/ 32645982 w 192"/>
                <a:gd name="T73" fmla="*/ 9479824 h 105"/>
                <a:gd name="T74" fmla="*/ 33990437 w 192"/>
                <a:gd name="T75" fmla="*/ 9775916 h 105"/>
                <a:gd name="T76" fmla="*/ 34566257 w 192"/>
                <a:gd name="T77" fmla="*/ 10072551 h 105"/>
                <a:gd name="T78" fmla="*/ 35142514 w 192"/>
                <a:gd name="T79" fmla="*/ 10072551 h 105"/>
                <a:gd name="T80" fmla="*/ 36102652 w 192"/>
                <a:gd name="T81" fmla="*/ 9775916 h 105"/>
                <a:gd name="T82" fmla="*/ 36870849 w 192"/>
                <a:gd name="T83" fmla="*/ 9183733 h 105"/>
                <a:gd name="T84" fmla="*/ 36870849 w 192"/>
                <a:gd name="T85" fmla="*/ 18070830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1" name="Freeform 232">
              <a:extLst>
                <a:ext uri="{FF2B5EF4-FFF2-40B4-BE49-F238E27FC236}">
                  <a16:creationId xmlns:a16="http://schemas.microsoft.com/office/drawing/2014/main" id="{B1E22E16-8175-4FE6-A006-02D5EEAC1A9B}"/>
                </a:ext>
              </a:extLst>
            </p:cNvPr>
            <p:cNvSpPr>
              <a:spLocks/>
            </p:cNvSpPr>
            <p:nvPr>
              <p:custDataLst>
                <p:tags r:id="rId159"/>
              </p:custDataLst>
            </p:nvPr>
          </p:nvSpPr>
          <p:spPr bwMode="auto">
            <a:xfrm>
              <a:off x="4830763" y="2943225"/>
              <a:ext cx="33337" cy="131763"/>
            </a:xfrm>
            <a:custGeom>
              <a:avLst/>
              <a:gdLst>
                <a:gd name="T0" fmla="*/ 5730630 w 80"/>
                <a:gd name="T1" fmla="*/ 0 h 254"/>
                <a:gd name="T2" fmla="*/ 6424873 w 80"/>
                <a:gd name="T3" fmla="*/ 537942 h 254"/>
                <a:gd name="T4" fmla="*/ 6946181 w 80"/>
                <a:gd name="T5" fmla="*/ 1076402 h 254"/>
                <a:gd name="T6" fmla="*/ 7467071 w 80"/>
                <a:gd name="T7" fmla="*/ 1883574 h 254"/>
                <a:gd name="T8" fmla="*/ 7987962 w 80"/>
                <a:gd name="T9" fmla="*/ 2690746 h 254"/>
                <a:gd name="T10" fmla="*/ 9029743 w 80"/>
                <a:gd name="T11" fmla="*/ 4843550 h 254"/>
                <a:gd name="T12" fmla="*/ 9724403 w 80"/>
                <a:gd name="T13" fmla="*/ 6727643 h 254"/>
                <a:gd name="T14" fmla="*/ 10766184 w 80"/>
                <a:gd name="T15" fmla="*/ 8611217 h 254"/>
                <a:gd name="T16" fmla="*/ 11634613 w 80"/>
                <a:gd name="T17" fmla="*/ 10225561 h 254"/>
                <a:gd name="T18" fmla="*/ 12155504 w 80"/>
                <a:gd name="T19" fmla="*/ 10764022 h 254"/>
                <a:gd name="T20" fmla="*/ 12676394 w 80"/>
                <a:gd name="T21" fmla="*/ 11301963 h 254"/>
                <a:gd name="T22" fmla="*/ 13197285 w 80"/>
                <a:gd name="T23" fmla="*/ 11571194 h 254"/>
                <a:gd name="T24" fmla="*/ 13891945 w 80"/>
                <a:gd name="T25" fmla="*/ 11840424 h 254"/>
                <a:gd name="T26" fmla="*/ 13891945 w 80"/>
                <a:gd name="T27" fmla="*/ 14262458 h 254"/>
                <a:gd name="T28" fmla="*/ 13891945 w 80"/>
                <a:gd name="T29" fmla="*/ 16683974 h 254"/>
                <a:gd name="T30" fmla="*/ 9203512 w 80"/>
                <a:gd name="T31" fmla="*/ 68351278 h 254"/>
                <a:gd name="T32" fmla="*/ 0 w 80"/>
                <a:gd name="T33" fmla="*/ 25026480 h 254"/>
                <a:gd name="T34" fmla="*/ 694660 w 80"/>
                <a:gd name="T35" fmla="*/ 23680848 h 254"/>
                <a:gd name="T36" fmla="*/ 1910210 w 80"/>
                <a:gd name="T37" fmla="*/ 19106009 h 254"/>
                <a:gd name="T38" fmla="*/ 2951991 w 80"/>
                <a:gd name="T39" fmla="*/ 15338861 h 254"/>
                <a:gd name="T40" fmla="*/ 3820420 w 80"/>
                <a:gd name="T41" fmla="*/ 11033252 h 254"/>
                <a:gd name="T42" fmla="*/ 4862201 w 80"/>
                <a:gd name="T43" fmla="*/ 6189183 h 254"/>
                <a:gd name="T44" fmla="*/ 5730630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US"/>
            </a:p>
          </p:txBody>
        </p:sp>
        <p:sp>
          <p:nvSpPr>
            <p:cNvPr id="172" name="Freeform 233">
              <a:extLst>
                <a:ext uri="{FF2B5EF4-FFF2-40B4-BE49-F238E27FC236}">
                  <a16:creationId xmlns:a16="http://schemas.microsoft.com/office/drawing/2014/main" id="{7349B609-4779-4F2F-905A-3C371E9E2FC7}"/>
                </a:ext>
              </a:extLst>
            </p:cNvPr>
            <p:cNvSpPr>
              <a:spLocks/>
            </p:cNvSpPr>
            <p:nvPr>
              <p:custDataLst>
                <p:tags r:id="rId160"/>
              </p:custDataLst>
            </p:nvPr>
          </p:nvSpPr>
          <p:spPr bwMode="auto">
            <a:xfrm>
              <a:off x="4779963" y="2995613"/>
              <a:ext cx="69850" cy="130175"/>
            </a:xfrm>
            <a:custGeom>
              <a:avLst/>
              <a:gdLst>
                <a:gd name="T0" fmla="*/ 19943639 w 167"/>
                <a:gd name="T1" fmla="*/ 0 h 259"/>
                <a:gd name="T2" fmla="*/ 29215704 w 167"/>
                <a:gd name="T3" fmla="*/ 39155032 h 259"/>
                <a:gd name="T4" fmla="*/ 21168314 w 167"/>
                <a:gd name="T5" fmla="*/ 65426759 h 259"/>
                <a:gd name="T6" fmla="*/ 19768805 w 167"/>
                <a:gd name="T7" fmla="*/ 65426759 h 259"/>
                <a:gd name="T8" fmla="*/ 18718963 w 167"/>
                <a:gd name="T9" fmla="*/ 64921640 h 259"/>
                <a:gd name="T10" fmla="*/ 17494288 w 167"/>
                <a:gd name="T11" fmla="*/ 64163710 h 259"/>
                <a:gd name="T12" fmla="*/ 16619699 w 167"/>
                <a:gd name="T13" fmla="*/ 63405780 h 259"/>
                <a:gd name="T14" fmla="*/ 15569858 w 167"/>
                <a:gd name="T15" fmla="*/ 61890422 h 259"/>
                <a:gd name="T16" fmla="*/ 14870103 w 167"/>
                <a:gd name="T17" fmla="*/ 60626870 h 259"/>
                <a:gd name="T18" fmla="*/ 13995514 w 167"/>
                <a:gd name="T19" fmla="*/ 59363821 h 259"/>
                <a:gd name="T20" fmla="*/ 13295759 w 167"/>
                <a:gd name="T21" fmla="*/ 57848463 h 259"/>
                <a:gd name="T22" fmla="*/ 12071084 w 167"/>
                <a:gd name="T23" fmla="*/ 54817245 h 259"/>
                <a:gd name="T24" fmla="*/ 11371329 w 167"/>
                <a:gd name="T25" fmla="*/ 51785525 h 259"/>
                <a:gd name="T26" fmla="*/ 10846408 w 167"/>
                <a:gd name="T27" fmla="*/ 49007118 h 259"/>
                <a:gd name="T28" fmla="*/ 10846408 w 167"/>
                <a:gd name="T29" fmla="*/ 46733328 h 259"/>
                <a:gd name="T30" fmla="*/ 9621733 w 167"/>
                <a:gd name="T31" fmla="*/ 46481019 h 259"/>
                <a:gd name="T32" fmla="*/ 8921978 w 167"/>
                <a:gd name="T33" fmla="*/ 46228208 h 259"/>
                <a:gd name="T34" fmla="*/ 7872555 w 167"/>
                <a:gd name="T35" fmla="*/ 45975397 h 259"/>
                <a:gd name="T36" fmla="*/ 7347634 w 167"/>
                <a:gd name="T37" fmla="*/ 45470278 h 259"/>
                <a:gd name="T38" fmla="*/ 6822714 w 167"/>
                <a:gd name="T39" fmla="*/ 44712348 h 259"/>
                <a:gd name="T40" fmla="*/ 6297793 w 167"/>
                <a:gd name="T41" fmla="*/ 43954418 h 259"/>
                <a:gd name="T42" fmla="*/ 5948125 w 167"/>
                <a:gd name="T43" fmla="*/ 42944180 h 259"/>
                <a:gd name="T44" fmla="*/ 5598038 w 167"/>
                <a:gd name="T45" fmla="*/ 42186250 h 259"/>
                <a:gd name="T46" fmla="*/ 5248370 w 167"/>
                <a:gd name="T47" fmla="*/ 39912962 h 259"/>
                <a:gd name="T48" fmla="*/ 5073536 w 167"/>
                <a:gd name="T49" fmla="*/ 37639171 h 259"/>
                <a:gd name="T50" fmla="*/ 4898284 w 167"/>
                <a:gd name="T51" fmla="*/ 35365884 h 259"/>
                <a:gd name="T52" fmla="*/ 4898284 w 167"/>
                <a:gd name="T53" fmla="*/ 32586974 h 259"/>
                <a:gd name="T54" fmla="*/ 3674026 w 167"/>
                <a:gd name="T55" fmla="*/ 32586974 h 259"/>
                <a:gd name="T56" fmla="*/ 2799019 w 167"/>
                <a:gd name="T57" fmla="*/ 32081855 h 259"/>
                <a:gd name="T58" fmla="*/ 1924430 w 167"/>
                <a:gd name="T59" fmla="*/ 31576736 h 259"/>
                <a:gd name="T60" fmla="*/ 1224675 w 167"/>
                <a:gd name="T61" fmla="*/ 30565995 h 259"/>
                <a:gd name="T62" fmla="*/ 874589 w 167"/>
                <a:gd name="T63" fmla="*/ 29555756 h 259"/>
                <a:gd name="T64" fmla="*/ 350087 w 167"/>
                <a:gd name="T65" fmla="*/ 28292707 h 259"/>
                <a:gd name="T66" fmla="*/ 0 w 167"/>
                <a:gd name="T67" fmla="*/ 27029658 h 259"/>
                <a:gd name="T68" fmla="*/ 0 w 167"/>
                <a:gd name="T69" fmla="*/ 25513797 h 259"/>
                <a:gd name="T70" fmla="*/ 0 w 167"/>
                <a:gd name="T71" fmla="*/ 18945740 h 259"/>
                <a:gd name="T72" fmla="*/ 174834 w 167"/>
                <a:gd name="T73" fmla="*/ 12630493 h 259"/>
                <a:gd name="T74" fmla="*/ 2099264 w 167"/>
                <a:gd name="T75" fmla="*/ 13136115 h 259"/>
                <a:gd name="T76" fmla="*/ 3848860 w 167"/>
                <a:gd name="T77" fmla="*/ 13388423 h 259"/>
                <a:gd name="T78" fmla="*/ 5598038 w 167"/>
                <a:gd name="T79" fmla="*/ 13388423 h 259"/>
                <a:gd name="T80" fmla="*/ 7347634 w 167"/>
                <a:gd name="T81" fmla="*/ 13136115 h 259"/>
                <a:gd name="T82" fmla="*/ 8747144 w 167"/>
                <a:gd name="T83" fmla="*/ 12883304 h 259"/>
                <a:gd name="T84" fmla="*/ 10146654 w 167"/>
                <a:gd name="T85" fmla="*/ 12378185 h 259"/>
                <a:gd name="T86" fmla="*/ 11546163 w 167"/>
                <a:gd name="T87" fmla="*/ 11872563 h 259"/>
                <a:gd name="T88" fmla="*/ 12770839 w 167"/>
                <a:gd name="T89" fmla="*/ 11115136 h 259"/>
                <a:gd name="T90" fmla="*/ 13820680 w 167"/>
                <a:gd name="T91" fmla="*/ 10104395 h 259"/>
                <a:gd name="T92" fmla="*/ 15045355 w 167"/>
                <a:gd name="T93" fmla="*/ 9094156 h 259"/>
                <a:gd name="T94" fmla="*/ 15919944 w 167"/>
                <a:gd name="T95" fmla="*/ 7831107 h 259"/>
                <a:gd name="T96" fmla="*/ 16969786 w 167"/>
                <a:gd name="T97" fmla="*/ 6568058 h 259"/>
                <a:gd name="T98" fmla="*/ 18718963 w 167"/>
                <a:gd name="T99" fmla="*/ 3284029 h 259"/>
                <a:gd name="T100" fmla="*/ 19943639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US"/>
            </a:p>
          </p:txBody>
        </p:sp>
        <p:sp>
          <p:nvSpPr>
            <p:cNvPr id="173" name="Freeform 234">
              <a:extLst>
                <a:ext uri="{FF2B5EF4-FFF2-40B4-BE49-F238E27FC236}">
                  <a16:creationId xmlns:a16="http://schemas.microsoft.com/office/drawing/2014/main" id="{A5367E52-5191-42AA-9542-2DDC3CF1560F}"/>
                </a:ext>
              </a:extLst>
            </p:cNvPr>
            <p:cNvSpPr>
              <a:spLocks/>
            </p:cNvSpPr>
            <p:nvPr>
              <p:custDataLst>
                <p:tags r:id="rId161"/>
              </p:custDataLst>
            </p:nvPr>
          </p:nvSpPr>
          <p:spPr bwMode="auto">
            <a:xfrm>
              <a:off x="3781425" y="2249488"/>
              <a:ext cx="96838" cy="144462"/>
            </a:xfrm>
            <a:custGeom>
              <a:avLst/>
              <a:gdLst>
                <a:gd name="T0" fmla="*/ 34268601 w 225"/>
                <a:gd name="T1" fmla="*/ 18761140 h 273"/>
                <a:gd name="T2" fmla="*/ 32046061 w 225"/>
                <a:gd name="T3" fmla="*/ 21841430 h 273"/>
                <a:gd name="T4" fmla="*/ 29452525 w 225"/>
                <a:gd name="T5" fmla="*/ 22961679 h 273"/>
                <a:gd name="T6" fmla="*/ 30193658 w 225"/>
                <a:gd name="T7" fmla="*/ 26041969 h 273"/>
                <a:gd name="T8" fmla="*/ 32231130 w 225"/>
                <a:gd name="T9" fmla="*/ 28281940 h 273"/>
                <a:gd name="T10" fmla="*/ 36121004 w 225"/>
                <a:gd name="T11" fmla="*/ 29402189 h 273"/>
                <a:gd name="T12" fmla="*/ 41678214 w 225"/>
                <a:gd name="T13" fmla="*/ 29682119 h 273"/>
                <a:gd name="T14" fmla="*/ 41678214 w 225"/>
                <a:gd name="T15" fmla="*/ 42563139 h 273"/>
                <a:gd name="T16" fmla="*/ 41493146 w 225"/>
                <a:gd name="T17" fmla="*/ 49283579 h 273"/>
                <a:gd name="T18" fmla="*/ 39825811 w 225"/>
                <a:gd name="T19" fmla="*/ 52363869 h 273"/>
                <a:gd name="T20" fmla="*/ 36491571 w 225"/>
                <a:gd name="T21" fmla="*/ 57404199 h 273"/>
                <a:gd name="T22" fmla="*/ 35565369 w 225"/>
                <a:gd name="T23" fmla="*/ 59924099 h 273"/>
                <a:gd name="T24" fmla="*/ 33157331 w 225"/>
                <a:gd name="T25" fmla="*/ 61044349 h 273"/>
                <a:gd name="T26" fmla="*/ 30378726 w 225"/>
                <a:gd name="T27" fmla="*/ 63004389 h 273"/>
                <a:gd name="T28" fmla="*/ 29452525 w 225"/>
                <a:gd name="T29" fmla="*/ 66084679 h 273"/>
                <a:gd name="T30" fmla="*/ 25933216 w 225"/>
                <a:gd name="T31" fmla="*/ 67764789 h 273"/>
                <a:gd name="T32" fmla="*/ 23710246 w 225"/>
                <a:gd name="T33" fmla="*/ 70564619 h 273"/>
                <a:gd name="T34" fmla="*/ 18709102 w 225"/>
                <a:gd name="T35" fmla="*/ 71404939 h 273"/>
                <a:gd name="T36" fmla="*/ 11113990 w 225"/>
                <a:gd name="T37" fmla="*/ 73085049 h 273"/>
                <a:gd name="T38" fmla="*/ 3519308 w 225"/>
                <a:gd name="T39" fmla="*/ 73085049 h 273"/>
                <a:gd name="T40" fmla="*/ 0 w 225"/>
                <a:gd name="T41" fmla="*/ 60764419 h 273"/>
                <a:gd name="T42" fmla="*/ 3889875 w 225"/>
                <a:gd name="T43" fmla="*/ 59364239 h 273"/>
                <a:gd name="T44" fmla="*/ 4816077 w 225"/>
                <a:gd name="T45" fmla="*/ 57404199 h 273"/>
                <a:gd name="T46" fmla="*/ 11113990 w 225"/>
                <a:gd name="T47" fmla="*/ 56563879 h 273"/>
                <a:gd name="T48" fmla="*/ 13336960 w 225"/>
                <a:gd name="T49" fmla="*/ 54043979 h 273"/>
                <a:gd name="T50" fmla="*/ 8891450 w 225"/>
                <a:gd name="T51" fmla="*/ 55443629 h 273"/>
                <a:gd name="T52" fmla="*/ 7409613 w 225"/>
                <a:gd name="T53" fmla="*/ 55163699 h 273"/>
                <a:gd name="T54" fmla="*/ 7224115 w 225"/>
                <a:gd name="T55" fmla="*/ 52643799 h 273"/>
                <a:gd name="T56" fmla="*/ 8520883 w 225"/>
                <a:gd name="T57" fmla="*/ 48443259 h 273"/>
                <a:gd name="T58" fmla="*/ 7224115 w 225"/>
                <a:gd name="T59" fmla="*/ 44803109 h 273"/>
                <a:gd name="T60" fmla="*/ 2593106 w 225"/>
                <a:gd name="T61" fmla="*/ 42002750 h 273"/>
                <a:gd name="T62" fmla="*/ 1111270 w 225"/>
                <a:gd name="T63" fmla="*/ 36402559 h 273"/>
                <a:gd name="T64" fmla="*/ 4075373 w 225"/>
                <a:gd name="T65" fmla="*/ 32202020 h 273"/>
                <a:gd name="T66" fmla="*/ 6483412 w 225"/>
                <a:gd name="T67" fmla="*/ 28561870 h 273"/>
                <a:gd name="T68" fmla="*/ 12596257 w 225"/>
                <a:gd name="T69" fmla="*/ 26321899 h 273"/>
                <a:gd name="T70" fmla="*/ 16671200 w 225"/>
                <a:gd name="T71" fmla="*/ 26321899 h 273"/>
                <a:gd name="T72" fmla="*/ 18523603 w 225"/>
                <a:gd name="T73" fmla="*/ 24641789 h 273"/>
                <a:gd name="T74" fmla="*/ 20005440 w 225"/>
                <a:gd name="T75" fmla="*/ 14561130 h 273"/>
                <a:gd name="T76" fmla="*/ 22228410 w 225"/>
                <a:gd name="T77" fmla="*/ 8680480 h 273"/>
                <a:gd name="T78" fmla="*/ 24080813 w 225"/>
                <a:gd name="T79" fmla="*/ 5600190 h 273"/>
                <a:gd name="T80" fmla="*/ 26118285 w 225"/>
                <a:gd name="T81" fmla="*/ 1960040 h 273"/>
                <a:gd name="T82" fmla="*/ 28711821 w 225"/>
                <a:gd name="T83" fmla="*/ 279930 h 273"/>
                <a:gd name="T84" fmla="*/ 33157331 w 225"/>
                <a:gd name="T85" fmla="*/ 840320 h 273"/>
                <a:gd name="T86" fmla="*/ 36121004 w 225"/>
                <a:gd name="T87" fmla="*/ 10640520 h 273"/>
                <a:gd name="T88" fmla="*/ 36306503 w 225"/>
                <a:gd name="T89" fmla="*/ 13160950 h 273"/>
                <a:gd name="T90" fmla="*/ 35194803 w 225"/>
                <a:gd name="T91" fmla="*/ 15680850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4" name="Freeform 235">
              <a:extLst>
                <a:ext uri="{FF2B5EF4-FFF2-40B4-BE49-F238E27FC236}">
                  <a16:creationId xmlns:a16="http://schemas.microsoft.com/office/drawing/2014/main" id="{162BFC06-CC3B-4581-A9FD-DCFB8358B01B}"/>
                </a:ext>
              </a:extLst>
            </p:cNvPr>
            <p:cNvSpPr>
              <a:spLocks/>
            </p:cNvSpPr>
            <p:nvPr>
              <p:custDataLst>
                <p:tags r:id="rId162"/>
              </p:custDataLst>
            </p:nvPr>
          </p:nvSpPr>
          <p:spPr bwMode="auto">
            <a:xfrm>
              <a:off x="3594100" y="3160713"/>
              <a:ext cx="306388" cy="390525"/>
            </a:xfrm>
            <a:custGeom>
              <a:avLst/>
              <a:gdLst>
                <a:gd name="T0" fmla="*/ 163943993 w 232"/>
                <a:gd name="T1" fmla="*/ 610000050 h 248"/>
                <a:gd name="T2" fmla="*/ 167431798 w 232"/>
                <a:gd name="T3" fmla="*/ 602561179 h 248"/>
                <a:gd name="T4" fmla="*/ 170920923 w 232"/>
                <a:gd name="T5" fmla="*/ 590162010 h 248"/>
                <a:gd name="T6" fmla="*/ 174408728 w 232"/>
                <a:gd name="T7" fmla="*/ 575284267 h 248"/>
                <a:gd name="T8" fmla="*/ 179641095 w 232"/>
                <a:gd name="T9" fmla="*/ 572804118 h 248"/>
                <a:gd name="T10" fmla="*/ 181384337 w 232"/>
                <a:gd name="T11" fmla="*/ 590162010 h 248"/>
                <a:gd name="T12" fmla="*/ 184873463 w 232"/>
                <a:gd name="T13" fmla="*/ 597600881 h 248"/>
                <a:gd name="T14" fmla="*/ 188361267 w 232"/>
                <a:gd name="T15" fmla="*/ 600081030 h 248"/>
                <a:gd name="T16" fmla="*/ 191849072 w 232"/>
                <a:gd name="T17" fmla="*/ 600081030 h 248"/>
                <a:gd name="T18" fmla="*/ 197081440 w 232"/>
                <a:gd name="T19" fmla="*/ 597600881 h 248"/>
                <a:gd name="T20" fmla="*/ 202313807 w 232"/>
                <a:gd name="T21" fmla="*/ 590162010 h 248"/>
                <a:gd name="T22" fmla="*/ 376722535 w 232"/>
                <a:gd name="T23" fmla="*/ 580242990 h 248"/>
                <a:gd name="T24" fmla="*/ 371490167 w 232"/>
                <a:gd name="T25" fmla="*/ 505852701 h 248"/>
                <a:gd name="T26" fmla="*/ 361025432 w 232"/>
                <a:gd name="T27" fmla="*/ 342194382 h 248"/>
                <a:gd name="T28" fmla="*/ 350560698 w 232"/>
                <a:gd name="T29" fmla="*/ 181016211 h 248"/>
                <a:gd name="T30" fmla="*/ 345328330 w 232"/>
                <a:gd name="T31" fmla="*/ 106625923 h 248"/>
                <a:gd name="T32" fmla="*/ 374977972 w 232"/>
                <a:gd name="T33" fmla="*/ 109106071 h 248"/>
                <a:gd name="T34" fmla="*/ 404627614 w 232"/>
                <a:gd name="T35" fmla="*/ 114064794 h 248"/>
                <a:gd name="T36" fmla="*/ 280797999 w 232"/>
                <a:gd name="T37" fmla="*/ 4958723 h 248"/>
                <a:gd name="T38" fmla="*/ 279053436 w 232"/>
                <a:gd name="T39" fmla="*/ 19838040 h 248"/>
                <a:gd name="T40" fmla="*/ 280797999 w 232"/>
                <a:gd name="T41" fmla="*/ 44634803 h 248"/>
                <a:gd name="T42" fmla="*/ 170920923 w 232"/>
                <a:gd name="T43" fmla="*/ 59512546 h 248"/>
                <a:gd name="T44" fmla="*/ 170920923 w 232"/>
                <a:gd name="T45" fmla="*/ 183496360 h 248"/>
                <a:gd name="T46" fmla="*/ 165688555 w 232"/>
                <a:gd name="T47" fmla="*/ 188455082 h 248"/>
                <a:gd name="T48" fmla="*/ 151736016 w 232"/>
                <a:gd name="T49" fmla="*/ 193413805 h 248"/>
                <a:gd name="T50" fmla="*/ 125574178 w 232"/>
                <a:gd name="T51" fmla="*/ 203332825 h 248"/>
                <a:gd name="T52" fmla="*/ 129061983 w 232"/>
                <a:gd name="T53" fmla="*/ 218210568 h 248"/>
                <a:gd name="T54" fmla="*/ 136038913 w 232"/>
                <a:gd name="T55" fmla="*/ 238048608 h 248"/>
                <a:gd name="T56" fmla="*/ 139526718 w 232"/>
                <a:gd name="T57" fmla="*/ 260365222 h 248"/>
                <a:gd name="T58" fmla="*/ 141271281 w 232"/>
                <a:gd name="T59" fmla="*/ 285161985 h 248"/>
                <a:gd name="T60" fmla="*/ 15697102 w 232"/>
                <a:gd name="T61" fmla="*/ 295081005 h 248"/>
                <a:gd name="T62" fmla="*/ 8720172 w 232"/>
                <a:gd name="T63" fmla="*/ 322357916 h 248"/>
                <a:gd name="T64" fmla="*/ 10464735 w 232"/>
                <a:gd name="T65" fmla="*/ 354593551 h 248"/>
                <a:gd name="T66" fmla="*/ 13952540 w 232"/>
                <a:gd name="T67" fmla="*/ 384349036 h 248"/>
                <a:gd name="T68" fmla="*/ 15697102 w 232"/>
                <a:gd name="T69" fmla="*/ 416584670 h 248"/>
                <a:gd name="T70" fmla="*/ 15697102 w 232"/>
                <a:gd name="T71" fmla="*/ 451300453 h 248"/>
                <a:gd name="T72" fmla="*/ 13952540 w 232"/>
                <a:gd name="T73" fmla="*/ 481055939 h 248"/>
                <a:gd name="T74" fmla="*/ 10464735 w 232"/>
                <a:gd name="T75" fmla="*/ 510812999 h 248"/>
                <a:gd name="T76" fmla="*/ 3487805 w 232"/>
                <a:gd name="T77" fmla="*/ 535609762 h 248"/>
                <a:gd name="T78" fmla="*/ 3487805 w 232"/>
                <a:gd name="T79" fmla="*/ 543048633 h 248"/>
                <a:gd name="T80" fmla="*/ 5232367 w 232"/>
                <a:gd name="T81" fmla="*/ 545527207 h 248"/>
                <a:gd name="T82" fmla="*/ 5232367 w 232"/>
                <a:gd name="T83" fmla="*/ 550487504 h 248"/>
                <a:gd name="T84" fmla="*/ 12207977 w 232"/>
                <a:gd name="T85" fmla="*/ 538088336 h 248"/>
                <a:gd name="T86" fmla="*/ 31392884 w 232"/>
                <a:gd name="T87" fmla="*/ 528170890 h 248"/>
                <a:gd name="T88" fmla="*/ 62787089 w 232"/>
                <a:gd name="T89" fmla="*/ 513291573 h 248"/>
                <a:gd name="T90" fmla="*/ 78484192 w 232"/>
                <a:gd name="T91" fmla="*/ 515771721 h 248"/>
                <a:gd name="T92" fmla="*/ 88948927 w 232"/>
                <a:gd name="T93" fmla="*/ 525690742 h 248"/>
                <a:gd name="T94" fmla="*/ 97669099 w 232"/>
                <a:gd name="T95" fmla="*/ 530649464 h 248"/>
                <a:gd name="T96" fmla="*/ 108133834 w 232"/>
                <a:gd name="T97" fmla="*/ 533129613 h 248"/>
                <a:gd name="T98" fmla="*/ 115109443 w 232"/>
                <a:gd name="T99" fmla="*/ 543048633 h 248"/>
                <a:gd name="T100" fmla="*/ 116854006 w 232"/>
                <a:gd name="T101" fmla="*/ 557926376 h 248"/>
                <a:gd name="T102" fmla="*/ 122086374 w 232"/>
                <a:gd name="T103" fmla="*/ 572804118 h 248"/>
                <a:gd name="T104" fmla="*/ 129061983 w 232"/>
                <a:gd name="T105" fmla="*/ 582723139 h 248"/>
                <a:gd name="T106" fmla="*/ 148246890 w 232"/>
                <a:gd name="T107" fmla="*/ 602561179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US"/>
            </a:p>
          </p:txBody>
        </p:sp>
        <p:sp>
          <p:nvSpPr>
            <p:cNvPr id="175" name="Freeform 236">
              <a:extLst>
                <a:ext uri="{FF2B5EF4-FFF2-40B4-BE49-F238E27FC236}">
                  <a16:creationId xmlns:a16="http://schemas.microsoft.com/office/drawing/2014/main" id="{D83780DC-9BA7-4EEB-93A9-E339EE93116B}"/>
                </a:ext>
              </a:extLst>
            </p:cNvPr>
            <p:cNvSpPr>
              <a:spLocks/>
            </p:cNvSpPr>
            <p:nvPr>
              <p:custDataLst>
                <p:tags r:id="rId163"/>
              </p:custDataLst>
            </p:nvPr>
          </p:nvSpPr>
          <p:spPr bwMode="auto">
            <a:xfrm>
              <a:off x="3709988" y="3221038"/>
              <a:ext cx="414337" cy="468312"/>
            </a:xfrm>
            <a:custGeom>
              <a:avLst/>
              <a:gdLst>
                <a:gd name="T0" fmla="*/ 17192363 w 948"/>
                <a:gd name="T1" fmla="*/ 216718265 h 893"/>
                <a:gd name="T2" fmla="*/ 23114148 w 948"/>
                <a:gd name="T3" fmla="*/ 216718265 h 893"/>
                <a:gd name="T4" fmla="*/ 27889513 w 948"/>
                <a:gd name="T5" fmla="*/ 215343218 h 893"/>
                <a:gd name="T6" fmla="*/ 35530709 w 948"/>
                <a:gd name="T7" fmla="*/ 213418048 h 893"/>
                <a:gd name="T8" fmla="*/ 37632114 w 948"/>
                <a:gd name="T9" fmla="*/ 223594023 h 893"/>
                <a:gd name="T10" fmla="*/ 40497508 w 948"/>
                <a:gd name="T11" fmla="*/ 229644333 h 893"/>
                <a:gd name="T12" fmla="*/ 43171905 w 948"/>
                <a:gd name="T13" fmla="*/ 232669750 h 893"/>
                <a:gd name="T14" fmla="*/ 46992284 w 948"/>
                <a:gd name="T15" fmla="*/ 233769998 h 893"/>
                <a:gd name="T16" fmla="*/ 46992284 w 948"/>
                <a:gd name="T17" fmla="*/ 242295602 h 893"/>
                <a:gd name="T18" fmla="*/ 62274239 w 948"/>
                <a:gd name="T19" fmla="*/ 244495571 h 893"/>
                <a:gd name="T20" fmla="*/ 63802216 w 948"/>
                <a:gd name="T21" fmla="*/ 240920555 h 893"/>
                <a:gd name="T22" fmla="*/ 66285616 w 948"/>
                <a:gd name="T23" fmla="*/ 239545508 h 893"/>
                <a:gd name="T24" fmla="*/ 66476613 w 948"/>
                <a:gd name="T25" fmla="*/ 244220772 h 893"/>
                <a:gd name="T26" fmla="*/ 68387021 w 948"/>
                <a:gd name="T27" fmla="*/ 245595819 h 893"/>
                <a:gd name="T28" fmla="*/ 73544818 w 948"/>
                <a:gd name="T29" fmla="*/ 245595819 h 893"/>
                <a:gd name="T30" fmla="*/ 76601208 w 948"/>
                <a:gd name="T31" fmla="*/ 234869720 h 893"/>
                <a:gd name="T32" fmla="*/ 78702614 w 948"/>
                <a:gd name="T33" fmla="*/ 216718265 h 893"/>
                <a:gd name="T34" fmla="*/ 80994579 w 948"/>
                <a:gd name="T35" fmla="*/ 212043001 h 893"/>
                <a:gd name="T36" fmla="*/ 86343373 w 948"/>
                <a:gd name="T37" fmla="*/ 207367738 h 893"/>
                <a:gd name="T38" fmla="*/ 92647152 w 948"/>
                <a:gd name="T39" fmla="*/ 204342320 h 893"/>
                <a:gd name="T40" fmla="*/ 95703543 w 948"/>
                <a:gd name="T41" fmla="*/ 200491980 h 893"/>
                <a:gd name="T42" fmla="*/ 98377940 w 948"/>
                <a:gd name="T43" fmla="*/ 193066623 h 893"/>
                <a:gd name="T44" fmla="*/ 102198319 w 948"/>
                <a:gd name="T45" fmla="*/ 183715571 h 893"/>
                <a:gd name="T46" fmla="*/ 104490721 w 948"/>
                <a:gd name="T47" fmla="*/ 181515602 h 893"/>
                <a:gd name="T48" fmla="*/ 109266524 w 948"/>
                <a:gd name="T49" fmla="*/ 181240278 h 893"/>
                <a:gd name="T50" fmla="*/ 115570303 w 948"/>
                <a:gd name="T51" fmla="*/ 177115138 h 893"/>
                <a:gd name="T52" fmla="*/ 122065079 w 948"/>
                <a:gd name="T53" fmla="*/ 171614426 h 893"/>
                <a:gd name="T54" fmla="*/ 128750852 w 948"/>
                <a:gd name="T55" fmla="*/ 168589533 h 893"/>
                <a:gd name="T56" fmla="*/ 138302456 w 948"/>
                <a:gd name="T57" fmla="*/ 167764086 h 893"/>
                <a:gd name="T58" fmla="*/ 150528020 w 948"/>
                <a:gd name="T59" fmla="*/ 165564116 h 893"/>
                <a:gd name="T60" fmla="*/ 155685379 w 948"/>
                <a:gd name="T61" fmla="*/ 163363622 h 893"/>
                <a:gd name="T62" fmla="*/ 164854989 w 948"/>
                <a:gd name="T63" fmla="*/ 162263899 h 893"/>
                <a:gd name="T64" fmla="*/ 172113754 w 948"/>
                <a:gd name="T65" fmla="*/ 160338729 h 893"/>
                <a:gd name="T66" fmla="*/ 174406157 w 948"/>
                <a:gd name="T67" fmla="*/ 157863435 h 893"/>
                <a:gd name="T68" fmla="*/ 177844542 w 948"/>
                <a:gd name="T69" fmla="*/ 149612631 h 893"/>
                <a:gd name="T70" fmla="*/ 180136944 w 948"/>
                <a:gd name="T71" fmla="*/ 138611733 h 893"/>
                <a:gd name="T72" fmla="*/ 181091930 w 948"/>
                <a:gd name="T73" fmla="*/ 126785912 h 893"/>
                <a:gd name="T74" fmla="*/ 180900933 w 948"/>
                <a:gd name="T75" fmla="*/ 115785014 h 893"/>
                <a:gd name="T76" fmla="*/ 180136944 w 948"/>
                <a:gd name="T77" fmla="*/ 99833528 h 893"/>
                <a:gd name="T78" fmla="*/ 176125131 w 948"/>
                <a:gd name="T79" fmla="*/ 97908358 h 893"/>
                <a:gd name="T80" fmla="*/ 164663555 w 948"/>
                <a:gd name="T81" fmla="*/ 88557307 h 893"/>
                <a:gd name="T82" fmla="*/ 151674003 w 948"/>
                <a:gd name="T83" fmla="*/ 76456686 h 893"/>
                <a:gd name="T84" fmla="*/ 140976416 w 948"/>
                <a:gd name="T85" fmla="*/ 59404953 h 893"/>
                <a:gd name="T86" fmla="*/ 78702614 w 948"/>
                <a:gd name="T87" fmla="*/ 3300217 h 893"/>
                <a:gd name="T88" fmla="*/ 66476613 w 948"/>
                <a:gd name="T89" fmla="*/ 28052630 h 893"/>
                <a:gd name="T90" fmla="*/ 72398398 w 948"/>
                <a:gd name="T91" fmla="*/ 111384550 h 893"/>
                <a:gd name="T92" fmla="*/ 74881797 w 948"/>
                <a:gd name="T93" fmla="*/ 155388141 h 893"/>
                <a:gd name="T94" fmla="*/ 17765354 w 948"/>
                <a:gd name="T95" fmla="*/ 162538699 h 893"/>
                <a:gd name="T96" fmla="*/ 15090958 w 948"/>
                <a:gd name="T97" fmla="*/ 166664363 h 893"/>
                <a:gd name="T98" fmla="*/ 12798555 w 948"/>
                <a:gd name="T99" fmla="*/ 167764086 h 893"/>
                <a:gd name="T100" fmla="*/ 10888584 w 948"/>
                <a:gd name="T101" fmla="*/ 166939163 h 893"/>
                <a:gd name="T102" fmla="*/ 9360170 w 948"/>
                <a:gd name="T103" fmla="*/ 162538699 h 893"/>
                <a:gd name="T104" fmla="*/ 7641196 w 948"/>
                <a:gd name="T105" fmla="*/ 159788605 h 893"/>
                <a:gd name="T106" fmla="*/ 5539791 w 948"/>
                <a:gd name="T107" fmla="*/ 166389039 h 893"/>
                <a:gd name="T108" fmla="*/ 2865394 w 948"/>
                <a:gd name="T109" fmla="*/ 171339627 h 893"/>
                <a:gd name="T110" fmla="*/ 12798555 w 948"/>
                <a:gd name="T111" fmla="*/ 201592227 h 893"/>
                <a:gd name="T112" fmla="*/ 11652573 w 948"/>
                <a:gd name="T113" fmla="*/ 205717367 h 893"/>
                <a:gd name="T114" fmla="*/ 11843570 w 948"/>
                <a:gd name="T115" fmla="*/ 209017584 h 893"/>
                <a:gd name="T116" fmla="*/ 10315156 w 948"/>
                <a:gd name="T117" fmla="*/ 216718265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US"/>
            </a:p>
          </p:txBody>
        </p:sp>
        <p:sp>
          <p:nvSpPr>
            <p:cNvPr id="176" name="Freeform 237">
              <a:extLst>
                <a:ext uri="{FF2B5EF4-FFF2-40B4-BE49-F238E27FC236}">
                  <a16:creationId xmlns:a16="http://schemas.microsoft.com/office/drawing/2014/main" id="{8B393B40-6569-43F9-9A40-20580B599953}"/>
                </a:ext>
              </a:extLst>
            </p:cNvPr>
            <p:cNvSpPr>
              <a:spLocks/>
            </p:cNvSpPr>
            <p:nvPr>
              <p:custDataLst>
                <p:tags r:id="rId164"/>
              </p:custDataLst>
            </p:nvPr>
          </p:nvSpPr>
          <p:spPr bwMode="auto">
            <a:xfrm>
              <a:off x="3808413" y="2827338"/>
              <a:ext cx="493712" cy="579437"/>
            </a:xfrm>
            <a:custGeom>
              <a:avLst/>
              <a:gdLst>
                <a:gd name="T0" fmla="*/ 416972213 w 373"/>
                <a:gd name="T1" fmla="*/ 900070800 h 370"/>
                <a:gd name="T2" fmla="*/ 427483116 w 373"/>
                <a:gd name="T3" fmla="*/ 895165936 h 370"/>
                <a:gd name="T4" fmla="*/ 446755091 w 373"/>
                <a:gd name="T5" fmla="*/ 902523233 h 370"/>
                <a:gd name="T6" fmla="*/ 651736901 w 373"/>
                <a:gd name="T7" fmla="*/ 679344074 h 370"/>
                <a:gd name="T8" fmla="*/ 646482112 w 373"/>
                <a:gd name="T9" fmla="*/ 662177048 h 370"/>
                <a:gd name="T10" fmla="*/ 632466250 w 373"/>
                <a:gd name="T11" fmla="*/ 647462455 h 370"/>
                <a:gd name="T12" fmla="*/ 607938161 w 373"/>
                <a:gd name="T13" fmla="*/ 635200294 h 370"/>
                <a:gd name="T14" fmla="*/ 593922300 w 373"/>
                <a:gd name="T15" fmla="*/ 622936567 h 370"/>
                <a:gd name="T16" fmla="*/ 588666186 w 373"/>
                <a:gd name="T17" fmla="*/ 605769542 h 370"/>
                <a:gd name="T18" fmla="*/ 590418665 w 373"/>
                <a:gd name="T19" fmla="*/ 559171764 h 370"/>
                <a:gd name="T20" fmla="*/ 590418665 w 373"/>
                <a:gd name="T21" fmla="*/ 480692369 h 370"/>
                <a:gd name="T22" fmla="*/ 585162552 w 373"/>
                <a:gd name="T23" fmla="*/ 412021135 h 370"/>
                <a:gd name="T24" fmla="*/ 576402804 w 373"/>
                <a:gd name="T25" fmla="*/ 380139517 h 370"/>
                <a:gd name="T26" fmla="*/ 565890577 w 373"/>
                <a:gd name="T27" fmla="*/ 348256332 h 370"/>
                <a:gd name="T28" fmla="*/ 551874715 w 373"/>
                <a:gd name="T29" fmla="*/ 267322938 h 370"/>
                <a:gd name="T30" fmla="*/ 536106374 w 373"/>
                <a:gd name="T31" fmla="*/ 220725161 h 370"/>
                <a:gd name="T32" fmla="*/ 520339357 w 373"/>
                <a:gd name="T33" fmla="*/ 191295975 h 370"/>
                <a:gd name="T34" fmla="*/ 525594147 w 373"/>
                <a:gd name="T35" fmla="*/ 154507926 h 370"/>
                <a:gd name="T36" fmla="*/ 527346626 w 373"/>
                <a:gd name="T37" fmla="*/ 105457716 h 370"/>
                <a:gd name="T38" fmla="*/ 529099105 w 373"/>
                <a:gd name="T39" fmla="*/ 56407506 h 370"/>
                <a:gd name="T40" fmla="*/ 543114967 w 373"/>
                <a:gd name="T41" fmla="*/ 17167025 h 370"/>
                <a:gd name="T42" fmla="*/ 529099105 w 373"/>
                <a:gd name="T43" fmla="*/ 14714593 h 370"/>
                <a:gd name="T44" fmla="*/ 487051521 w 373"/>
                <a:gd name="T45" fmla="*/ 29430752 h 370"/>
                <a:gd name="T46" fmla="*/ 429235595 w 373"/>
                <a:gd name="T47" fmla="*/ 29430752 h 370"/>
                <a:gd name="T48" fmla="*/ 360908766 w 373"/>
                <a:gd name="T49" fmla="*/ 34335617 h 370"/>
                <a:gd name="T50" fmla="*/ 294333093 w 373"/>
                <a:gd name="T51" fmla="*/ 58859938 h 370"/>
                <a:gd name="T52" fmla="*/ 254037987 w 373"/>
                <a:gd name="T53" fmla="*/ 78480962 h 370"/>
                <a:gd name="T54" fmla="*/ 217245193 w 373"/>
                <a:gd name="T55" fmla="*/ 107910148 h 370"/>
                <a:gd name="T56" fmla="*/ 215494037 w 373"/>
                <a:gd name="T57" fmla="*/ 127531172 h 370"/>
                <a:gd name="T58" fmla="*/ 229509899 w 373"/>
                <a:gd name="T59" fmla="*/ 218272729 h 370"/>
                <a:gd name="T60" fmla="*/ 234766012 w 373"/>
                <a:gd name="T61" fmla="*/ 228084023 h 370"/>
                <a:gd name="T62" fmla="*/ 247029395 w 373"/>
                <a:gd name="T63" fmla="*/ 240346184 h 370"/>
                <a:gd name="T64" fmla="*/ 248781874 w 373"/>
                <a:gd name="T65" fmla="*/ 250155913 h 370"/>
                <a:gd name="T66" fmla="*/ 243525760 w 373"/>
                <a:gd name="T67" fmla="*/ 262418074 h 370"/>
                <a:gd name="T68" fmla="*/ 224253785 w 373"/>
                <a:gd name="T69" fmla="*/ 262418074 h 370"/>
                <a:gd name="T70" fmla="*/ 185709835 w 373"/>
                <a:gd name="T71" fmla="*/ 277132667 h 370"/>
                <a:gd name="T72" fmla="*/ 166437860 w 373"/>
                <a:gd name="T73" fmla="*/ 299206123 h 370"/>
                <a:gd name="T74" fmla="*/ 157678112 w 373"/>
                <a:gd name="T75" fmla="*/ 321278012 h 370"/>
                <a:gd name="T76" fmla="*/ 143662250 w 373"/>
                <a:gd name="T77" fmla="*/ 335994172 h 370"/>
                <a:gd name="T78" fmla="*/ 115630527 w 373"/>
                <a:gd name="T79" fmla="*/ 367875790 h 370"/>
                <a:gd name="T80" fmla="*/ 89351283 w 373"/>
                <a:gd name="T81" fmla="*/ 387496813 h 370"/>
                <a:gd name="T82" fmla="*/ 54310967 w 373"/>
                <a:gd name="T83" fmla="*/ 392401678 h 370"/>
                <a:gd name="T84" fmla="*/ 35038992 w 373"/>
                <a:gd name="T85" fmla="*/ 402211407 h 370"/>
                <a:gd name="T86" fmla="*/ 14015862 w 373"/>
                <a:gd name="T87" fmla="*/ 426735728 h 370"/>
                <a:gd name="T88" fmla="*/ 0 w 373"/>
                <a:gd name="T89" fmla="*/ 490502097 h 370"/>
                <a:gd name="T90" fmla="*/ 313605068 w 373"/>
                <a:gd name="T91" fmla="*/ 811780110 h 370"/>
                <a:gd name="T92" fmla="*/ 352149018 w 373"/>
                <a:gd name="T93" fmla="*/ 863282752 h 370"/>
                <a:gd name="T94" fmla="*/ 401203872 w 373"/>
                <a:gd name="T95" fmla="*/ 902523233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US"/>
            </a:p>
          </p:txBody>
        </p:sp>
        <p:sp>
          <p:nvSpPr>
            <p:cNvPr id="177" name="Freeform 238">
              <a:extLst>
                <a:ext uri="{FF2B5EF4-FFF2-40B4-BE49-F238E27FC236}">
                  <a16:creationId xmlns:a16="http://schemas.microsoft.com/office/drawing/2014/main" id="{BC17535A-281E-42B0-8A27-1D3C50123F78}"/>
                </a:ext>
              </a:extLst>
            </p:cNvPr>
            <p:cNvSpPr>
              <a:spLocks/>
            </p:cNvSpPr>
            <p:nvPr>
              <p:custDataLst>
                <p:tags r:id="rId165"/>
              </p:custDataLst>
            </p:nvPr>
          </p:nvSpPr>
          <p:spPr bwMode="auto">
            <a:xfrm>
              <a:off x="4244975" y="2962275"/>
              <a:ext cx="384175" cy="436563"/>
            </a:xfrm>
            <a:custGeom>
              <a:avLst/>
              <a:gdLst>
                <a:gd name="T0" fmla="*/ 6908141 w 877"/>
                <a:gd name="T1" fmla="*/ 39386772 h 826"/>
                <a:gd name="T2" fmla="*/ 8827264 w 877"/>
                <a:gd name="T3" fmla="*/ 30447821 h 826"/>
                <a:gd name="T4" fmla="*/ 8827264 w 877"/>
                <a:gd name="T5" fmla="*/ 19553855 h 826"/>
                <a:gd name="T6" fmla="*/ 11705291 w 877"/>
                <a:gd name="T7" fmla="*/ 17877901 h 826"/>
                <a:gd name="T8" fmla="*/ 17078484 w 877"/>
                <a:gd name="T9" fmla="*/ 15363706 h 826"/>
                <a:gd name="T10" fmla="*/ 18997607 w 877"/>
                <a:gd name="T11" fmla="*/ 5587042 h 826"/>
                <a:gd name="T12" fmla="*/ 32237846 w 877"/>
                <a:gd name="T13" fmla="*/ 1675954 h 826"/>
                <a:gd name="T14" fmla="*/ 46438303 w 877"/>
                <a:gd name="T15" fmla="*/ 6704345 h 826"/>
                <a:gd name="T16" fmla="*/ 52386664 w 877"/>
                <a:gd name="T17" fmla="*/ 12011797 h 826"/>
                <a:gd name="T18" fmla="*/ 54689523 w 877"/>
                <a:gd name="T19" fmla="*/ 21788461 h 826"/>
                <a:gd name="T20" fmla="*/ 56608208 w 877"/>
                <a:gd name="T21" fmla="*/ 28213216 h 826"/>
                <a:gd name="T22" fmla="*/ 62365138 w 877"/>
                <a:gd name="T23" fmla="*/ 30727411 h 826"/>
                <a:gd name="T24" fmla="*/ 69657016 w 877"/>
                <a:gd name="T25" fmla="*/ 30447821 h 826"/>
                <a:gd name="T26" fmla="*/ 80787140 w 877"/>
                <a:gd name="T27" fmla="*/ 37152166 h 826"/>
                <a:gd name="T28" fmla="*/ 91724957 w 877"/>
                <a:gd name="T29" fmla="*/ 45252875 h 826"/>
                <a:gd name="T30" fmla="*/ 98441230 w 877"/>
                <a:gd name="T31" fmla="*/ 46370178 h 826"/>
                <a:gd name="T32" fmla="*/ 103238380 w 877"/>
                <a:gd name="T33" fmla="*/ 44135573 h 826"/>
                <a:gd name="T34" fmla="*/ 105349371 w 877"/>
                <a:gd name="T35" fmla="*/ 35196622 h 826"/>
                <a:gd name="T36" fmla="*/ 104389590 w 877"/>
                <a:gd name="T37" fmla="*/ 28771867 h 826"/>
                <a:gd name="T38" fmla="*/ 101895300 w 877"/>
                <a:gd name="T39" fmla="*/ 22626702 h 826"/>
                <a:gd name="T40" fmla="*/ 103430248 w 877"/>
                <a:gd name="T41" fmla="*/ 13687751 h 826"/>
                <a:gd name="T42" fmla="*/ 110146521 w 877"/>
                <a:gd name="T43" fmla="*/ 9497602 h 826"/>
                <a:gd name="T44" fmla="*/ 118397741 w 877"/>
                <a:gd name="T45" fmla="*/ 1117303 h 826"/>
                <a:gd name="T46" fmla="*/ 124730277 w 877"/>
                <a:gd name="T47" fmla="*/ 0 h 826"/>
                <a:gd name="T48" fmla="*/ 130679076 w 877"/>
                <a:gd name="T49" fmla="*/ 1675954 h 826"/>
                <a:gd name="T50" fmla="*/ 133365672 w 877"/>
                <a:gd name="T51" fmla="*/ 6704345 h 826"/>
                <a:gd name="T52" fmla="*/ 135476225 w 877"/>
                <a:gd name="T53" fmla="*/ 13966813 h 826"/>
                <a:gd name="T54" fmla="*/ 139698208 w 877"/>
                <a:gd name="T55" fmla="*/ 17598311 h 826"/>
                <a:gd name="T56" fmla="*/ 153130753 w 877"/>
                <a:gd name="T57" fmla="*/ 19832917 h 826"/>
                <a:gd name="T58" fmla="*/ 159270982 w 877"/>
                <a:gd name="T59" fmla="*/ 27095913 h 826"/>
                <a:gd name="T60" fmla="*/ 160038894 w 877"/>
                <a:gd name="T61" fmla="*/ 32682427 h 826"/>
                <a:gd name="T62" fmla="*/ 161765711 w 877"/>
                <a:gd name="T63" fmla="*/ 39107710 h 826"/>
                <a:gd name="T64" fmla="*/ 160422631 w 877"/>
                <a:gd name="T65" fmla="*/ 44415163 h 826"/>
                <a:gd name="T66" fmla="*/ 158119772 w 877"/>
                <a:gd name="T67" fmla="*/ 47487481 h 826"/>
                <a:gd name="T68" fmla="*/ 159079114 w 877"/>
                <a:gd name="T69" fmla="*/ 57823324 h 826"/>
                <a:gd name="T70" fmla="*/ 164644176 w 877"/>
                <a:gd name="T71" fmla="*/ 68438229 h 826"/>
                <a:gd name="T72" fmla="*/ 168098246 w 877"/>
                <a:gd name="T73" fmla="*/ 191905996 h 826"/>
                <a:gd name="T74" fmla="*/ 168290115 w 877"/>
                <a:gd name="T75" fmla="*/ 206990111 h 826"/>
                <a:gd name="T76" fmla="*/ 166947035 w 877"/>
                <a:gd name="T77" fmla="*/ 216487713 h 826"/>
                <a:gd name="T78" fmla="*/ 162725053 w 877"/>
                <a:gd name="T79" fmla="*/ 218722319 h 826"/>
                <a:gd name="T80" fmla="*/ 159270982 w 877"/>
                <a:gd name="T81" fmla="*/ 224588422 h 826"/>
                <a:gd name="T82" fmla="*/ 70232622 w 877"/>
                <a:gd name="T83" fmla="*/ 165648324 h 826"/>
                <a:gd name="T84" fmla="*/ 63516349 w 877"/>
                <a:gd name="T85" fmla="*/ 169558884 h 826"/>
                <a:gd name="T86" fmla="*/ 56032603 w 877"/>
                <a:gd name="T87" fmla="*/ 174866336 h 826"/>
                <a:gd name="T88" fmla="*/ 50467979 w 877"/>
                <a:gd name="T89" fmla="*/ 175145398 h 826"/>
                <a:gd name="T90" fmla="*/ 44135443 w 877"/>
                <a:gd name="T91" fmla="*/ 170117535 h 826"/>
                <a:gd name="T92" fmla="*/ 37035434 w 877"/>
                <a:gd name="T93" fmla="*/ 163692780 h 826"/>
                <a:gd name="T94" fmla="*/ 29167512 w 877"/>
                <a:gd name="T95" fmla="*/ 161458175 h 826"/>
                <a:gd name="T96" fmla="*/ 26481354 w 877"/>
                <a:gd name="T97" fmla="*/ 161178585 h 826"/>
                <a:gd name="T98" fmla="*/ 24945968 w 877"/>
                <a:gd name="T99" fmla="*/ 154474768 h 826"/>
                <a:gd name="T100" fmla="*/ 20916292 w 877"/>
                <a:gd name="T101" fmla="*/ 149446377 h 826"/>
                <a:gd name="T102" fmla="*/ 12089466 w 877"/>
                <a:gd name="T103" fmla="*/ 144418515 h 826"/>
                <a:gd name="T104" fmla="*/ 5373193 w 877"/>
                <a:gd name="T105" fmla="*/ 139390124 h 826"/>
                <a:gd name="T106" fmla="*/ 3070334 w 877"/>
                <a:gd name="T107" fmla="*/ 134641323 h 826"/>
                <a:gd name="T108" fmla="*/ 2686597 w 877"/>
                <a:gd name="T109" fmla="*/ 122630054 h 826"/>
                <a:gd name="T110" fmla="*/ 3645939 w 877"/>
                <a:gd name="T111" fmla="*/ 98327398 h 826"/>
                <a:gd name="T112" fmla="*/ 3262202 w 877"/>
                <a:gd name="T113" fmla="*/ 72069727 h 826"/>
                <a:gd name="T114" fmla="*/ 767474 w 877"/>
                <a:gd name="T115" fmla="*/ 56426431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US"/>
            </a:p>
          </p:txBody>
        </p:sp>
        <p:sp>
          <p:nvSpPr>
            <p:cNvPr id="178" name="Freeform 239">
              <a:extLst>
                <a:ext uri="{FF2B5EF4-FFF2-40B4-BE49-F238E27FC236}">
                  <a16:creationId xmlns:a16="http://schemas.microsoft.com/office/drawing/2014/main" id="{D62EDE84-637E-47B6-BEA3-FD4BE1D80051}"/>
                </a:ext>
              </a:extLst>
            </p:cNvPr>
            <p:cNvSpPr>
              <a:spLocks/>
            </p:cNvSpPr>
            <p:nvPr>
              <p:custDataLst>
                <p:tags r:id="rId166"/>
              </p:custDataLst>
            </p:nvPr>
          </p:nvSpPr>
          <p:spPr bwMode="auto">
            <a:xfrm>
              <a:off x="4197350" y="2827338"/>
              <a:ext cx="93663" cy="236537"/>
            </a:xfrm>
            <a:custGeom>
              <a:avLst/>
              <a:gdLst>
                <a:gd name="T0" fmla="*/ 21293328 w 206"/>
                <a:gd name="T1" fmla="*/ 119183960 h 455"/>
                <a:gd name="T2" fmla="*/ 25840985 w 206"/>
                <a:gd name="T3" fmla="*/ 113508608 h 455"/>
                <a:gd name="T4" fmla="*/ 28941867 w 206"/>
                <a:gd name="T5" fmla="*/ 109184381 h 455"/>
                <a:gd name="T6" fmla="*/ 30389097 w 206"/>
                <a:gd name="T7" fmla="*/ 105400813 h 455"/>
                <a:gd name="T8" fmla="*/ 31423027 w 206"/>
                <a:gd name="T9" fmla="*/ 100806257 h 455"/>
                <a:gd name="T10" fmla="*/ 31836327 w 206"/>
                <a:gd name="T11" fmla="*/ 95130905 h 455"/>
                <a:gd name="T12" fmla="*/ 31629449 w 206"/>
                <a:gd name="T13" fmla="*/ 90536349 h 455"/>
                <a:gd name="T14" fmla="*/ 32249626 w 206"/>
                <a:gd name="T15" fmla="*/ 89455552 h 455"/>
                <a:gd name="T16" fmla="*/ 34730331 w 206"/>
                <a:gd name="T17" fmla="*/ 88914894 h 455"/>
                <a:gd name="T18" fmla="*/ 38244967 w 206"/>
                <a:gd name="T19" fmla="*/ 87834097 h 455"/>
                <a:gd name="T20" fmla="*/ 40518796 w 206"/>
                <a:gd name="T21" fmla="*/ 85942313 h 455"/>
                <a:gd name="T22" fmla="*/ 41966025 w 206"/>
                <a:gd name="T23" fmla="*/ 82158745 h 455"/>
                <a:gd name="T24" fmla="*/ 42586202 w 206"/>
                <a:gd name="T25" fmla="*/ 75672405 h 455"/>
                <a:gd name="T26" fmla="*/ 41759148 w 206"/>
                <a:gd name="T27" fmla="*/ 71618508 h 455"/>
                <a:gd name="T28" fmla="*/ 39898619 w 206"/>
                <a:gd name="T29" fmla="*/ 71348179 h 455"/>
                <a:gd name="T30" fmla="*/ 36590860 w 206"/>
                <a:gd name="T31" fmla="*/ 69186065 h 455"/>
                <a:gd name="T32" fmla="*/ 32043204 w 206"/>
                <a:gd name="T33" fmla="*/ 65402497 h 455"/>
                <a:gd name="T34" fmla="*/ 28941867 w 206"/>
                <a:gd name="T35" fmla="*/ 62429916 h 455"/>
                <a:gd name="T36" fmla="*/ 26874916 w 206"/>
                <a:gd name="T37" fmla="*/ 61618929 h 455"/>
                <a:gd name="T38" fmla="*/ 24600632 w 206"/>
                <a:gd name="T39" fmla="*/ 59997474 h 455"/>
                <a:gd name="T40" fmla="*/ 20879574 w 206"/>
                <a:gd name="T41" fmla="*/ 57294702 h 455"/>
                <a:gd name="T42" fmla="*/ 19639221 w 206"/>
                <a:gd name="T43" fmla="*/ 55673247 h 455"/>
                <a:gd name="T44" fmla="*/ 19639221 w 206"/>
                <a:gd name="T45" fmla="*/ 53781463 h 455"/>
                <a:gd name="T46" fmla="*/ 21499751 w 206"/>
                <a:gd name="T47" fmla="*/ 48916578 h 455"/>
                <a:gd name="T48" fmla="*/ 24600632 w 206"/>
                <a:gd name="T49" fmla="*/ 42700568 h 455"/>
                <a:gd name="T50" fmla="*/ 27701514 w 206"/>
                <a:gd name="T51" fmla="*/ 37836203 h 455"/>
                <a:gd name="T52" fmla="*/ 28115268 w 206"/>
                <a:gd name="T53" fmla="*/ 34863102 h 455"/>
                <a:gd name="T54" fmla="*/ 26047862 w 206"/>
                <a:gd name="T55" fmla="*/ 31349863 h 455"/>
                <a:gd name="T56" fmla="*/ 23774034 w 206"/>
                <a:gd name="T57" fmla="*/ 28377282 h 455"/>
                <a:gd name="T58" fmla="*/ 22326804 w 206"/>
                <a:gd name="T59" fmla="*/ 25133852 h 455"/>
                <a:gd name="T60" fmla="*/ 22119927 w 206"/>
                <a:gd name="T61" fmla="*/ 22701929 h 455"/>
                <a:gd name="T62" fmla="*/ 22946980 w 206"/>
                <a:gd name="T63" fmla="*/ 21079955 h 455"/>
                <a:gd name="T64" fmla="*/ 23980456 w 206"/>
                <a:gd name="T65" fmla="*/ 19458500 h 455"/>
                <a:gd name="T66" fmla="*/ 25427686 w 206"/>
                <a:gd name="T67" fmla="*/ 18648032 h 455"/>
                <a:gd name="T68" fmla="*/ 26047862 w 206"/>
                <a:gd name="T69" fmla="*/ 9999579 h 455"/>
                <a:gd name="T70" fmla="*/ 22740103 w 206"/>
                <a:gd name="T71" fmla="*/ 8648453 h 455"/>
                <a:gd name="T72" fmla="*/ 17985569 w 206"/>
                <a:gd name="T73" fmla="*/ 5675352 h 455"/>
                <a:gd name="T74" fmla="*/ 10956752 w 206"/>
                <a:gd name="T75" fmla="*/ 0 h 455"/>
                <a:gd name="T76" fmla="*/ 9716400 w 206"/>
                <a:gd name="T77" fmla="*/ 2973101 h 455"/>
                <a:gd name="T78" fmla="*/ 7028817 w 206"/>
                <a:gd name="T79" fmla="*/ 11891363 h 455"/>
                <a:gd name="T80" fmla="*/ 5788464 w 206"/>
                <a:gd name="T81" fmla="*/ 18917841 h 455"/>
                <a:gd name="T82" fmla="*/ 4548112 w 206"/>
                <a:gd name="T83" fmla="*/ 26755827 h 455"/>
                <a:gd name="T84" fmla="*/ 4134358 w 206"/>
                <a:gd name="T85" fmla="*/ 35944418 h 455"/>
                <a:gd name="T86" fmla="*/ 4134358 w 206"/>
                <a:gd name="T87" fmla="*/ 46484656 h 455"/>
                <a:gd name="T88" fmla="*/ 2480705 w 206"/>
                <a:gd name="T89" fmla="*/ 50808362 h 455"/>
                <a:gd name="T90" fmla="*/ 1653652 w 206"/>
                <a:gd name="T91" fmla="*/ 55673247 h 455"/>
                <a:gd name="T92" fmla="*/ 0 w 206"/>
                <a:gd name="T93" fmla="*/ 63510713 h 455"/>
                <a:gd name="T94" fmla="*/ 4548112 w 206"/>
                <a:gd name="T95" fmla="*/ 69997053 h 455"/>
                <a:gd name="T96" fmla="*/ 8476047 w 206"/>
                <a:gd name="T97" fmla="*/ 75942734 h 455"/>
                <a:gd name="T98" fmla="*/ 11370052 w 206"/>
                <a:gd name="T99" fmla="*/ 82428554 h 455"/>
                <a:gd name="T100" fmla="*/ 13644335 w 206"/>
                <a:gd name="T101" fmla="*/ 88914894 h 455"/>
                <a:gd name="T102" fmla="*/ 15504864 w 206"/>
                <a:gd name="T103" fmla="*/ 95941892 h 455"/>
                <a:gd name="T104" fmla="*/ 16951639 w 206"/>
                <a:gd name="T105" fmla="*/ 103779358 h 455"/>
                <a:gd name="T106" fmla="*/ 19225922 w 206"/>
                <a:gd name="T107" fmla="*/ 12296752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US"/>
            </a:p>
          </p:txBody>
        </p:sp>
        <p:sp>
          <p:nvSpPr>
            <p:cNvPr id="179" name="Freeform 240">
              <a:extLst>
                <a:ext uri="{FF2B5EF4-FFF2-40B4-BE49-F238E27FC236}">
                  <a16:creationId xmlns:a16="http://schemas.microsoft.com/office/drawing/2014/main" id="{BDF35F97-1209-432F-AD58-7C8399EC9D09}"/>
                </a:ext>
              </a:extLst>
            </p:cNvPr>
            <p:cNvSpPr>
              <a:spLocks/>
            </p:cNvSpPr>
            <p:nvPr>
              <p:custDataLst>
                <p:tags r:id="rId167"/>
              </p:custDataLst>
            </p:nvPr>
          </p:nvSpPr>
          <p:spPr bwMode="auto">
            <a:xfrm>
              <a:off x="3579813" y="3138488"/>
              <a:ext cx="231775" cy="215900"/>
            </a:xfrm>
            <a:custGeom>
              <a:avLst/>
              <a:gdLst>
                <a:gd name="T0" fmla="*/ 65266587 w 518"/>
                <a:gd name="T1" fmla="*/ 31106085 h 406"/>
                <a:gd name="T2" fmla="*/ 65266587 w 518"/>
                <a:gd name="T3" fmla="*/ 73240618 h 406"/>
                <a:gd name="T4" fmla="*/ 63064277 w 518"/>
                <a:gd name="T5" fmla="*/ 74654604 h 406"/>
                <a:gd name="T6" fmla="*/ 58259644 w 518"/>
                <a:gd name="T7" fmla="*/ 76634396 h 406"/>
                <a:gd name="T8" fmla="*/ 49250398 w 518"/>
                <a:gd name="T9" fmla="*/ 80027642 h 406"/>
                <a:gd name="T10" fmla="*/ 50651786 w 518"/>
                <a:gd name="T11" fmla="*/ 85400681 h 406"/>
                <a:gd name="T12" fmla="*/ 53054103 w 518"/>
                <a:gd name="T13" fmla="*/ 92187173 h 406"/>
                <a:gd name="T14" fmla="*/ 53855024 w 518"/>
                <a:gd name="T15" fmla="*/ 99822375 h 406"/>
                <a:gd name="T16" fmla="*/ 54455492 w 518"/>
                <a:gd name="T17" fmla="*/ 108022853 h 406"/>
                <a:gd name="T18" fmla="*/ 10410635 w 518"/>
                <a:gd name="T19" fmla="*/ 111416631 h 406"/>
                <a:gd name="T20" fmla="*/ 4404620 w 518"/>
                <a:gd name="T21" fmla="*/ 114809877 h 406"/>
                <a:gd name="T22" fmla="*/ 1000928 w 518"/>
                <a:gd name="T23" fmla="*/ 113961698 h 406"/>
                <a:gd name="T24" fmla="*/ 200007 w 518"/>
                <a:gd name="T25" fmla="*/ 112547713 h 406"/>
                <a:gd name="T26" fmla="*/ 200007 w 518"/>
                <a:gd name="T27" fmla="*/ 108871563 h 406"/>
                <a:gd name="T28" fmla="*/ 800921 w 518"/>
                <a:gd name="T29" fmla="*/ 104912510 h 406"/>
                <a:gd name="T30" fmla="*/ 2202310 w 518"/>
                <a:gd name="T31" fmla="*/ 100105279 h 406"/>
                <a:gd name="T32" fmla="*/ 4004159 w 518"/>
                <a:gd name="T33" fmla="*/ 96429129 h 406"/>
                <a:gd name="T34" fmla="*/ 6006015 w 518"/>
                <a:gd name="T35" fmla="*/ 94449337 h 406"/>
                <a:gd name="T36" fmla="*/ 7607858 w 518"/>
                <a:gd name="T37" fmla="*/ 92187173 h 406"/>
                <a:gd name="T38" fmla="*/ 8808792 w 518"/>
                <a:gd name="T39" fmla="*/ 89642105 h 406"/>
                <a:gd name="T40" fmla="*/ 9810168 w 518"/>
                <a:gd name="T41" fmla="*/ 82572710 h 406"/>
                <a:gd name="T42" fmla="*/ 11211556 w 518"/>
                <a:gd name="T43" fmla="*/ 74937507 h 406"/>
                <a:gd name="T44" fmla="*/ 12412491 w 518"/>
                <a:gd name="T45" fmla="*/ 72675343 h 406"/>
                <a:gd name="T46" fmla="*/ 14815255 w 518"/>
                <a:gd name="T47" fmla="*/ 69564469 h 406"/>
                <a:gd name="T48" fmla="*/ 18418953 w 518"/>
                <a:gd name="T49" fmla="*/ 67302305 h 406"/>
                <a:gd name="T50" fmla="*/ 21421737 w 518"/>
                <a:gd name="T51" fmla="*/ 65323044 h 406"/>
                <a:gd name="T52" fmla="*/ 24424969 w 518"/>
                <a:gd name="T53" fmla="*/ 61646895 h 406"/>
                <a:gd name="T54" fmla="*/ 27227746 w 518"/>
                <a:gd name="T55" fmla="*/ 55142774 h 406"/>
                <a:gd name="T56" fmla="*/ 30030523 w 518"/>
                <a:gd name="T57" fmla="*/ 44114326 h 406"/>
                <a:gd name="T58" fmla="*/ 32433287 w 518"/>
                <a:gd name="T59" fmla="*/ 33085346 h 406"/>
                <a:gd name="T60" fmla="*/ 34435143 w 518"/>
                <a:gd name="T61" fmla="*/ 26581757 h 406"/>
                <a:gd name="T62" fmla="*/ 37237920 w 518"/>
                <a:gd name="T63" fmla="*/ 20642912 h 406"/>
                <a:gd name="T64" fmla="*/ 40241151 w 518"/>
                <a:gd name="T65" fmla="*/ 17532569 h 406"/>
                <a:gd name="T66" fmla="*/ 42643468 w 518"/>
                <a:gd name="T67" fmla="*/ 16118583 h 406"/>
                <a:gd name="T68" fmla="*/ 43844850 w 518"/>
                <a:gd name="T69" fmla="*/ 12442434 h 406"/>
                <a:gd name="T70" fmla="*/ 44645771 w 518"/>
                <a:gd name="T71" fmla="*/ 7918106 h 406"/>
                <a:gd name="T72" fmla="*/ 45646699 w 518"/>
                <a:gd name="T73" fmla="*/ 4524328 h 406"/>
                <a:gd name="T74" fmla="*/ 47849009 w 518"/>
                <a:gd name="T75" fmla="*/ 2262164 h 406"/>
                <a:gd name="T76" fmla="*/ 102304501 w 518"/>
                <a:gd name="T77" fmla="*/ 0 h 406"/>
                <a:gd name="T78" fmla="*/ 103105422 w 518"/>
                <a:gd name="T79" fmla="*/ 13008241 h 406"/>
                <a:gd name="T80" fmla="*/ 103705889 w 518"/>
                <a:gd name="T81" fmla="*/ 3110608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US"/>
            </a:p>
          </p:txBody>
        </p:sp>
        <p:sp>
          <p:nvSpPr>
            <p:cNvPr id="180" name="Freeform 241">
              <a:extLst>
                <a:ext uri="{FF2B5EF4-FFF2-40B4-BE49-F238E27FC236}">
                  <a16:creationId xmlns:a16="http://schemas.microsoft.com/office/drawing/2014/main" id="{B5C823C4-D513-44BB-BFEE-8B0406FFFBC5}"/>
                </a:ext>
              </a:extLst>
            </p:cNvPr>
            <p:cNvSpPr>
              <a:spLocks/>
            </p:cNvSpPr>
            <p:nvPr>
              <p:custDataLst>
                <p:tags r:id="rId168"/>
              </p:custDataLst>
            </p:nvPr>
          </p:nvSpPr>
          <p:spPr bwMode="auto">
            <a:xfrm>
              <a:off x="3548063" y="1946275"/>
              <a:ext cx="190500" cy="93663"/>
            </a:xfrm>
            <a:custGeom>
              <a:avLst/>
              <a:gdLst>
                <a:gd name="T0" fmla="*/ 6202783 w 446"/>
                <a:gd name="T1" fmla="*/ 16889679 h 178"/>
                <a:gd name="T2" fmla="*/ 7479901 w 446"/>
                <a:gd name="T3" fmla="*/ 11628821 h 178"/>
                <a:gd name="T4" fmla="*/ 12405992 w 446"/>
                <a:gd name="T5" fmla="*/ 10244413 h 178"/>
                <a:gd name="T6" fmla="*/ 14595034 w 446"/>
                <a:gd name="T7" fmla="*/ 4983555 h 178"/>
                <a:gd name="T8" fmla="*/ 13135530 w 446"/>
                <a:gd name="T9" fmla="*/ 3876449 h 178"/>
                <a:gd name="T10" fmla="*/ 10946489 w 446"/>
                <a:gd name="T11" fmla="*/ 0 h 178"/>
                <a:gd name="T12" fmla="*/ 15507383 w 446"/>
                <a:gd name="T13" fmla="*/ 2768817 h 178"/>
                <a:gd name="T14" fmla="*/ 19703509 w 446"/>
                <a:gd name="T15" fmla="*/ 10797966 h 178"/>
                <a:gd name="T16" fmla="*/ 22804900 w 446"/>
                <a:gd name="T17" fmla="*/ 17166456 h 178"/>
                <a:gd name="T18" fmla="*/ 25359138 w 446"/>
                <a:gd name="T19" fmla="*/ 18550864 h 178"/>
                <a:gd name="T20" fmla="*/ 28642914 w 446"/>
                <a:gd name="T21" fmla="*/ 17443232 h 178"/>
                <a:gd name="T22" fmla="*/ 33021851 w 446"/>
                <a:gd name="T23" fmla="*/ 12459677 h 178"/>
                <a:gd name="T24" fmla="*/ 37400361 w 446"/>
                <a:gd name="T25" fmla="*/ 6367964 h 178"/>
                <a:gd name="T26" fmla="*/ 40136983 w 446"/>
                <a:gd name="T27" fmla="*/ 8583228 h 178"/>
                <a:gd name="T28" fmla="*/ 65496121 w 446"/>
                <a:gd name="T29" fmla="*/ 3045594 h 178"/>
                <a:gd name="T30" fmla="*/ 68597512 w 446"/>
                <a:gd name="T31" fmla="*/ 6367964 h 178"/>
                <a:gd name="T32" fmla="*/ 72246057 w 446"/>
                <a:gd name="T33" fmla="*/ 6091187 h 178"/>
                <a:gd name="T34" fmla="*/ 75347876 w 446"/>
                <a:gd name="T35" fmla="*/ 10244413 h 178"/>
                <a:gd name="T36" fmla="*/ 75712645 w 446"/>
                <a:gd name="T37" fmla="*/ 11905598 h 178"/>
                <a:gd name="T38" fmla="*/ 78266882 w 446"/>
                <a:gd name="T39" fmla="*/ 14951191 h 178"/>
                <a:gd name="T40" fmla="*/ 80821120 w 446"/>
                <a:gd name="T41" fmla="*/ 18827641 h 178"/>
                <a:gd name="T42" fmla="*/ 81368274 w 446"/>
                <a:gd name="T43" fmla="*/ 22150011 h 178"/>
                <a:gd name="T44" fmla="*/ 79908770 w 446"/>
                <a:gd name="T45" fmla="*/ 26580013 h 178"/>
                <a:gd name="T46" fmla="*/ 75347876 w 446"/>
                <a:gd name="T47" fmla="*/ 30733238 h 178"/>
                <a:gd name="T48" fmla="*/ 72428869 w 446"/>
                <a:gd name="T49" fmla="*/ 33225279 h 178"/>
                <a:gd name="T50" fmla="*/ 66773240 w 446"/>
                <a:gd name="T51" fmla="*/ 34055608 h 178"/>
                <a:gd name="T52" fmla="*/ 54732017 w 446"/>
                <a:gd name="T53" fmla="*/ 40424098 h 178"/>
                <a:gd name="T54" fmla="*/ 42690794 w 446"/>
                <a:gd name="T55" fmla="*/ 47346141 h 178"/>
                <a:gd name="T56" fmla="*/ 36305627 w 446"/>
                <a:gd name="T57" fmla="*/ 49284102 h 178"/>
                <a:gd name="T58" fmla="*/ 32291886 w 446"/>
                <a:gd name="T59" fmla="*/ 48176470 h 178"/>
                <a:gd name="T60" fmla="*/ 31379536 w 446"/>
                <a:gd name="T61" fmla="*/ 45407653 h 178"/>
                <a:gd name="T62" fmla="*/ 31014767 w 446"/>
                <a:gd name="T63" fmla="*/ 44577324 h 178"/>
                <a:gd name="T64" fmla="*/ 28460529 w 446"/>
                <a:gd name="T65" fmla="*/ 44577324 h 178"/>
                <a:gd name="T66" fmla="*/ 25359138 w 446"/>
                <a:gd name="T67" fmla="*/ 44300547 h 178"/>
                <a:gd name="T68" fmla="*/ 18244006 w 446"/>
                <a:gd name="T69" fmla="*/ 40700875 h 178"/>
                <a:gd name="T70" fmla="*/ 15507383 w 446"/>
                <a:gd name="T71" fmla="*/ 37932058 h 178"/>
                <a:gd name="T72" fmla="*/ 14777845 w 446"/>
                <a:gd name="T73" fmla="*/ 34609688 h 178"/>
                <a:gd name="T74" fmla="*/ 15872152 w 446"/>
                <a:gd name="T75" fmla="*/ 30733238 h 178"/>
                <a:gd name="T76" fmla="*/ 4926091 w 446"/>
                <a:gd name="T77" fmla="*/ 28518500 h 178"/>
                <a:gd name="T78" fmla="*/ 1641888 w 446"/>
                <a:gd name="T79" fmla="*/ 29072053 h 178"/>
                <a:gd name="T80" fmla="*/ 0 w 446"/>
                <a:gd name="T81" fmla="*/ 22150011 h 178"/>
                <a:gd name="T82" fmla="*/ 10946489 w 446"/>
                <a:gd name="T83" fmla="*/ 23811196 h 178"/>
                <a:gd name="T84" fmla="*/ 15872152 w 446"/>
                <a:gd name="T85" fmla="*/ 22150011 h 178"/>
                <a:gd name="T86" fmla="*/ 4196126 w 446"/>
                <a:gd name="T87" fmla="*/ 18827641 h 178"/>
                <a:gd name="T88" fmla="*/ 2919007 w 446"/>
                <a:gd name="T89" fmla="*/ 15228494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endParaRPr lang="en-US"/>
            </a:p>
          </p:txBody>
        </p:sp>
        <p:sp>
          <p:nvSpPr>
            <p:cNvPr id="181" name="Freeform 242">
              <a:extLst>
                <a:ext uri="{FF2B5EF4-FFF2-40B4-BE49-F238E27FC236}">
                  <a16:creationId xmlns:a16="http://schemas.microsoft.com/office/drawing/2014/main" id="{E5EDCFBB-E88C-44EF-890C-B8736941CFE2}"/>
                </a:ext>
              </a:extLst>
            </p:cNvPr>
            <p:cNvSpPr>
              <a:spLocks/>
            </p:cNvSpPr>
            <p:nvPr>
              <p:custDataLst>
                <p:tags r:id="rId169"/>
              </p:custDataLst>
            </p:nvPr>
          </p:nvSpPr>
          <p:spPr bwMode="auto">
            <a:xfrm>
              <a:off x="4340225" y="2209800"/>
              <a:ext cx="14288" cy="57150"/>
            </a:xfrm>
            <a:custGeom>
              <a:avLst/>
              <a:gdLst>
                <a:gd name="T0" fmla="*/ 0 w 28"/>
                <a:gd name="T1" fmla="*/ 44741404 h 73"/>
                <a:gd name="T2" fmla="*/ 521002 w 28"/>
                <a:gd name="T3" fmla="*/ 28805949 h 73"/>
                <a:gd name="T4" fmla="*/ 1562495 w 28"/>
                <a:gd name="T5" fmla="*/ 17161440 h 73"/>
                <a:gd name="T6" fmla="*/ 1822741 w 28"/>
                <a:gd name="T7" fmla="*/ 12258284 h 73"/>
                <a:gd name="T8" fmla="*/ 1562495 w 28"/>
                <a:gd name="T9" fmla="*/ 7967336 h 73"/>
                <a:gd name="T10" fmla="*/ 1041493 w 28"/>
                <a:gd name="T11" fmla="*/ 4290164 h 73"/>
                <a:gd name="T12" fmla="*/ 0 w 28"/>
                <a:gd name="T13" fmla="*/ 0 h 73"/>
                <a:gd name="T14" fmla="*/ 7290962 w 28"/>
                <a:gd name="T15" fmla="*/ 0 h 73"/>
                <a:gd name="T16" fmla="*/ 5728467 w 28"/>
                <a:gd name="T17" fmla="*/ 9806314 h 73"/>
                <a:gd name="T18" fmla="*/ 4426729 w 28"/>
                <a:gd name="T19" fmla="*/ 18386642 h 73"/>
                <a:gd name="T20" fmla="*/ 3124479 w 28"/>
                <a:gd name="T21" fmla="*/ 26354762 h 73"/>
                <a:gd name="T22" fmla="*/ 1822741 w 28"/>
                <a:gd name="T23" fmla="*/ 33709105 h 73"/>
                <a:gd name="T24" fmla="*/ 0 w 28"/>
                <a:gd name="T25" fmla="*/ 44741404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2" name="Freeform 243">
              <a:extLst>
                <a:ext uri="{FF2B5EF4-FFF2-40B4-BE49-F238E27FC236}">
                  <a16:creationId xmlns:a16="http://schemas.microsoft.com/office/drawing/2014/main" id="{102AE230-6514-496C-A844-9595A16263A6}"/>
                </a:ext>
              </a:extLst>
            </p:cNvPr>
            <p:cNvSpPr>
              <a:spLocks/>
            </p:cNvSpPr>
            <p:nvPr>
              <p:custDataLst>
                <p:tags r:id="rId170"/>
              </p:custDataLst>
            </p:nvPr>
          </p:nvSpPr>
          <p:spPr bwMode="auto">
            <a:xfrm>
              <a:off x="4227513" y="1873250"/>
              <a:ext cx="234950" cy="395288"/>
            </a:xfrm>
            <a:custGeom>
              <a:avLst/>
              <a:gdLst>
                <a:gd name="T0" fmla="*/ 82030735 w 531"/>
                <a:gd name="T1" fmla="*/ 55351668 h 757"/>
                <a:gd name="T2" fmla="*/ 79485665 w 531"/>
                <a:gd name="T3" fmla="*/ 60259597 h 757"/>
                <a:gd name="T4" fmla="*/ 79094081 w 531"/>
                <a:gd name="T5" fmla="*/ 64622375 h 757"/>
                <a:gd name="T6" fmla="*/ 74786665 w 531"/>
                <a:gd name="T7" fmla="*/ 74983385 h 757"/>
                <a:gd name="T8" fmla="*/ 63627646 w 531"/>
                <a:gd name="T9" fmla="*/ 83436365 h 757"/>
                <a:gd name="T10" fmla="*/ 49335960 w 531"/>
                <a:gd name="T11" fmla="*/ 96524177 h 757"/>
                <a:gd name="T12" fmla="*/ 46399306 w 531"/>
                <a:gd name="T13" fmla="*/ 100614379 h 757"/>
                <a:gd name="T14" fmla="*/ 47965197 w 531"/>
                <a:gd name="T15" fmla="*/ 103886332 h 757"/>
                <a:gd name="T16" fmla="*/ 46986460 w 531"/>
                <a:gd name="T17" fmla="*/ 115610743 h 757"/>
                <a:gd name="T18" fmla="*/ 46790890 w 531"/>
                <a:gd name="T19" fmla="*/ 122427747 h 757"/>
                <a:gd name="T20" fmla="*/ 51293434 w 531"/>
                <a:gd name="T21" fmla="*/ 127608252 h 757"/>
                <a:gd name="T22" fmla="*/ 62648466 w 531"/>
                <a:gd name="T23" fmla="*/ 132243605 h 757"/>
                <a:gd name="T24" fmla="*/ 64997966 w 531"/>
                <a:gd name="T25" fmla="*/ 137697208 h 757"/>
                <a:gd name="T26" fmla="*/ 60690992 w 531"/>
                <a:gd name="T27" fmla="*/ 144786265 h 757"/>
                <a:gd name="T28" fmla="*/ 53251351 w 531"/>
                <a:gd name="T29" fmla="*/ 149149043 h 757"/>
                <a:gd name="T30" fmla="*/ 51881031 w 531"/>
                <a:gd name="T31" fmla="*/ 152693572 h 757"/>
                <a:gd name="T32" fmla="*/ 49335960 w 531"/>
                <a:gd name="T33" fmla="*/ 172053236 h 757"/>
                <a:gd name="T34" fmla="*/ 46790890 w 531"/>
                <a:gd name="T35" fmla="*/ 196593405 h 757"/>
                <a:gd name="T36" fmla="*/ 33869525 w 531"/>
                <a:gd name="T37" fmla="*/ 198229381 h 757"/>
                <a:gd name="T38" fmla="*/ 29758121 w 531"/>
                <a:gd name="T39" fmla="*/ 201228758 h 757"/>
                <a:gd name="T40" fmla="*/ 29953691 w 531"/>
                <a:gd name="T41" fmla="*/ 206409263 h 757"/>
                <a:gd name="T42" fmla="*/ 20752589 w 531"/>
                <a:gd name="T43" fmla="*/ 206409263 h 757"/>
                <a:gd name="T44" fmla="*/ 18598660 w 531"/>
                <a:gd name="T45" fmla="*/ 205045863 h 757"/>
                <a:gd name="T46" fmla="*/ 13900102 w 531"/>
                <a:gd name="T47" fmla="*/ 195775155 h 757"/>
                <a:gd name="T48" fmla="*/ 8026795 w 531"/>
                <a:gd name="T49" fmla="*/ 174506939 h 757"/>
                <a:gd name="T50" fmla="*/ 6656474 w 531"/>
                <a:gd name="T51" fmla="*/ 162782529 h 757"/>
                <a:gd name="T52" fmla="*/ 2741083 w 531"/>
                <a:gd name="T53" fmla="*/ 159783151 h 757"/>
                <a:gd name="T54" fmla="*/ 3719820 w 531"/>
                <a:gd name="T55" fmla="*/ 152966670 h 757"/>
                <a:gd name="T56" fmla="*/ 7048058 w 531"/>
                <a:gd name="T57" fmla="*/ 146695340 h 757"/>
                <a:gd name="T58" fmla="*/ 10376295 w 531"/>
                <a:gd name="T59" fmla="*/ 137424632 h 757"/>
                <a:gd name="T60" fmla="*/ 11942185 w 531"/>
                <a:gd name="T61" fmla="*/ 128426501 h 757"/>
                <a:gd name="T62" fmla="*/ 12529782 w 531"/>
                <a:gd name="T63" fmla="*/ 120246097 h 757"/>
                <a:gd name="T64" fmla="*/ 11355032 w 531"/>
                <a:gd name="T65" fmla="*/ 111248487 h 757"/>
                <a:gd name="T66" fmla="*/ 8418378 w 531"/>
                <a:gd name="T67" fmla="*/ 102795507 h 757"/>
                <a:gd name="T68" fmla="*/ 14487698 w 531"/>
                <a:gd name="T69" fmla="*/ 75255961 h 757"/>
                <a:gd name="T70" fmla="*/ 20164993 w 531"/>
                <a:gd name="T71" fmla="*/ 74983385 h 757"/>
                <a:gd name="T72" fmla="*/ 22122910 w 531"/>
                <a:gd name="T73" fmla="*/ 63804126 h 757"/>
                <a:gd name="T74" fmla="*/ 26821467 w 531"/>
                <a:gd name="T75" fmla="*/ 52352291 h 757"/>
                <a:gd name="T76" fmla="*/ 35239845 w 531"/>
                <a:gd name="T77" fmla="*/ 39536533 h 757"/>
                <a:gd name="T78" fmla="*/ 38763653 w 531"/>
                <a:gd name="T79" fmla="*/ 30266348 h 757"/>
                <a:gd name="T80" fmla="*/ 44636960 w 531"/>
                <a:gd name="T81" fmla="*/ 16360287 h 757"/>
                <a:gd name="T82" fmla="*/ 48748364 w 531"/>
                <a:gd name="T83" fmla="*/ 11724933 h 757"/>
                <a:gd name="T84" fmla="*/ 60494979 w 531"/>
                <a:gd name="T85" fmla="*/ 7907307 h 757"/>
                <a:gd name="T86" fmla="*/ 72046024 w 531"/>
                <a:gd name="T87" fmla="*/ 3544529 h 757"/>
                <a:gd name="T88" fmla="*/ 78506485 w 531"/>
                <a:gd name="T89" fmla="*/ 1363401 h 757"/>
                <a:gd name="T90" fmla="*/ 84379793 w 531"/>
                <a:gd name="T91" fmla="*/ 8725556 h 757"/>
                <a:gd name="T92" fmla="*/ 89469933 w 531"/>
                <a:gd name="T93" fmla="*/ 11451835 h 757"/>
                <a:gd name="T94" fmla="*/ 100433824 w 531"/>
                <a:gd name="T95" fmla="*/ 30266348 h 757"/>
                <a:gd name="T96" fmla="*/ 103370478 w 531"/>
                <a:gd name="T97" fmla="*/ 40899933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3" name="Freeform 244">
              <a:extLst>
                <a:ext uri="{FF2B5EF4-FFF2-40B4-BE49-F238E27FC236}">
                  <a16:creationId xmlns:a16="http://schemas.microsoft.com/office/drawing/2014/main" id="{C6237640-7C3C-4CC1-B146-F15CDE8B84A1}"/>
                </a:ext>
              </a:extLst>
            </p:cNvPr>
            <p:cNvSpPr>
              <a:spLocks/>
            </p:cNvSpPr>
            <p:nvPr>
              <p:custDataLst>
                <p:tags r:id="rId171"/>
              </p:custDataLst>
            </p:nvPr>
          </p:nvSpPr>
          <p:spPr bwMode="auto">
            <a:xfrm>
              <a:off x="4365625" y="2187575"/>
              <a:ext cx="26988" cy="57150"/>
            </a:xfrm>
            <a:custGeom>
              <a:avLst/>
              <a:gdLst>
                <a:gd name="T0" fmla="*/ 0 w 60"/>
                <a:gd name="T1" fmla="*/ 46461829 h 51"/>
                <a:gd name="T2" fmla="*/ 1214010 w 60"/>
                <a:gd name="T3" fmla="*/ 37671935 h 51"/>
                <a:gd name="T4" fmla="*/ 3034801 w 60"/>
                <a:gd name="T5" fmla="*/ 23858444 h 51"/>
                <a:gd name="T6" fmla="*/ 4046401 w 60"/>
                <a:gd name="T7" fmla="*/ 16324729 h 51"/>
                <a:gd name="T8" fmla="*/ 5462821 w 60"/>
                <a:gd name="T9" fmla="*/ 10046074 h 51"/>
                <a:gd name="T10" fmla="*/ 6676381 w 60"/>
                <a:gd name="T11" fmla="*/ 5022476 h 51"/>
                <a:gd name="T12" fmla="*/ 8092802 w 60"/>
                <a:gd name="T13" fmla="*/ 0 h 51"/>
                <a:gd name="T14" fmla="*/ 10116002 w 60"/>
                <a:gd name="T15" fmla="*/ 8789894 h 51"/>
                <a:gd name="T16" fmla="*/ 12139202 w 60"/>
                <a:gd name="T17" fmla="*/ 16324729 h 51"/>
                <a:gd name="T18" fmla="*/ 11936792 w 60"/>
                <a:gd name="T19" fmla="*/ 25114624 h 51"/>
                <a:gd name="T20" fmla="*/ 11330012 w 60"/>
                <a:gd name="T21" fmla="*/ 36415756 h 51"/>
                <a:gd name="T22" fmla="*/ 10925192 w 60"/>
                <a:gd name="T23" fmla="*/ 42694412 h 51"/>
                <a:gd name="T24" fmla="*/ 10520822 w 60"/>
                <a:gd name="T25" fmla="*/ 47716888 h 51"/>
                <a:gd name="T26" fmla="*/ 9913592 w 60"/>
                <a:gd name="T27" fmla="*/ 52740485 h 51"/>
                <a:gd name="T28" fmla="*/ 9104402 w 60"/>
                <a:gd name="T29" fmla="*/ 56506782 h 51"/>
                <a:gd name="T30" fmla="*/ 8295212 w 60"/>
                <a:gd name="T31" fmla="*/ 60274200 h 51"/>
                <a:gd name="T32" fmla="*/ 7486021 w 60"/>
                <a:gd name="T33" fmla="*/ 62785438 h 51"/>
                <a:gd name="T34" fmla="*/ 6272011 w 60"/>
                <a:gd name="T35" fmla="*/ 64041618 h 51"/>
                <a:gd name="T36" fmla="*/ 5462821 w 60"/>
                <a:gd name="T37" fmla="*/ 64041618 h 51"/>
                <a:gd name="T38" fmla="*/ 4046401 w 60"/>
                <a:gd name="T39" fmla="*/ 62785438 h 51"/>
                <a:gd name="T40" fmla="*/ 3034801 w 60"/>
                <a:gd name="T41" fmla="*/ 59019141 h 51"/>
                <a:gd name="T42" fmla="*/ 1416420 w 60"/>
                <a:gd name="T43" fmla="*/ 53995544 h 51"/>
                <a:gd name="T44" fmla="*/ 0 w 60"/>
                <a:gd name="T45" fmla="*/ 46461829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4" name="Freeform 245">
              <a:extLst>
                <a:ext uri="{FF2B5EF4-FFF2-40B4-BE49-F238E27FC236}">
                  <a16:creationId xmlns:a16="http://schemas.microsoft.com/office/drawing/2014/main" id="{4551C963-E545-4DE4-9053-63FA7C5476DD}"/>
                </a:ext>
              </a:extLst>
            </p:cNvPr>
            <p:cNvSpPr>
              <a:spLocks/>
            </p:cNvSpPr>
            <p:nvPr>
              <p:custDataLst>
                <p:tags r:id="rId172"/>
              </p:custDataLst>
            </p:nvPr>
          </p:nvSpPr>
          <p:spPr bwMode="auto">
            <a:xfrm>
              <a:off x="3810000" y="2349500"/>
              <a:ext cx="28575" cy="57150"/>
            </a:xfrm>
            <a:custGeom>
              <a:avLst/>
              <a:gdLst>
                <a:gd name="T0" fmla="*/ 11059391 w 66"/>
                <a:gd name="T1" fmla="*/ 60274200 h 51"/>
                <a:gd name="T2" fmla="*/ 7872845 w 66"/>
                <a:gd name="T3" fmla="*/ 62785438 h 51"/>
                <a:gd name="T4" fmla="*/ 4123892 w 66"/>
                <a:gd name="T5" fmla="*/ 64041618 h 51"/>
                <a:gd name="T6" fmla="*/ 3186545 w 66"/>
                <a:gd name="T7" fmla="*/ 62785438 h 51"/>
                <a:gd name="T8" fmla="*/ 2436668 w 66"/>
                <a:gd name="T9" fmla="*/ 61530379 h 51"/>
                <a:gd name="T10" fmla="*/ 1874693 w 66"/>
                <a:gd name="T11" fmla="*/ 60274200 h 51"/>
                <a:gd name="T12" fmla="*/ 1312285 w 66"/>
                <a:gd name="T13" fmla="*/ 57762962 h 51"/>
                <a:gd name="T14" fmla="*/ 562408 w 66"/>
                <a:gd name="T15" fmla="*/ 53995544 h 51"/>
                <a:gd name="T16" fmla="*/ 187469 w 66"/>
                <a:gd name="T17" fmla="*/ 50229247 h 51"/>
                <a:gd name="T18" fmla="*/ 0 w 66"/>
                <a:gd name="T19" fmla="*/ 43950591 h 51"/>
                <a:gd name="T20" fmla="*/ 0 w 66"/>
                <a:gd name="T21" fmla="*/ 37671935 h 51"/>
                <a:gd name="T22" fmla="*/ 749877 w 66"/>
                <a:gd name="T23" fmla="*/ 36415756 h 51"/>
                <a:gd name="T24" fmla="*/ 1874693 w 66"/>
                <a:gd name="T25" fmla="*/ 33904518 h 51"/>
                <a:gd name="T26" fmla="*/ 2624138 w 66"/>
                <a:gd name="T27" fmla="*/ 30137100 h 51"/>
                <a:gd name="T28" fmla="*/ 3561484 w 66"/>
                <a:gd name="T29" fmla="*/ 25114624 h 51"/>
                <a:gd name="T30" fmla="*/ 4873769 w 66"/>
                <a:gd name="T31" fmla="*/ 12557312 h 51"/>
                <a:gd name="T32" fmla="*/ 6186055 w 66"/>
                <a:gd name="T33" fmla="*/ 0 h 51"/>
                <a:gd name="T34" fmla="*/ 8622723 w 66"/>
                <a:gd name="T35" fmla="*/ 1256179 h 51"/>
                <a:gd name="T36" fmla="*/ 9747539 w 66"/>
                <a:gd name="T37" fmla="*/ 2511238 h 51"/>
                <a:gd name="T38" fmla="*/ 10496983 w 66"/>
                <a:gd name="T39" fmla="*/ 3767418 h 51"/>
                <a:gd name="T40" fmla="*/ 12371676 w 66"/>
                <a:gd name="T41" fmla="*/ 0 h 51"/>
                <a:gd name="T42" fmla="*/ 12184207 w 66"/>
                <a:gd name="T43" fmla="*/ 16324729 h 51"/>
                <a:gd name="T44" fmla="*/ 11809268 w 66"/>
                <a:gd name="T45" fmla="*/ 30137100 h 51"/>
                <a:gd name="T46" fmla="*/ 11246860 w 66"/>
                <a:gd name="T47" fmla="*/ 45205650 h 51"/>
                <a:gd name="T48" fmla="*/ 11059391 w 66"/>
                <a:gd name="T49" fmla="*/ 60274200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5" name="Freeform 246">
              <a:extLst>
                <a:ext uri="{FF2B5EF4-FFF2-40B4-BE49-F238E27FC236}">
                  <a16:creationId xmlns:a16="http://schemas.microsoft.com/office/drawing/2014/main" id="{D2C5DBBE-DE8A-483B-BC54-3DA046DFCC4E}"/>
                </a:ext>
              </a:extLst>
            </p:cNvPr>
            <p:cNvSpPr>
              <a:spLocks/>
            </p:cNvSpPr>
            <p:nvPr>
              <p:custDataLst>
                <p:tags r:id="rId173"/>
              </p:custDataLst>
            </p:nvPr>
          </p:nvSpPr>
          <p:spPr bwMode="auto">
            <a:xfrm>
              <a:off x="4762500" y="2878138"/>
              <a:ext cx="50800" cy="57150"/>
            </a:xfrm>
            <a:custGeom>
              <a:avLst/>
              <a:gdLst>
                <a:gd name="T0" fmla="*/ 0 w 113"/>
                <a:gd name="T1" fmla="*/ 26243434 h 74"/>
                <a:gd name="T2" fmla="*/ 4041972 w 113"/>
                <a:gd name="T3" fmla="*/ 44136791 h 74"/>
                <a:gd name="T4" fmla="*/ 7477940 w 113"/>
                <a:gd name="T5" fmla="*/ 41154951 h 74"/>
                <a:gd name="T6" fmla="*/ 10307005 w 113"/>
                <a:gd name="T7" fmla="*/ 38768552 h 74"/>
                <a:gd name="T8" fmla="*/ 12934669 w 113"/>
                <a:gd name="T9" fmla="*/ 35190499 h 74"/>
                <a:gd name="T10" fmla="*/ 14955430 w 113"/>
                <a:gd name="T11" fmla="*/ 31611673 h 74"/>
                <a:gd name="T12" fmla="*/ 15763735 w 113"/>
                <a:gd name="T13" fmla="*/ 29226047 h 74"/>
                <a:gd name="T14" fmla="*/ 16774340 w 113"/>
                <a:gd name="T15" fmla="*/ 26839648 h 74"/>
                <a:gd name="T16" fmla="*/ 17380793 w 113"/>
                <a:gd name="T17" fmla="*/ 24454022 h 74"/>
                <a:gd name="T18" fmla="*/ 17784945 w 113"/>
                <a:gd name="T19" fmla="*/ 22068395 h 74"/>
                <a:gd name="T20" fmla="*/ 18189097 w 113"/>
                <a:gd name="T21" fmla="*/ 19086555 h 74"/>
                <a:gd name="T22" fmla="*/ 18391398 w 113"/>
                <a:gd name="T23" fmla="*/ 15507730 h 74"/>
                <a:gd name="T24" fmla="*/ 18795550 w 113"/>
                <a:gd name="T25" fmla="*/ 11332691 h 74"/>
                <a:gd name="T26" fmla="*/ 18997402 w 113"/>
                <a:gd name="T27" fmla="*/ 7753865 h 74"/>
                <a:gd name="T28" fmla="*/ 20008007 w 113"/>
                <a:gd name="T29" fmla="*/ 7157651 h 74"/>
                <a:gd name="T30" fmla="*/ 21422765 w 113"/>
                <a:gd name="T31" fmla="*/ 5368239 h 74"/>
                <a:gd name="T32" fmla="*/ 21826917 w 113"/>
                <a:gd name="T33" fmla="*/ 4175039 h 74"/>
                <a:gd name="T34" fmla="*/ 22433370 w 113"/>
                <a:gd name="T35" fmla="*/ 2981840 h 74"/>
                <a:gd name="T36" fmla="*/ 22635221 w 113"/>
                <a:gd name="T37" fmla="*/ 1789413 h 74"/>
                <a:gd name="T38" fmla="*/ 22837522 w 113"/>
                <a:gd name="T39" fmla="*/ 0 h 74"/>
                <a:gd name="T40" fmla="*/ 19806156 w 113"/>
                <a:gd name="T41" fmla="*/ 2385626 h 74"/>
                <a:gd name="T42" fmla="*/ 16572488 w 113"/>
                <a:gd name="T43" fmla="*/ 4771253 h 74"/>
                <a:gd name="T44" fmla="*/ 13136520 w 113"/>
                <a:gd name="T45" fmla="*/ 7753865 h 74"/>
                <a:gd name="T46" fmla="*/ 9902853 w 113"/>
                <a:gd name="T47" fmla="*/ 11332691 h 74"/>
                <a:gd name="T48" fmla="*/ 4041972 w 113"/>
                <a:gd name="T49" fmla="*/ 19682769 h 74"/>
                <a:gd name="T50" fmla="*/ 0 w 113"/>
                <a:gd name="T51" fmla="*/ 26243434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US"/>
            </a:p>
          </p:txBody>
        </p:sp>
        <p:sp>
          <p:nvSpPr>
            <p:cNvPr id="186" name="Freeform 247">
              <a:extLst>
                <a:ext uri="{FF2B5EF4-FFF2-40B4-BE49-F238E27FC236}">
                  <a16:creationId xmlns:a16="http://schemas.microsoft.com/office/drawing/2014/main" id="{26B7AF08-108B-4D94-B73A-6C80B5031AD0}"/>
                </a:ext>
              </a:extLst>
            </p:cNvPr>
            <p:cNvSpPr>
              <a:spLocks/>
            </p:cNvSpPr>
            <p:nvPr>
              <p:custDataLst>
                <p:tags r:id="rId174"/>
              </p:custDataLst>
            </p:nvPr>
          </p:nvSpPr>
          <p:spPr bwMode="auto">
            <a:xfrm>
              <a:off x="4370388" y="3670300"/>
              <a:ext cx="325437" cy="244475"/>
            </a:xfrm>
            <a:custGeom>
              <a:avLst/>
              <a:gdLst>
                <a:gd name="T0" fmla="*/ 18650245 w 746"/>
                <a:gd name="T1" fmla="*/ 122817672 h 469"/>
                <a:gd name="T2" fmla="*/ 10276568 w 746"/>
                <a:gd name="T3" fmla="*/ 119557137 h 469"/>
                <a:gd name="T4" fmla="*/ 3996419 w 746"/>
                <a:gd name="T5" fmla="*/ 116568182 h 469"/>
                <a:gd name="T6" fmla="*/ 951445 w 746"/>
                <a:gd name="T7" fmla="*/ 112220801 h 469"/>
                <a:gd name="T8" fmla="*/ 0 w 746"/>
                <a:gd name="T9" fmla="*/ 98634976 h 469"/>
                <a:gd name="T10" fmla="*/ 951445 w 746"/>
                <a:gd name="T11" fmla="*/ 83961785 h 469"/>
                <a:gd name="T12" fmla="*/ 4377259 w 746"/>
                <a:gd name="T13" fmla="*/ 74179657 h 469"/>
                <a:gd name="T14" fmla="*/ 10657407 w 746"/>
                <a:gd name="T15" fmla="*/ 61952259 h 469"/>
                <a:gd name="T16" fmla="*/ 23027067 w 746"/>
                <a:gd name="T17" fmla="*/ 55431188 h 469"/>
                <a:gd name="T18" fmla="*/ 31590946 w 746"/>
                <a:gd name="T19" fmla="*/ 51083807 h 469"/>
                <a:gd name="T20" fmla="*/ 44722285 w 746"/>
                <a:gd name="T21" fmla="*/ 47007486 h 469"/>
                <a:gd name="T22" fmla="*/ 49860787 w 746"/>
                <a:gd name="T23" fmla="*/ 41573260 h 469"/>
                <a:gd name="T24" fmla="*/ 50812233 w 746"/>
                <a:gd name="T25" fmla="*/ 36954299 h 469"/>
                <a:gd name="T26" fmla="*/ 55569895 w 746"/>
                <a:gd name="T27" fmla="*/ 32606397 h 469"/>
                <a:gd name="T28" fmla="*/ 63182328 w 746"/>
                <a:gd name="T29" fmla="*/ 31247971 h 469"/>
                <a:gd name="T30" fmla="*/ 68320394 w 746"/>
                <a:gd name="T31" fmla="*/ 27443752 h 469"/>
                <a:gd name="T32" fmla="*/ 74029501 w 746"/>
                <a:gd name="T33" fmla="*/ 18205308 h 469"/>
                <a:gd name="T34" fmla="*/ 80880692 w 746"/>
                <a:gd name="T35" fmla="*/ 5977909 h 469"/>
                <a:gd name="T36" fmla="*/ 85638354 w 746"/>
                <a:gd name="T37" fmla="*/ 1630528 h 469"/>
                <a:gd name="T38" fmla="*/ 92489544 w 746"/>
                <a:gd name="T39" fmla="*/ 0 h 469"/>
                <a:gd name="T40" fmla="*/ 96485963 w 746"/>
                <a:gd name="T41" fmla="*/ 7880018 h 469"/>
                <a:gd name="T42" fmla="*/ 101243625 w 746"/>
                <a:gd name="T43" fmla="*/ 14401089 h 469"/>
                <a:gd name="T44" fmla="*/ 105240044 w 746"/>
                <a:gd name="T45" fmla="*/ 29074281 h 469"/>
                <a:gd name="T46" fmla="*/ 110187908 w 746"/>
                <a:gd name="T47" fmla="*/ 43203789 h 469"/>
                <a:gd name="T48" fmla="*/ 116658695 w 746"/>
                <a:gd name="T49" fmla="*/ 46735905 h 469"/>
                <a:gd name="T50" fmla="*/ 119513030 w 746"/>
                <a:gd name="T51" fmla="*/ 52442233 h 469"/>
                <a:gd name="T52" fmla="*/ 123700087 w 746"/>
                <a:gd name="T53" fmla="*/ 63311206 h 469"/>
                <a:gd name="T54" fmla="*/ 133595815 w 746"/>
                <a:gd name="T55" fmla="*/ 75810186 h 469"/>
                <a:gd name="T56" fmla="*/ 141018047 w 746"/>
                <a:gd name="T57" fmla="*/ 85592313 h 469"/>
                <a:gd name="T58" fmla="*/ 135308939 w 746"/>
                <a:gd name="T59" fmla="*/ 93743913 h 469"/>
                <a:gd name="T60" fmla="*/ 131502723 w 746"/>
                <a:gd name="T61" fmla="*/ 92928649 h 469"/>
                <a:gd name="T62" fmla="*/ 129218992 w 746"/>
                <a:gd name="T63" fmla="*/ 87222321 h 469"/>
                <a:gd name="T64" fmla="*/ 123890289 w 746"/>
                <a:gd name="T65" fmla="*/ 89668113 h 469"/>
                <a:gd name="T66" fmla="*/ 121606559 w 746"/>
                <a:gd name="T67" fmla="*/ 95646022 h 469"/>
                <a:gd name="T68" fmla="*/ 114946006 w 746"/>
                <a:gd name="T69" fmla="*/ 96732867 h 469"/>
                <a:gd name="T70" fmla="*/ 105240044 w 746"/>
                <a:gd name="T71" fmla="*/ 96732867 h 469"/>
                <a:gd name="T72" fmla="*/ 99340735 w 746"/>
                <a:gd name="T73" fmla="*/ 99178138 h 469"/>
                <a:gd name="T74" fmla="*/ 94392435 w 746"/>
                <a:gd name="T75" fmla="*/ 105156047 h 469"/>
                <a:gd name="T76" fmla="*/ 92489544 w 746"/>
                <a:gd name="T77" fmla="*/ 107058157 h 469"/>
                <a:gd name="T78" fmla="*/ 81070894 w 746"/>
                <a:gd name="T79" fmla="*/ 108688164 h 469"/>
                <a:gd name="T80" fmla="*/ 75361786 w 746"/>
                <a:gd name="T81" fmla="*/ 106514474 h 469"/>
                <a:gd name="T82" fmla="*/ 66417504 w 746"/>
                <a:gd name="T83" fmla="*/ 96189184 h 469"/>
                <a:gd name="T84" fmla="*/ 60707960 w 746"/>
                <a:gd name="T85" fmla="*/ 93743913 h 469"/>
                <a:gd name="T86" fmla="*/ 55379693 w 746"/>
                <a:gd name="T87" fmla="*/ 96460765 h 469"/>
                <a:gd name="T88" fmla="*/ 50622031 w 746"/>
                <a:gd name="T89" fmla="*/ 102438674 h 469"/>
                <a:gd name="T90" fmla="*/ 43199799 w 746"/>
                <a:gd name="T91" fmla="*/ 118741872 h 469"/>
                <a:gd name="T92" fmla="*/ 28545973 w 746"/>
                <a:gd name="T93" fmla="*/ 119285556 h 469"/>
                <a:gd name="T94" fmla="*/ 25691637 w 746"/>
                <a:gd name="T95" fmla="*/ 121730827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US"/>
            </a:p>
          </p:txBody>
        </p:sp>
        <p:sp>
          <p:nvSpPr>
            <p:cNvPr id="187" name="Freeform 248">
              <a:extLst>
                <a:ext uri="{FF2B5EF4-FFF2-40B4-BE49-F238E27FC236}">
                  <a16:creationId xmlns:a16="http://schemas.microsoft.com/office/drawing/2014/main" id="{FDFC2621-D574-468B-BCB9-7A4C16F579BA}"/>
                </a:ext>
              </a:extLst>
            </p:cNvPr>
            <p:cNvSpPr>
              <a:spLocks/>
            </p:cNvSpPr>
            <p:nvPr>
              <p:custDataLst>
                <p:tags r:id="rId175"/>
              </p:custDataLst>
            </p:nvPr>
          </p:nvSpPr>
          <p:spPr bwMode="auto">
            <a:xfrm>
              <a:off x="4306888" y="3838575"/>
              <a:ext cx="500062" cy="552450"/>
            </a:xfrm>
            <a:custGeom>
              <a:avLst/>
              <a:gdLst>
                <a:gd name="T0" fmla="*/ 172045348 w 1145"/>
                <a:gd name="T1" fmla="*/ 15689475 h 1053"/>
                <a:gd name="T2" fmla="*/ 189402522 w 1145"/>
                <a:gd name="T3" fmla="*/ 18166319 h 1053"/>
                <a:gd name="T4" fmla="*/ 205996719 w 1145"/>
                <a:gd name="T5" fmla="*/ 22295266 h 1053"/>
                <a:gd name="T6" fmla="*/ 214770733 w 1145"/>
                <a:gd name="T7" fmla="*/ 48169128 h 1053"/>
                <a:gd name="T8" fmla="*/ 216105833 w 1145"/>
                <a:gd name="T9" fmla="*/ 58078077 h 1053"/>
                <a:gd name="T10" fmla="*/ 201800566 w 1145"/>
                <a:gd name="T11" fmla="*/ 74868255 h 1053"/>
                <a:gd name="T12" fmla="*/ 199320783 w 1145"/>
                <a:gd name="T13" fmla="*/ 99090538 h 1053"/>
                <a:gd name="T14" fmla="*/ 191310182 w 1145"/>
                <a:gd name="T15" fmla="*/ 121110366 h 1053"/>
                <a:gd name="T16" fmla="*/ 188830399 w 1145"/>
                <a:gd name="T17" fmla="*/ 131019315 h 1053"/>
                <a:gd name="T18" fmla="*/ 194361652 w 1145"/>
                <a:gd name="T19" fmla="*/ 158544756 h 1053"/>
                <a:gd name="T20" fmla="*/ 195696752 w 1145"/>
                <a:gd name="T21" fmla="*/ 182767039 h 1053"/>
                <a:gd name="T22" fmla="*/ 199702489 w 1145"/>
                <a:gd name="T23" fmla="*/ 201208796 h 1053"/>
                <a:gd name="T24" fmla="*/ 205805866 w 1145"/>
                <a:gd name="T25" fmla="*/ 210567393 h 1053"/>
                <a:gd name="T26" fmla="*/ 208285650 w 1145"/>
                <a:gd name="T27" fmla="*/ 227082133 h 1053"/>
                <a:gd name="T28" fmla="*/ 198367389 w 1145"/>
                <a:gd name="T29" fmla="*/ 232311783 h 1053"/>
                <a:gd name="T30" fmla="*/ 190165499 w 1145"/>
                <a:gd name="T31" fmla="*/ 235614941 h 1053"/>
                <a:gd name="T32" fmla="*/ 183108292 w 1145"/>
                <a:gd name="T33" fmla="*/ 273049331 h 1053"/>
                <a:gd name="T34" fmla="*/ 177386185 w 1145"/>
                <a:gd name="T35" fmla="*/ 282407928 h 1053"/>
                <a:gd name="T36" fmla="*/ 172045348 w 1145"/>
                <a:gd name="T37" fmla="*/ 283784069 h 1053"/>
                <a:gd name="T38" fmla="*/ 160219865 w 1145"/>
                <a:gd name="T39" fmla="*/ 289839509 h 1053"/>
                <a:gd name="T40" fmla="*/ 149156921 w 1145"/>
                <a:gd name="T41" fmla="*/ 285435648 h 1053"/>
                <a:gd name="T42" fmla="*/ 141718008 w 1145"/>
                <a:gd name="T43" fmla="*/ 279104770 h 1053"/>
                <a:gd name="T44" fmla="*/ 134851654 w 1145"/>
                <a:gd name="T45" fmla="*/ 274425472 h 1053"/>
                <a:gd name="T46" fmla="*/ 128557424 w 1145"/>
                <a:gd name="T47" fmla="*/ 271397752 h 1053"/>
                <a:gd name="T48" fmla="*/ 115968527 w 1145"/>
                <a:gd name="T49" fmla="*/ 271673190 h 1053"/>
                <a:gd name="T50" fmla="*/ 113298327 w 1145"/>
                <a:gd name="T51" fmla="*/ 259286873 h 1053"/>
                <a:gd name="T52" fmla="*/ 109674297 w 1145"/>
                <a:gd name="T53" fmla="*/ 243321959 h 1053"/>
                <a:gd name="T54" fmla="*/ 112535350 w 1145"/>
                <a:gd name="T55" fmla="*/ 232862659 h 1053"/>
                <a:gd name="T56" fmla="*/ 112535350 w 1145"/>
                <a:gd name="T57" fmla="*/ 214420902 h 1053"/>
                <a:gd name="T58" fmla="*/ 86595016 w 1145"/>
                <a:gd name="T59" fmla="*/ 207814587 h 1053"/>
                <a:gd name="T60" fmla="*/ 84496939 w 1145"/>
                <a:gd name="T61" fmla="*/ 216071957 h 1053"/>
                <a:gd name="T62" fmla="*/ 75532072 w 1145"/>
                <a:gd name="T63" fmla="*/ 224880203 h 1053"/>
                <a:gd name="T64" fmla="*/ 64278712 w 1145"/>
                <a:gd name="T65" fmla="*/ 219375114 h 1053"/>
                <a:gd name="T66" fmla="*/ 56648945 w 1145"/>
                <a:gd name="T67" fmla="*/ 194877918 h 1053"/>
                <a:gd name="T68" fmla="*/ 572123 w 1145"/>
                <a:gd name="T69" fmla="*/ 184693531 h 1053"/>
                <a:gd name="T70" fmla="*/ 8583160 w 1145"/>
                <a:gd name="T71" fmla="*/ 183592304 h 1053"/>
                <a:gd name="T72" fmla="*/ 4959130 w 1145"/>
                <a:gd name="T73" fmla="*/ 173683355 h 1053"/>
                <a:gd name="T74" fmla="*/ 14305267 w 1145"/>
                <a:gd name="T75" fmla="*/ 169279494 h 1053"/>
                <a:gd name="T76" fmla="*/ 27657141 w 1145"/>
                <a:gd name="T77" fmla="*/ 169004056 h 1053"/>
                <a:gd name="T78" fmla="*/ 34905201 w 1145"/>
                <a:gd name="T79" fmla="*/ 170655635 h 1053"/>
                <a:gd name="T80" fmla="*/ 41962408 w 1145"/>
                <a:gd name="T81" fmla="*/ 157994404 h 1053"/>
                <a:gd name="T82" fmla="*/ 49591738 w 1145"/>
                <a:gd name="T83" fmla="*/ 152764229 h 1053"/>
                <a:gd name="T84" fmla="*/ 53597475 w 1145"/>
                <a:gd name="T85" fmla="*/ 121110366 h 1053"/>
                <a:gd name="T86" fmla="*/ 65995082 w 1145"/>
                <a:gd name="T87" fmla="*/ 101842820 h 1053"/>
                <a:gd name="T88" fmla="*/ 70572942 w 1145"/>
                <a:gd name="T89" fmla="*/ 75969482 h 1053"/>
                <a:gd name="T90" fmla="*/ 70954649 w 1145"/>
                <a:gd name="T91" fmla="*/ 49545269 h 1053"/>
                <a:gd name="T92" fmla="*/ 73052726 w 1145"/>
                <a:gd name="T93" fmla="*/ 33580880 h 1053"/>
                <a:gd name="T94" fmla="*/ 83924816 w 1145"/>
                <a:gd name="T95" fmla="*/ 9634035 h 1053"/>
                <a:gd name="T96" fmla="*/ 93652223 w 1145"/>
                <a:gd name="T97" fmla="*/ 8257370 h 1053"/>
                <a:gd name="T98" fmla="*/ 106431536 w 1145"/>
                <a:gd name="T99" fmla="*/ 21194563 h 1053"/>
                <a:gd name="T100" fmla="*/ 121499780 w 1145"/>
                <a:gd name="T101" fmla="*/ 20093336 h 1053"/>
                <a:gd name="T102" fmla="*/ 127794447 w 1145"/>
                <a:gd name="T103" fmla="*/ 12110879 h 1053"/>
                <a:gd name="T104" fmla="*/ 140001638 w 1145"/>
                <a:gd name="T105" fmla="*/ 9358597 h 1053"/>
                <a:gd name="T106" fmla="*/ 151636705 w 1145"/>
                <a:gd name="T107" fmla="*/ 4679299 h 1053"/>
                <a:gd name="T108" fmla="*/ 157930935 w 1145"/>
                <a:gd name="T109" fmla="*/ 2201930 h 1053"/>
                <a:gd name="T110" fmla="*/ 163843895 w 1145"/>
                <a:gd name="T111" fmla="*/ 66057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US"/>
            </a:p>
          </p:txBody>
        </p:sp>
        <p:sp>
          <p:nvSpPr>
            <p:cNvPr id="188" name="Freeform 249">
              <a:extLst>
                <a:ext uri="{FF2B5EF4-FFF2-40B4-BE49-F238E27FC236}">
                  <a16:creationId xmlns:a16="http://schemas.microsoft.com/office/drawing/2014/main" id="{54A55E96-624D-4079-BAB8-E11637C17D3B}"/>
                </a:ext>
              </a:extLst>
            </p:cNvPr>
            <p:cNvSpPr>
              <a:spLocks/>
            </p:cNvSpPr>
            <p:nvPr>
              <p:custDataLst>
                <p:tags r:id="rId176"/>
              </p:custDataLst>
            </p:nvPr>
          </p:nvSpPr>
          <p:spPr bwMode="auto">
            <a:xfrm>
              <a:off x="4243388" y="3938588"/>
              <a:ext cx="55562" cy="55562"/>
            </a:xfrm>
            <a:custGeom>
              <a:avLst/>
              <a:gdLst>
                <a:gd name="T0" fmla="*/ 23709417 w 125"/>
                <a:gd name="T1" fmla="*/ 0 h 81"/>
                <a:gd name="T2" fmla="*/ 23906773 w 125"/>
                <a:gd name="T3" fmla="*/ 12704720 h 81"/>
                <a:gd name="T4" fmla="*/ 24499731 w 125"/>
                <a:gd name="T5" fmla="*/ 21644875 h 81"/>
                <a:gd name="T6" fmla="*/ 24697087 w 125"/>
                <a:gd name="T7" fmla="*/ 24938869 h 81"/>
                <a:gd name="T8" fmla="*/ 24697087 w 125"/>
                <a:gd name="T9" fmla="*/ 27762293 h 81"/>
                <a:gd name="T10" fmla="*/ 24697087 w 125"/>
                <a:gd name="T11" fmla="*/ 30585717 h 81"/>
                <a:gd name="T12" fmla="*/ 24301930 w 125"/>
                <a:gd name="T13" fmla="*/ 32467313 h 81"/>
                <a:gd name="T14" fmla="*/ 23511616 w 125"/>
                <a:gd name="T15" fmla="*/ 33879025 h 81"/>
                <a:gd name="T16" fmla="*/ 22128789 w 125"/>
                <a:gd name="T17" fmla="*/ 34820166 h 81"/>
                <a:gd name="T18" fmla="*/ 20350360 w 125"/>
                <a:gd name="T19" fmla="*/ 35761307 h 81"/>
                <a:gd name="T20" fmla="*/ 17979419 w 125"/>
                <a:gd name="T21" fmla="*/ 36231878 h 81"/>
                <a:gd name="T22" fmla="*/ 11261751 w 125"/>
                <a:gd name="T23" fmla="*/ 37173019 h 81"/>
                <a:gd name="T24" fmla="*/ 1382827 w 125"/>
                <a:gd name="T25" fmla="*/ 38114160 h 81"/>
                <a:gd name="T26" fmla="*/ 987670 w 125"/>
                <a:gd name="T27" fmla="*/ 37173019 h 81"/>
                <a:gd name="T28" fmla="*/ 592513 w 125"/>
                <a:gd name="T29" fmla="*/ 33879025 h 81"/>
                <a:gd name="T30" fmla="*/ 197356 w 125"/>
                <a:gd name="T31" fmla="*/ 27762293 h 81"/>
                <a:gd name="T32" fmla="*/ 0 w 125"/>
                <a:gd name="T33" fmla="*/ 20233164 h 81"/>
                <a:gd name="T34" fmla="*/ 0 w 125"/>
                <a:gd name="T35" fmla="*/ 17410426 h 81"/>
                <a:gd name="T36" fmla="*/ 197356 w 125"/>
                <a:gd name="T37" fmla="*/ 14587002 h 81"/>
                <a:gd name="T38" fmla="*/ 395157 w 125"/>
                <a:gd name="T39" fmla="*/ 11763579 h 81"/>
                <a:gd name="T40" fmla="*/ 790314 w 125"/>
                <a:gd name="T41" fmla="*/ 9410726 h 81"/>
                <a:gd name="T42" fmla="*/ 1580628 w 125"/>
                <a:gd name="T43" fmla="*/ 7057873 h 81"/>
                <a:gd name="T44" fmla="*/ 2173141 w 125"/>
                <a:gd name="T45" fmla="*/ 4705706 h 81"/>
                <a:gd name="T46" fmla="*/ 2766099 w 125"/>
                <a:gd name="T47" fmla="*/ 2352853 h 81"/>
                <a:gd name="T48" fmla="*/ 3951569 w 125"/>
                <a:gd name="T49" fmla="*/ 0 h 81"/>
                <a:gd name="T50" fmla="*/ 23709417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US"/>
            </a:p>
          </p:txBody>
        </p:sp>
        <p:sp>
          <p:nvSpPr>
            <p:cNvPr id="189" name="Freeform 250">
              <a:extLst>
                <a:ext uri="{FF2B5EF4-FFF2-40B4-BE49-F238E27FC236}">
                  <a16:creationId xmlns:a16="http://schemas.microsoft.com/office/drawing/2014/main" id="{2CC14917-2F7B-4780-B2FD-B71654D38033}"/>
                </a:ext>
              </a:extLst>
            </p:cNvPr>
            <p:cNvSpPr>
              <a:spLocks/>
            </p:cNvSpPr>
            <p:nvPr>
              <p:custDataLst>
                <p:tags r:id="rId177"/>
              </p:custDataLst>
            </p:nvPr>
          </p:nvSpPr>
          <p:spPr bwMode="auto">
            <a:xfrm>
              <a:off x="4225925" y="3938588"/>
              <a:ext cx="152400" cy="201612"/>
            </a:xfrm>
            <a:custGeom>
              <a:avLst/>
              <a:gdLst>
                <a:gd name="T0" fmla="*/ 48285042 w 355"/>
                <a:gd name="T1" fmla="*/ 4049927 h 388"/>
                <a:gd name="T2" fmla="*/ 47363774 w 355"/>
                <a:gd name="T3" fmla="*/ 9990236 h 388"/>
                <a:gd name="T4" fmla="*/ 48653807 w 355"/>
                <a:gd name="T5" fmla="*/ 13770480 h 388"/>
                <a:gd name="T6" fmla="*/ 52155573 w 355"/>
                <a:gd name="T7" fmla="*/ 16200228 h 388"/>
                <a:gd name="T8" fmla="*/ 58789910 w 355"/>
                <a:gd name="T9" fmla="*/ 14850252 h 388"/>
                <a:gd name="T10" fmla="*/ 61185810 w 355"/>
                <a:gd name="T11" fmla="*/ 15390139 h 388"/>
                <a:gd name="T12" fmla="*/ 62660441 w 355"/>
                <a:gd name="T13" fmla="*/ 18360293 h 388"/>
                <a:gd name="T14" fmla="*/ 63581709 w 355"/>
                <a:gd name="T15" fmla="*/ 22410740 h 388"/>
                <a:gd name="T16" fmla="*/ 64687575 w 355"/>
                <a:gd name="T17" fmla="*/ 25380375 h 388"/>
                <a:gd name="T18" fmla="*/ 63581709 w 355"/>
                <a:gd name="T19" fmla="*/ 29160618 h 388"/>
                <a:gd name="T20" fmla="*/ 58974507 w 355"/>
                <a:gd name="T21" fmla="*/ 36720586 h 388"/>
                <a:gd name="T22" fmla="*/ 64134642 w 355"/>
                <a:gd name="T23" fmla="*/ 47251228 h 388"/>
                <a:gd name="T24" fmla="*/ 65424676 w 355"/>
                <a:gd name="T25" fmla="*/ 54540993 h 388"/>
                <a:gd name="T26" fmla="*/ 65055911 w 355"/>
                <a:gd name="T27" fmla="*/ 59131326 h 388"/>
                <a:gd name="T28" fmla="*/ 63581709 w 355"/>
                <a:gd name="T29" fmla="*/ 68581676 h 388"/>
                <a:gd name="T30" fmla="*/ 61369977 w 355"/>
                <a:gd name="T31" fmla="*/ 73171489 h 388"/>
                <a:gd name="T32" fmla="*/ 57499876 w 355"/>
                <a:gd name="T33" fmla="*/ 75601757 h 388"/>
                <a:gd name="T34" fmla="*/ 52708506 w 355"/>
                <a:gd name="T35" fmla="*/ 76141644 h 388"/>
                <a:gd name="T36" fmla="*/ 49759673 w 355"/>
                <a:gd name="T37" fmla="*/ 76141644 h 388"/>
                <a:gd name="T38" fmla="*/ 46442505 w 355"/>
                <a:gd name="T39" fmla="*/ 71551830 h 388"/>
                <a:gd name="T40" fmla="*/ 44230773 w 355"/>
                <a:gd name="T41" fmla="*/ 69931651 h 388"/>
                <a:gd name="T42" fmla="*/ 40729007 w 355"/>
                <a:gd name="T43" fmla="*/ 72631603 h 388"/>
                <a:gd name="T44" fmla="*/ 37780604 w 355"/>
                <a:gd name="T45" fmla="*/ 75331554 h 388"/>
                <a:gd name="T46" fmla="*/ 35753040 w 355"/>
                <a:gd name="T47" fmla="*/ 76951733 h 388"/>
                <a:gd name="T48" fmla="*/ 34094670 w 355"/>
                <a:gd name="T49" fmla="*/ 80461774 h 388"/>
                <a:gd name="T50" fmla="*/ 34463006 w 355"/>
                <a:gd name="T51" fmla="*/ 86671766 h 388"/>
                <a:gd name="T52" fmla="*/ 38148940 w 355"/>
                <a:gd name="T53" fmla="*/ 96662002 h 388"/>
                <a:gd name="T54" fmla="*/ 35937637 w 355"/>
                <a:gd name="T55" fmla="*/ 95312026 h 388"/>
                <a:gd name="T56" fmla="*/ 32620039 w 355"/>
                <a:gd name="T57" fmla="*/ 95852432 h 388"/>
                <a:gd name="T58" fmla="*/ 29855804 w 355"/>
                <a:gd name="T59" fmla="*/ 98552384 h 388"/>
                <a:gd name="T60" fmla="*/ 26906971 w 355"/>
                <a:gd name="T61" fmla="*/ 104762376 h 388"/>
                <a:gd name="T62" fmla="*/ 22668105 w 355"/>
                <a:gd name="T63" fmla="*/ 99902359 h 388"/>
                <a:gd name="T64" fmla="*/ 20825138 w 355"/>
                <a:gd name="T65" fmla="*/ 96662002 h 388"/>
                <a:gd name="T66" fmla="*/ 17692137 w 355"/>
                <a:gd name="T67" fmla="*/ 87481855 h 388"/>
                <a:gd name="T68" fmla="*/ 9214834 w 355"/>
                <a:gd name="T69" fmla="*/ 75601757 h 388"/>
                <a:gd name="T70" fmla="*/ 4054699 w 355"/>
                <a:gd name="T71" fmla="*/ 68581676 h 388"/>
                <a:gd name="T72" fmla="*/ 921269 w 355"/>
                <a:gd name="T73" fmla="*/ 60211619 h 388"/>
                <a:gd name="T74" fmla="*/ 184168 w 355"/>
                <a:gd name="T75" fmla="*/ 50491066 h 388"/>
                <a:gd name="T76" fmla="*/ 2027135 w 355"/>
                <a:gd name="T77" fmla="*/ 43741187 h 388"/>
                <a:gd name="T78" fmla="*/ 7556035 w 355"/>
                <a:gd name="T79" fmla="*/ 36180700 h 388"/>
                <a:gd name="T80" fmla="*/ 9951935 w 355"/>
                <a:gd name="T81" fmla="*/ 31320683 h 388"/>
                <a:gd name="T82" fmla="*/ 10320700 w 355"/>
                <a:gd name="T83" fmla="*/ 24570805 h 388"/>
                <a:gd name="T84" fmla="*/ 19903869 w 355"/>
                <a:gd name="T85" fmla="*/ 22410740 h 388"/>
                <a:gd name="T86" fmla="*/ 28749938 w 355"/>
                <a:gd name="T87" fmla="*/ 21600651 h 388"/>
                <a:gd name="T88" fmla="*/ 31698771 w 355"/>
                <a:gd name="T89" fmla="*/ 19710269 h 388"/>
                <a:gd name="T90" fmla="*/ 32620039 w 355"/>
                <a:gd name="T91" fmla="*/ 17010317 h 388"/>
                <a:gd name="T92" fmla="*/ 32067106 w 355"/>
                <a:gd name="T93" fmla="*/ 11070009 h 388"/>
                <a:gd name="T94" fmla="*/ 30777073 w 355"/>
                <a:gd name="T95" fmla="*/ 3239838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US"/>
            </a:p>
          </p:txBody>
        </p:sp>
        <p:sp>
          <p:nvSpPr>
            <p:cNvPr id="190" name="Freeform 251">
              <a:extLst>
                <a:ext uri="{FF2B5EF4-FFF2-40B4-BE49-F238E27FC236}">
                  <a16:creationId xmlns:a16="http://schemas.microsoft.com/office/drawing/2014/main" id="{85A8D1DC-216E-429E-A177-D7D6940603FB}"/>
                </a:ext>
              </a:extLst>
            </p:cNvPr>
            <p:cNvSpPr>
              <a:spLocks/>
            </p:cNvSpPr>
            <p:nvPr>
              <p:custDataLst>
                <p:tags r:id="rId178"/>
              </p:custDataLst>
            </p:nvPr>
          </p:nvSpPr>
          <p:spPr bwMode="auto">
            <a:xfrm>
              <a:off x="4759325" y="4343400"/>
              <a:ext cx="260350" cy="520700"/>
            </a:xfrm>
            <a:custGeom>
              <a:avLst/>
              <a:gdLst>
                <a:gd name="T0" fmla="*/ 0 w 599"/>
                <a:gd name="T1" fmla="*/ 71215819 h 993"/>
                <a:gd name="T2" fmla="*/ 34382282 w 599"/>
                <a:gd name="T3" fmla="*/ 61592046 h 993"/>
                <a:gd name="T4" fmla="*/ 43449764 w 599"/>
                <a:gd name="T5" fmla="*/ 65991515 h 993"/>
                <a:gd name="T6" fmla="*/ 48739345 w 599"/>
                <a:gd name="T7" fmla="*/ 70941049 h 993"/>
                <a:gd name="T8" fmla="*/ 47606236 w 599"/>
                <a:gd name="T9" fmla="*/ 81389657 h 993"/>
                <a:gd name="T10" fmla="*/ 44205605 w 599"/>
                <a:gd name="T11" fmla="*/ 89913301 h 993"/>
                <a:gd name="T12" fmla="*/ 47228098 w 599"/>
                <a:gd name="T13" fmla="*/ 98162175 h 993"/>
                <a:gd name="T14" fmla="*/ 55540174 w 599"/>
                <a:gd name="T15" fmla="*/ 100361910 h 993"/>
                <a:gd name="T16" fmla="*/ 60263419 w 599"/>
                <a:gd name="T17" fmla="*/ 93487936 h 993"/>
                <a:gd name="T18" fmla="*/ 63852685 w 599"/>
                <a:gd name="T19" fmla="*/ 87163502 h 993"/>
                <a:gd name="T20" fmla="*/ 62719141 w 599"/>
                <a:gd name="T21" fmla="*/ 71765884 h 993"/>
                <a:gd name="T22" fmla="*/ 59318509 w 599"/>
                <a:gd name="T23" fmla="*/ 56092971 h 993"/>
                <a:gd name="T24" fmla="*/ 51195502 w 599"/>
                <a:gd name="T25" fmla="*/ 43169334 h 993"/>
                <a:gd name="T26" fmla="*/ 47983939 w 599"/>
                <a:gd name="T27" fmla="*/ 34370395 h 993"/>
                <a:gd name="T28" fmla="*/ 51006433 w 599"/>
                <a:gd name="T29" fmla="*/ 17047812 h 993"/>
                <a:gd name="T30" fmla="*/ 60452053 w 599"/>
                <a:gd name="T31" fmla="*/ 15122848 h 993"/>
                <a:gd name="T32" fmla="*/ 78965589 w 599"/>
                <a:gd name="T33" fmla="*/ 16497748 h 993"/>
                <a:gd name="T34" fmla="*/ 98423601 w 599"/>
                <a:gd name="T35" fmla="*/ 9898544 h 993"/>
                <a:gd name="T36" fmla="*/ 112781099 w 599"/>
                <a:gd name="T37" fmla="*/ 824835 h 993"/>
                <a:gd name="T38" fmla="*/ 112781099 w 599"/>
                <a:gd name="T39" fmla="*/ 8248874 h 993"/>
                <a:gd name="T40" fmla="*/ 112781099 w 599"/>
                <a:gd name="T41" fmla="*/ 34645690 h 993"/>
                <a:gd name="T42" fmla="*/ 111836624 w 599"/>
                <a:gd name="T43" fmla="*/ 62691651 h 993"/>
                <a:gd name="T44" fmla="*/ 110514011 w 599"/>
                <a:gd name="T45" fmla="*/ 75890059 h 993"/>
                <a:gd name="T46" fmla="*/ 103902251 w 599"/>
                <a:gd name="T47" fmla="*/ 92663101 h 993"/>
                <a:gd name="T48" fmla="*/ 88411209 w 599"/>
                <a:gd name="T49" fmla="*/ 110535748 h 993"/>
                <a:gd name="T50" fmla="*/ 70653514 w 599"/>
                <a:gd name="T51" fmla="*/ 117134952 h 993"/>
                <a:gd name="T52" fmla="*/ 66686110 w 599"/>
                <a:gd name="T53" fmla="*/ 127583561 h 993"/>
                <a:gd name="T54" fmla="*/ 55351540 w 599"/>
                <a:gd name="T55" fmla="*/ 139407069 h 993"/>
                <a:gd name="T56" fmla="*/ 45905920 w 599"/>
                <a:gd name="T57" fmla="*/ 150955282 h 993"/>
                <a:gd name="T58" fmla="*/ 43261129 w 599"/>
                <a:gd name="T59" fmla="*/ 160029515 h 993"/>
                <a:gd name="T60" fmla="*/ 44772376 w 599"/>
                <a:gd name="T61" fmla="*/ 170202829 h 993"/>
                <a:gd name="T62" fmla="*/ 50439661 w 599"/>
                <a:gd name="T63" fmla="*/ 179826603 h 993"/>
                <a:gd name="T64" fmla="*/ 47983939 w 599"/>
                <a:gd name="T65" fmla="*/ 190825276 h 993"/>
                <a:gd name="T66" fmla="*/ 50061958 w 599"/>
                <a:gd name="T67" fmla="*/ 200449050 h 993"/>
                <a:gd name="T68" fmla="*/ 50439661 w 599"/>
                <a:gd name="T69" fmla="*/ 217222092 h 993"/>
                <a:gd name="T70" fmla="*/ 48361642 w 599"/>
                <a:gd name="T71" fmla="*/ 223821296 h 993"/>
                <a:gd name="T72" fmla="*/ 36460301 w 599"/>
                <a:gd name="T73" fmla="*/ 240044273 h 993"/>
                <a:gd name="T74" fmla="*/ 27770087 w 599"/>
                <a:gd name="T75" fmla="*/ 243893678 h 993"/>
                <a:gd name="T76" fmla="*/ 19268942 w 599"/>
                <a:gd name="T77" fmla="*/ 245818118 h 993"/>
                <a:gd name="T78" fmla="*/ 16435517 w 599"/>
                <a:gd name="T79" fmla="*/ 251042422 h 993"/>
                <a:gd name="T80" fmla="*/ 17946764 w 599"/>
                <a:gd name="T81" fmla="*/ 258191691 h 993"/>
                <a:gd name="T82" fmla="*/ 17190924 w 599"/>
                <a:gd name="T83" fmla="*/ 272764998 h 993"/>
                <a:gd name="T84" fmla="*/ 13979361 w 599"/>
                <a:gd name="T85" fmla="*/ 222721166 h 993"/>
                <a:gd name="T86" fmla="*/ 10956867 w 599"/>
                <a:gd name="T87" fmla="*/ 210348118 h 993"/>
                <a:gd name="T88" fmla="*/ 7745304 w 599"/>
                <a:gd name="T89" fmla="*/ 197974545 h 993"/>
                <a:gd name="T90" fmla="*/ 20402486 w 599"/>
                <a:gd name="T91" fmla="*/ 183126467 h 993"/>
                <a:gd name="T92" fmla="*/ 20591555 w 599"/>
                <a:gd name="T93" fmla="*/ 168828454 h 993"/>
                <a:gd name="T94" fmla="*/ 28148225 w 599"/>
                <a:gd name="T95" fmla="*/ 157004946 h 993"/>
                <a:gd name="T96" fmla="*/ 32871035 w 599"/>
                <a:gd name="T97" fmla="*/ 144631373 h 993"/>
                <a:gd name="T98" fmla="*/ 31737491 w 599"/>
                <a:gd name="T99" fmla="*/ 121259127 h 993"/>
                <a:gd name="T100" fmla="*/ 28714562 w 599"/>
                <a:gd name="T101" fmla="*/ 100087140 h 993"/>
                <a:gd name="T102" fmla="*/ 15301973 w 599"/>
                <a:gd name="T103" fmla="*/ 93762706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en-US"/>
            </a:p>
          </p:txBody>
        </p:sp>
        <p:sp>
          <p:nvSpPr>
            <p:cNvPr id="191" name="Freeform 252">
              <a:extLst>
                <a:ext uri="{FF2B5EF4-FFF2-40B4-BE49-F238E27FC236}">
                  <a16:creationId xmlns:a16="http://schemas.microsoft.com/office/drawing/2014/main" id="{B2EEDDC6-AD11-4AF3-A674-9BEE71096CAB}"/>
                </a:ext>
              </a:extLst>
            </p:cNvPr>
            <p:cNvSpPr>
              <a:spLocks/>
            </p:cNvSpPr>
            <p:nvPr>
              <p:custDataLst>
                <p:tags r:id="rId179"/>
              </p:custDataLst>
            </p:nvPr>
          </p:nvSpPr>
          <p:spPr bwMode="auto">
            <a:xfrm>
              <a:off x="4494213" y="4583113"/>
              <a:ext cx="238125" cy="287337"/>
            </a:xfrm>
            <a:custGeom>
              <a:avLst/>
              <a:gdLst>
                <a:gd name="T0" fmla="*/ 5727234 w 545"/>
                <a:gd name="T1" fmla="*/ 117242278 h 549"/>
                <a:gd name="T2" fmla="*/ 8781788 w 545"/>
                <a:gd name="T3" fmla="*/ 124364492 h 549"/>
                <a:gd name="T4" fmla="*/ 8781788 w 545"/>
                <a:gd name="T5" fmla="*/ 140252870 h 549"/>
                <a:gd name="T6" fmla="*/ 9163225 w 545"/>
                <a:gd name="T7" fmla="*/ 144361961 h 549"/>
                <a:gd name="T8" fmla="*/ 10499783 w 545"/>
                <a:gd name="T9" fmla="*/ 147100831 h 549"/>
                <a:gd name="T10" fmla="*/ 12981526 w 545"/>
                <a:gd name="T11" fmla="*/ 149292241 h 549"/>
                <a:gd name="T12" fmla="*/ 19090634 w 545"/>
                <a:gd name="T13" fmla="*/ 150388208 h 549"/>
                <a:gd name="T14" fmla="*/ 21572377 w 545"/>
                <a:gd name="T15" fmla="*/ 149566495 h 549"/>
                <a:gd name="T16" fmla="*/ 24817431 w 545"/>
                <a:gd name="T17" fmla="*/ 146005388 h 549"/>
                <a:gd name="T18" fmla="*/ 27299611 w 545"/>
                <a:gd name="T19" fmla="*/ 138883174 h 549"/>
                <a:gd name="T20" fmla="*/ 29399481 w 545"/>
                <a:gd name="T21" fmla="*/ 130664993 h 549"/>
                <a:gd name="T22" fmla="*/ 32263097 w 545"/>
                <a:gd name="T23" fmla="*/ 124364492 h 549"/>
                <a:gd name="T24" fmla="*/ 34935778 w 545"/>
                <a:gd name="T25" fmla="*/ 121899352 h 549"/>
                <a:gd name="T26" fmla="*/ 38371768 w 545"/>
                <a:gd name="T27" fmla="*/ 121625622 h 549"/>
                <a:gd name="T28" fmla="*/ 42381007 w 545"/>
                <a:gd name="T29" fmla="*/ 122721065 h 549"/>
                <a:gd name="T30" fmla="*/ 48108241 w 545"/>
                <a:gd name="T31" fmla="*/ 126282172 h 549"/>
                <a:gd name="T32" fmla="*/ 51926106 w 545"/>
                <a:gd name="T33" fmla="*/ 128199853 h 549"/>
                <a:gd name="T34" fmla="*/ 56698655 w 545"/>
                <a:gd name="T35" fmla="*/ 128473583 h 549"/>
                <a:gd name="T36" fmla="*/ 60898830 w 545"/>
                <a:gd name="T37" fmla="*/ 127103886 h 549"/>
                <a:gd name="T38" fmla="*/ 63380573 w 545"/>
                <a:gd name="T39" fmla="*/ 124090762 h 549"/>
                <a:gd name="T40" fmla="*/ 68534997 w 545"/>
                <a:gd name="T41" fmla="*/ 106285227 h 549"/>
                <a:gd name="T42" fmla="*/ 72925672 w 545"/>
                <a:gd name="T43" fmla="*/ 99437266 h 549"/>
                <a:gd name="T44" fmla="*/ 85334388 w 545"/>
                <a:gd name="T45" fmla="*/ 86014552 h 549"/>
                <a:gd name="T46" fmla="*/ 100606720 w 545"/>
                <a:gd name="T47" fmla="*/ 72317584 h 549"/>
                <a:gd name="T48" fmla="*/ 100797657 w 545"/>
                <a:gd name="T49" fmla="*/ 63551943 h 549"/>
                <a:gd name="T50" fmla="*/ 96025108 w 545"/>
                <a:gd name="T51" fmla="*/ 59717106 h 549"/>
                <a:gd name="T52" fmla="*/ 92588680 w 545"/>
                <a:gd name="T53" fmla="*/ 54512049 h 549"/>
                <a:gd name="T54" fmla="*/ 87816131 w 545"/>
                <a:gd name="T55" fmla="*/ 43007014 h 549"/>
                <a:gd name="T56" fmla="*/ 83998266 w 545"/>
                <a:gd name="T57" fmla="*/ 36159054 h 549"/>
                <a:gd name="T58" fmla="*/ 71970987 w 545"/>
                <a:gd name="T59" fmla="*/ 20818659 h 549"/>
                <a:gd name="T60" fmla="*/ 68534997 w 545"/>
                <a:gd name="T61" fmla="*/ 14518158 h 549"/>
                <a:gd name="T62" fmla="*/ 66434690 w 545"/>
                <a:gd name="T63" fmla="*/ 6574231 h 549"/>
                <a:gd name="T64" fmla="*/ 60898830 w 545"/>
                <a:gd name="T65" fmla="*/ 0 h 549"/>
                <a:gd name="T66" fmla="*/ 46580745 w 545"/>
                <a:gd name="T67" fmla="*/ 547983 h 549"/>
                <a:gd name="T68" fmla="*/ 33599219 w 545"/>
                <a:gd name="T69" fmla="*/ 3561107 h 549"/>
                <a:gd name="T70" fmla="*/ 18135950 w 545"/>
                <a:gd name="T71" fmla="*/ 6026247 h 549"/>
                <a:gd name="T72" fmla="*/ 13554337 w 545"/>
                <a:gd name="T73" fmla="*/ 7395944 h 549"/>
                <a:gd name="T74" fmla="*/ 12790589 w 545"/>
                <a:gd name="T75" fmla="*/ 10409591 h 549"/>
                <a:gd name="T76" fmla="*/ 13936211 w 545"/>
                <a:gd name="T77" fmla="*/ 15340395 h 549"/>
                <a:gd name="T78" fmla="*/ 16036080 w 545"/>
                <a:gd name="T79" fmla="*/ 20270675 h 549"/>
                <a:gd name="T80" fmla="*/ 16417954 w 545"/>
                <a:gd name="T81" fmla="*/ 29310570 h 549"/>
                <a:gd name="T82" fmla="*/ 14127148 w 545"/>
                <a:gd name="T83" fmla="*/ 46842375 h 549"/>
                <a:gd name="T84" fmla="*/ 11835905 w 545"/>
                <a:gd name="T85" fmla="*/ 64921640 h 549"/>
                <a:gd name="T86" fmla="*/ 8972725 w 545"/>
                <a:gd name="T87" fmla="*/ 72043854 h 549"/>
                <a:gd name="T88" fmla="*/ 4963486 w 545"/>
                <a:gd name="T89" fmla="*/ 75878691 h 549"/>
                <a:gd name="T90" fmla="*/ 954685 w 545"/>
                <a:gd name="T91" fmla="*/ 84096872 h 549"/>
                <a:gd name="T92" fmla="*/ 190937 w 545"/>
                <a:gd name="T93" fmla="*/ 92862512 h 549"/>
                <a:gd name="T94" fmla="*/ 1527058 w 545"/>
                <a:gd name="T95" fmla="*/ 100532710 h 549"/>
                <a:gd name="T96" fmla="*/ 1527058 w 545"/>
                <a:gd name="T97" fmla="*/ 107106940 h 549"/>
                <a:gd name="T98" fmla="*/ 0 w 545"/>
                <a:gd name="T99" fmla="*/ 111764014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US"/>
            </a:p>
          </p:txBody>
        </p:sp>
        <p:sp>
          <p:nvSpPr>
            <p:cNvPr id="192" name="Freeform 253">
              <a:extLst>
                <a:ext uri="{FF2B5EF4-FFF2-40B4-BE49-F238E27FC236}">
                  <a16:creationId xmlns:a16="http://schemas.microsoft.com/office/drawing/2014/main" id="{C71B0F50-DA34-4848-A032-A790DD447045}"/>
                </a:ext>
              </a:extLst>
            </p:cNvPr>
            <p:cNvSpPr>
              <a:spLocks/>
            </p:cNvSpPr>
            <p:nvPr>
              <p:custDataLst>
                <p:tags r:id="rId180"/>
              </p:custDataLst>
            </p:nvPr>
          </p:nvSpPr>
          <p:spPr bwMode="auto">
            <a:xfrm>
              <a:off x="5067300" y="4384675"/>
              <a:ext cx="196850" cy="434975"/>
            </a:xfrm>
            <a:custGeom>
              <a:avLst/>
              <a:gdLst>
                <a:gd name="T0" fmla="*/ 21242815 w 452"/>
                <a:gd name="T1" fmla="*/ 71337991 h 832"/>
                <a:gd name="T2" fmla="*/ 26174082 w 452"/>
                <a:gd name="T3" fmla="*/ 67784998 h 832"/>
                <a:gd name="T4" fmla="*/ 31295230 w 452"/>
                <a:gd name="T5" fmla="*/ 65598622 h 832"/>
                <a:gd name="T6" fmla="*/ 36416379 w 452"/>
                <a:gd name="T7" fmla="*/ 63411722 h 832"/>
                <a:gd name="T8" fmla="*/ 40778436 w 452"/>
                <a:gd name="T9" fmla="*/ 59311874 h 832"/>
                <a:gd name="T10" fmla="*/ 44002943 w 452"/>
                <a:gd name="T11" fmla="*/ 54665169 h 832"/>
                <a:gd name="T12" fmla="*/ 44002943 w 452"/>
                <a:gd name="T13" fmla="*/ 48925277 h 832"/>
                <a:gd name="T14" fmla="*/ 50262076 w 452"/>
                <a:gd name="T15" fmla="*/ 48652372 h 832"/>
                <a:gd name="T16" fmla="*/ 53486148 w 452"/>
                <a:gd name="T17" fmla="*/ 47285756 h 832"/>
                <a:gd name="T18" fmla="*/ 56521210 w 452"/>
                <a:gd name="T19" fmla="*/ 44279096 h 832"/>
                <a:gd name="T20" fmla="*/ 60693820 w 452"/>
                <a:gd name="T21" fmla="*/ 36352304 h 832"/>
                <a:gd name="T22" fmla="*/ 66383743 w 452"/>
                <a:gd name="T23" fmla="*/ 20499242 h 832"/>
                <a:gd name="T24" fmla="*/ 71694338 w 452"/>
                <a:gd name="T25" fmla="*/ 0 h 832"/>
                <a:gd name="T26" fmla="*/ 73022204 w 452"/>
                <a:gd name="T27" fmla="*/ 5193037 h 832"/>
                <a:gd name="T28" fmla="*/ 77194815 w 452"/>
                <a:gd name="T29" fmla="*/ 12846401 h 832"/>
                <a:gd name="T30" fmla="*/ 84971261 w 452"/>
                <a:gd name="T31" fmla="*/ 23232998 h 832"/>
                <a:gd name="T32" fmla="*/ 83453948 w 452"/>
                <a:gd name="T33" fmla="*/ 28152607 h 832"/>
                <a:gd name="T34" fmla="*/ 84212604 w 452"/>
                <a:gd name="T35" fmla="*/ 37718920 h 832"/>
                <a:gd name="T36" fmla="*/ 85729917 w 452"/>
                <a:gd name="T37" fmla="*/ 50565321 h 832"/>
                <a:gd name="T38" fmla="*/ 84971261 w 452"/>
                <a:gd name="T39" fmla="*/ 56305213 h 832"/>
                <a:gd name="T40" fmla="*/ 81177979 w 452"/>
                <a:gd name="T41" fmla="*/ 63958578 h 832"/>
                <a:gd name="T42" fmla="*/ 77574143 w 452"/>
                <a:gd name="T43" fmla="*/ 71337991 h 832"/>
                <a:gd name="T44" fmla="*/ 76815486 w 452"/>
                <a:gd name="T45" fmla="*/ 77351311 h 832"/>
                <a:gd name="T46" fmla="*/ 74539517 w 452"/>
                <a:gd name="T47" fmla="*/ 84184392 h 832"/>
                <a:gd name="T48" fmla="*/ 72642876 w 452"/>
                <a:gd name="T49" fmla="*/ 86917625 h 832"/>
                <a:gd name="T50" fmla="*/ 71504891 w 452"/>
                <a:gd name="T51" fmla="*/ 90744568 h 832"/>
                <a:gd name="T52" fmla="*/ 69797697 w 452"/>
                <a:gd name="T53" fmla="*/ 99491121 h 832"/>
                <a:gd name="T54" fmla="*/ 64107774 w 452"/>
                <a:gd name="T55" fmla="*/ 116710275 h 832"/>
                <a:gd name="T56" fmla="*/ 60883266 w 452"/>
                <a:gd name="T57" fmla="*/ 128463488 h 832"/>
                <a:gd name="T58" fmla="*/ 60314492 w 452"/>
                <a:gd name="T59" fmla="*/ 136663185 h 832"/>
                <a:gd name="T60" fmla="*/ 58797179 w 452"/>
                <a:gd name="T61" fmla="*/ 145136310 h 832"/>
                <a:gd name="T62" fmla="*/ 53296702 w 452"/>
                <a:gd name="T63" fmla="*/ 164542887 h 832"/>
                <a:gd name="T64" fmla="*/ 49313538 w 452"/>
                <a:gd name="T65" fmla="*/ 174109200 h 832"/>
                <a:gd name="T66" fmla="*/ 45899584 w 452"/>
                <a:gd name="T67" fmla="*/ 179028809 h 832"/>
                <a:gd name="T68" fmla="*/ 44002943 w 452"/>
                <a:gd name="T69" fmla="*/ 180395425 h 832"/>
                <a:gd name="T70" fmla="*/ 43244287 w 452"/>
                <a:gd name="T71" fmla="*/ 195155298 h 832"/>
                <a:gd name="T72" fmla="*/ 40778436 w 452"/>
                <a:gd name="T73" fmla="*/ 207454843 h 832"/>
                <a:gd name="T74" fmla="*/ 36226497 w 452"/>
                <a:gd name="T75" fmla="*/ 217294584 h 832"/>
                <a:gd name="T76" fmla="*/ 29777918 w 452"/>
                <a:gd name="T77" fmla="*/ 223854760 h 832"/>
                <a:gd name="T78" fmla="*/ 20863487 w 452"/>
                <a:gd name="T79" fmla="*/ 227134325 h 832"/>
                <a:gd name="T80" fmla="*/ 15173564 w 452"/>
                <a:gd name="T81" fmla="*/ 226041137 h 832"/>
                <a:gd name="T82" fmla="*/ 13845697 w 452"/>
                <a:gd name="T83" fmla="*/ 223307905 h 832"/>
                <a:gd name="T84" fmla="*/ 9483205 w 452"/>
                <a:gd name="T85" fmla="*/ 221394433 h 832"/>
                <a:gd name="T86" fmla="*/ 4931267 w 452"/>
                <a:gd name="T87" fmla="*/ 218114868 h 832"/>
                <a:gd name="T88" fmla="*/ 2275969 w 452"/>
                <a:gd name="T89" fmla="*/ 212374975 h 832"/>
                <a:gd name="T90" fmla="*/ 569210 w 452"/>
                <a:gd name="T91" fmla="*/ 205541372 h 832"/>
                <a:gd name="T92" fmla="*/ 0 w 452"/>
                <a:gd name="T93" fmla="*/ 193515254 h 832"/>
                <a:gd name="T94" fmla="*/ 758656 w 452"/>
                <a:gd name="T95" fmla="*/ 189688833 h 832"/>
                <a:gd name="T96" fmla="*/ 3603836 w 452"/>
                <a:gd name="T97" fmla="*/ 185315557 h 832"/>
                <a:gd name="T98" fmla="*/ 2086523 w 452"/>
                <a:gd name="T99" fmla="*/ 183675513 h 832"/>
                <a:gd name="T100" fmla="*/ 0 w 452"/>
                <a:gd name="T101" fmla="*/ 178209048 h 832"/>
                <a:gd name="T102" fmla="*/ 948538 w 452"/>
                <a:gd name="T103" fmla="*/ 171648873 h 832"/>
                <a:gd name="T104" fmla="*/ 1517313 w 452"/>
                <a:gd name="T105" fmla="*/ 166729263 h 832"/>
                <a:gd name="T106" fmla="*/ 948538 w 452"/>
                <a:gd name="T107" fmla="*/ 161536227 h 832"/>
                <a:gd name="T108" fmla="*/ 3413954 w 452"/>
                <a:gd name="T109" fmla="*/ 160442515 h 832"/>
                <a:gd name="T110" fmla="*/ 8155774 w 452"/>
                <a:gd name="T111" fmla="*/ 155249479 h 832"/>
                <a:gd name="T112" fmla="*/ 11949056 w 452"/>
                <a:gd name="T113" fmla="*/ 147049782 h 832"/>
                <a:gd name="T114" fmla="*/ 14414907 w 452"/>
                <a:gd name="T115" fmla="*/ 138303229 h 832"/>
                <a:gd name="T116" fmla="*/ 16311548 w 452"/>
                <a:gd name="T117" fmla="*/ 126277111 h 832"/>
                <a:gd name="T118" fmla="*/ 15742338 w 452"/>
                <a:gd name="T119" fmla="*/ 119716935 h 832"/>
                <a:gd name="T120" fmla="*/ 13276923 w 452"/>
                <a:gd name="T121" fmla="*/ 111517238 h 832"/>
                <a:gd name="T122" fmla="*/ 10621190 w 452"/>
                <a:gd name="T123" fmla="*/ 104410730 h 832"/>
                <a:gd name="T124" fmla="*/ 10052415 w 452"/>
                <a:gd name="T125" fmla="*/ 99217693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US"/>
            </a:p>
          </p:txBody>
        </p:sp>
        <p:sp>
          <p:nvSpPr>
            <p:cNvPr id="193" name="Freeform 254">
              <a:extLst>
                <a:ext uri="{FF2B5EF4-FFF2-40B4-BE49-F238E27FC236}">
                  <a16:creationId xmlns:a16="http://schemas.microsoft.com/office/drawing/2014/main" id="{767D9856-2E99-448A-B569-0BAF7B084ECB}"/>
                </a:ext>
              </a:extLst>
            </p:cNvPr>
            <p:cNvSpPr>
              <a:spLocks/>
            </p:cNvSpPr>
            <p:nvPr>
              <p:custDataLst>
                <p:tags r:id="rId181"/>
              </p:custDataLst>
            </p:nvPr>
          </p:nvSpPr>
          <p:spPr bwMode="auto">
            <a:xfrm>
              <a:off x="4743450" y="4083050"/>
              <a:ext cx="36513" cy="66675"/>
            </a:xfrm>
            <a:custGeom>
              <a:avLst/>
              <a:gdLst>
                <a:gd name="T0" fmla="*/ 16664990 w 80"/>
                <a:gd name="T1" fmla="*/ 559858 h 126"/>
                <a:gd name="T2" fmla="*/ 16664990 w 80"/>
                <a:gd name="T3" fmla="*/ 28281842 h 126"/>
                <a:gd name="T4" fmla="*/ 16248285 w 80"/>
                <a:gd name="T5" fmla="*/ 29121629 h 126"/>
                <a:gd name="T6" fmla="*/ 15623456 w 80"/>
                <a:gd name="T7" fmla="*/ 29961946 h 126"/>
                <a:gd name="T8" fmla="*/ 14581923 w 80"/>
                <a:gd name="T9" fmla="*/ 30521804 h 126"/>
                <a:gd name="T10" fmla="*/ 13957094 w 80"/>
                <a:gd name="T11" fmla="*/ 31081662 h 126"/>
                <a:gd name="T12" fmla="*/ 12082152 w 80"/>
                <a:gd name="T13" fmla="*/ 31921979 h 126"/>
                <a:gd name="T14" fmla="*/ 9999085 w 80"/>
                <a:gd name="T15" fmla="*/ 32481837 h 126"/>
                <a:gd name="T16" fmla="*/ 7499314 w 80"/>
                <a:gd name="T17" fmla="*/ 32761767 h 126"/>
                <a:gd name="T18" fmla="*/ 5207667 w 80"/>
                <a:gd name="T19" fmla="*/ 33322154 h 126"/>
                <a:gd name="T20" fmla="*/ 2707895 w 80"/>
                <a:gd name="T21" fmla="*/ 34441871 h 126"/>
                <a:gd name="T22" fmla="*/ 0 w 80"/>
                <a:gd name="T23" fmla="*/ 35282188 h 126"/>
                <a:gd name="T24" fmla="*/ 1458238 w 80"/>
                <a:gd name="T25" fmla="*/ 11200871 h 126"/>
                <a:gd name="T26" fmla="*/ 4790962 w 80"/>
                <a:gd name="T27" fmla="*/ 7560204 h 126"/>
                <a:gd name="T28" fmla="*/ 8540847 w 80"/>
                <a:gd name="T29" fmla="*/ 3360208 h 126"/>
                <a:gd name="T30" fmla="*/ 10623914 w 80"/>
                <a:gd name="T31" fmla="*/ 1400175 h 126"/>
                <a:gd name="T32" fmla="*/ 12498856 w 80"/>
                <a:gd name="T33" fmla="*/ 279929 h 126"/>
                <a:gd name="T34" fmla="*/ 13540390 w 80"/>
                <a:gd name="T35" fmla="*/ 0 h 126"/>
                <a:gd name="T36" fmla="*/ 14581923 w 80"/>
                <a:gd name="T37" fmla="*/ 0 h 126"/>
                <a:gd name="T38" fmla="*/ 15623456 w 80"/>
                <a:gd name="T39" fmla="*/ 279929 h 126"/>
                <a:gd name="T40" fmla="*/ 16664990 w 80"/>
                <a:gd name="T41" fmla="*/ 5598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US"/>
            </a:p>
          </p:txBody>
        </p:sp>
        <p:sp>
          <p:nvSpPr>
            <p:cNvPr id="194" name="Freeform 255">
              <a:extLst>
                <a:ext uri="{FF2B5EF4-FFF2-40B4-BE49-F238E27FC236}">
                  <a16:creationId xmlns:a16="http://schemas.microsoft.com/office/drawing/2014/main" id="{5BCFA390-50E3-4D72-BBD3-A83E213A7989}"/>
                </a:ext>
              </a:extLst>
            </p:cNvPr>
            <p:cNvSpPr>
              <a:spLocks/>
            </p:cNvSpPr>
            <p:nvPr>
              <p:custDataLst>
                <p:tags r:id="rId182"/>
              </p:custDataLst>
            </p:nvPr>
          </p:nvSpPr>
          <p:spPr bwMode="auto">
            <a:xfrm>
              <a:off x="4732338" y="4043363"/>
              <a:ext cx="55562" cy="60325"/>
            </a:xfrm>
            <a:custGeom>
              <a:avLst/>
              <a:gdLst>
                <a:gd name="T0" fmla="*/ 22687667 w 124"/>
                <a:gd name="T1" fmla="*/ 0 h 117"/>
                <a:gd name="T2" fmla="*/ 23289888 w 124"/>
                <a:gd name="T3" fmla="*/ 3987637 h 117"/>
                <a:gd name="T4" fmla="*/ 24494777 w 124"/>
                <a:gd name="T5" fmla="*/ 9304487 h 117"/>
                <a:gd name="T6" fmla="*/ 24896257 w 124"/>
                <a:gd name="T7" fmla="*/ 11962912 h 117"/>
                <a:gd name="T8" fmla="*/ 24896257 w 124"/>
                <a:gd name="T9" fmla="*/ 14355288 h 117"/>
                <a:gd name="T10" fmla="*/ 24896257 w 124"/>
                <a:gd name="T11" fmla="*/ 15684500 h 117"/>
                <a:gd name="T12" fmla="*/ 24695517 w 124"/>
                <a:gd name="T13" fmla="*/ 17013712 h 117"/>
                <a:gd name="T14" fmla="*/ 24494777 w 124"/>
                <a:gd name="T15" fmla="*/ 18342925 h 117"/>
                <a:gd name="T16" fmla="*/ 23892556 w 124"/>
                <a:gd name="T17" fmla="*/ 19406604 h 117"/>
                <a:gd name="T18" fmla="*/ 22888407 w 124"/>
                <a:gd name="T19" fmla="*/ 19140555 h 117"/>
                <a:gd name="T20" fmla="*/ 21683967 w 124"/>
                <a:gd name="T21" fmla="*/ 18874507 h 117"/>
                <a:gd name="T22" fmla="*/ 20679818 w 124"/>
                <a:gd name="T23" fmla="*/ 19140555 h 117"/>
                <a:gd name="T24" fmla="*/ 19274637 w 124"/>
                <a:gd name="T25" fmla="*/ 19406604 h 117"/>
                <a:gd name="T26" fmla="*/ 16664567 w 124"/>
                <a:gd name="T27" fmla="*/ 20735816 h 117"/>
                <a:gd name="T28" fmla="*/ 14255238 w 124"/>
                <a:gd name="T29" fmla="*/ 22596611 h 117"/>
                <a:gd name="T30" fmla="*/ 9235838 w 124"/>
                <a:gd name="T31" fmla="*/ 27381878 h 117"/>
                <a:gd name="T32" fmla="*/ 5220140 w 124"/>
                <a:gd name="T33" fmla="*/ 31103467 h 117"/>
                <a:gd name="T34" fmla="*/ 4617919 w 124"/>
                <a:gd name="T35" fmla="*/ 29774254 h 117"/>
                <a:gd name="T36" fmla="*/ 2610070 w 124"/>
                <a:gd name="T37" fmla="*/ 26849781 h 117"/>
                <a:gd name="T38" fmla="*/ 802961 w 124"/>
                <a:gd name="T39" fmla="*/ 23659774 h 117"/>
                <a:gd name="T40" fmla="*/ 0 w 124"/>
                <a:gd name="T41" fmla="*/ 21001350 h 117"/>
                <a:gd name="T42" fmla="*/ 200740 w 124"/>
                <a:gd name="T43" fmla="*/ 20203719 h 117"/>
                <a:gd name="T44" fmla="*/ 401480 w 124"/>
                <a:gd name="T45" fmla="*/ 19140555 h 117"/>
                <a:gd name="T46" fmla="*/ 1003701 w 124"/>
                <a:gd name="T47" fmla="*/ 17811343 h 117"/>
                <a:gd name="T48" fmla="*/ 1807109 w 124"/>
                <a:gd name="T49" fmla="*/ 16482131 h 117"/>
                <a:gd name="T50" fmla="*/ 3413030 w 124"/>
                <a:gd name="T51" fmla="*/ 13823706 h 117"/>
                <a:gd name="T52" fmla="*/ 5420880 w 124"/>
                <a:gd name="T53" fmla="*/ 11165281 h 117"/>
                <a:gd name="T54" fmla="*/ 9637319 w 124"/>
                <a:gd name="T55" fmla="*/ 5848431 h 117"/>
                <a:gd name="T56" fmla="*/ 12046648 w 124"/>
                <a:gd name="T57" fmla="*/ 3190007 h 117"/>
                <a:gd name="T58" fmla="*/ 14656718 w 124"/>
                <a:gd name="T59" fmla="*/ 3190007 h 117"/>
                <a:gd name="T60" fmla="*/ 17266788 w 124"/>
                <a:gd name="T61" fmla="*/ 3190007 h 117"/>
                <a:gd name="T62" fmla="*/ 20077598 w 124"/>
                <a:gd name="T63" fmla="*/ 1595261 h 117"/>
                <a:gd name="T64" fmla="*/ 22687667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195" name="Freeform 256">
              <a:extLst>
                <a:ext uri="{FF2B5EF4-FFF2-40B4-BE49-F238E27FC236}">
                  <a16:creationId xmlns:a16="http://schemas.microsoft.com/office/drawing/2014/main" id="{A530FA39-417F-4773-A9FE-C7A18C18A499}"/>
                </a:ext>
              </a:extLst>
            </p:cNvPr>
            <p:cNvSpPr>
              <a:spLocks/>
            </p:cNvSpPr>
            <p:nvPr>
              <p:custDataLst>
                <p:tags r:id="rId183"/>
              </p:custDataLst>
            </p:nvPr>
          </p:nvSpPr>
          <p:spPr bwMode="auto">
            <a:xfrm>
              <a:off x="5041900" y="2743200"/>
              <a:ext cx="503238" cy="473075"/>
            </a:xfrm>
            <a:custGeom>
              <a:avLst/>
              <a:gdLst>
                <a:gd name="T0" fmla="*/ 175864703 w 1156"/>
                <a:gd name="T1" fmla="*/ 52772568 h 900"/>
                <a:gd name="T2" fmla="*/ 162788786 w 1156"/>
                <a:gd name="T3" fmla="*/ 44760254 h 900"/>
                <a:gd name="T4" fmla="*/ 146491015 w 1156"/>
                <a:gd name="T5" fmla="*/ 30668927 h 900"/>
                <a:gd name="T6" fmla="*/ 116927523 w 1156"/>
                <a:gd name="T7" fmla="*/ 28734576 h 900"/>
                <a:gd name="T8" fmla="*/ 104419708 w 1156"/>
                <a:gd name="T9" fmla="*/ 42549417 h 900"/>
                <a:gd name="T10" fmla="*/ 95512918 w 1156"/>
                <a:gd name="T11" fmla="*/ 49456837 h 900"/>
                <a:gd name="T12" fmla="*/ 80730955 w 1156"/>
                <a:gd name="T13" fmla="*/ 54430433 h 900"/>
                <a:gd name="T14" fmla="*/ 72582069 w 1156"/>
                <a:gd name="T15" fmla="*/ 54982879 h 900"/>
                <a:gd name="T16" fmla="*/ 67275868 w 1156"/>
                <a:gd name="T17" fmla="*/ 47799498 h 900"/>
                <a:gd name="T18" fmla="*/ 49272485 w 1156"/>
                <a:gd name="T19" fmla="*/ 37576347 h 900"/>
                <a:gd name="T20" fmla="*/ 43208380 w 1156"/>
                <a:gd name="T21" fmla="*/ 23761506 h 900"/>
                <a:gd name="T22" fmla="*/ 41692136 w 1156"/>
                <a:gd name="T23" fmla="*/ 6354974 h 900"/>
                <a:gd name="T24" fmla="*/ 35627596 w 1156"/>
                <a:gd name="T25" fmla="*/ 276486 h 900"/>
                <a:gd name="T26" fmla="*/ 29374124 w 1156"/>
                <a:gd name="T27" fmla="*/ 5802002 h 900"/>
                <a:gd name="T28" fmla="*/ 25773099 w 1156"/>
                <a:gd name="T29" fmla="*/ 18511950 h 900"/>
                <a:gd name="T30" fmla="*/ 14971331 w 1156"/>
                <a:gd name="T31" fmla="*/ 14920260 h 900"/>
                <a:gd name="T32" fmla="*/ 757904 w 1156"/>
                <a:gd name="T33" fmla="*/ 4420623 h 900"/>
                <a:gd name="T34" fmla="*/ 947707 w 1156"/>
                <a:gd name="T35" fmla="*/ 19893329 h 900"/>
                <a:gd name="T36" fmla="*/ 8528056 w 1156"/>
                <a:gd name="T37" fmla="*/ 40339105 h 900"/>
                <a:gd name="T38" fmla="*/ 13834256 w 1156"/>
                <a:gd name="T39" fmla="*/ 56640744 h 900"/>
                <a:gd name="T40" fmla="*/ 25583732 w 1156"/>
                <a:gd name="T41" fmla="*/ 78467899 h 900"/>
                <a:gd name="T42" fmla="*/ 23120216 w 1156"/>
                <a:gd name="T43" fmla="*/ 87309671 h 900"/>
                <a:gd name="T44" fmla="*/ 25204562 w 1156"/>
                <a:gd name="T45" fmla="*/ 102229405 h 900"/>
                <a:gd name="T46" fmla="*/ 35627596 w 1156"/>
                <a:gd name="T47" fmla="*/ 118254558 h 900"/>
                <a:gd name="T48" fmla="*/ 49083118 w 1156"/>
                <a:gd name="T49" fmla="*/ 125990911 h 900"/>
                <a:gd name="T50" fmla="*/ 49083118 w 1156"/>
                <a:gd name="T51" fmla="*/ 144779347 h 900"/>
                <a:gd name="T52" fmla="*/ 63485912 w 1156"/>
                <a:gd name="T53" fmla="*/ 160528014 h 900"/>
                <a:gd name="T54" fmla="*/ 80162418 w 1156"/>
                <a:gd name="T55" fmla="*/ 183460588 h 900"/>
                <a:gd name="T56" fmla="*/ 89259011 w 1156"/>
                <a:gd name="T57" fmla="*/ 198933294 h 900"/>
                <a:gd name="T58" fmla="*/ 95512918 w 1156"/>
                <a:gd name="T59" fmla="*/ 202524984 h 900"/>
                <a:gd name="T60" fmla="*/ 102714097 w 1156"/>
                <a:gd name="T61" fmla="*/ 208603473 h 900"/>
                <a:gd name="T62" fmla="*/ 113326934 w 1156"/>
                <a:gd name="T63" fmla="*/ 217445244 h 900"/>
                <a:gd name="T64" fmla="*/ 129814073 w 1156"/>
                <a:gd name="T65" fmla="*/ 219655556 h 900"/>
                <a:gd name="T66" fmla="*/ 138720863 w 1156"/>
                <a:gd name="T67" fmla="*/ 215510893 h 900"/>
                <a:gd name="T68" fmla="*/ 147628089 w 1156"/>
                <a:gd name="T69" fmla="*/ 211090270 h 900"/>
                <a:gd name="T70" fmla="*/ 151797215 w 1156"/>
                <a:gd name="T71" fmla="*/ 219932042 h 900"/>
                <a:gd name="T72" fmla="*/ 154071363 w 1156"/>
                <a:gd name="T73" fmla="*/ 236786127 h 900"/>
                <a:gd name="T74" fmla="*/ 165631472 w 1156"/>
                <a:gd name="T75" fmla="*/ 241482711 h 900"/>
                <a:gd name="T76" fmla="*/ 191594373 w 1156"/>
                <a:gd name="T77" fmla="*/ 246456306 h 900"/>
                <a:gd name="T78" fmla="*/ 206755071 w 1156"/>
                <a:gd name="T79" fmla="*/ 242864615 h 900"/>
                <a:gd name="T80" fmla="*/ 208270880 w 1156"/>
                <a:gd name="T81" fmla="*/ 229602221 h 900"/>
                <a:gd name="T82" fmla="*/ 219073084 w 1156"/>
                <a:gd name="T83" fmla="*/ 212748135 h 900"/>
                <a:gd name="T84" fmla="*/ 214524787 w 1156"/>
                <a:gd name="T85" fmla="*/ 207222094 h 900"/>
                <a:gd name="T86" fmla="*/ 207702343 w 1156"/>
                <a:gd name="T87" fmla="*/ 195617564 h 900"/>
                <a:gd name="T88" fmla="*/ 195384330 w 1156"/>
                <a:gd name="T89" fmla="*/ 177658586 h 900"/>
                <a:gd name="T90" fmla="*/ 192920815 w 1156"/>
                <a:gd name="T91" fmla="*/ 166606502 h 900"/>
                <a:gd name="T92" fmla="*/ 197847846 w 1156"/>
                <a:gd name="T93" fmla="*/ 154449526 h 900"/>
                <a:gd name="T94" fmla="*/ 198606185 w 1156"/>
                <a:gd name="T95" fmla="*/ 145331794 h 900"/>
                <a:gd name="T96" fmla="*/ 195194963 w 1156"/>
                <a:gd name="T97" fmla="*/ 141463617 h 900"/>
                <a:gd name="T98" fmla="*/ 186287737 w 1156"/>
                <a:gd name="T99" fmla="*/ 140082238 h 900"/>
                <a:gd name="T100" fmla="*/ 180792169 w 1156"/>
                <a:gd name="T101" fmla="*/ 125161978 h 900"/>
                <a:gd name="T102" fmla="*/ 177570314 w 1156"/>
                <a:gd name="T103" fmla="*/ 103058337 h 900"/>
                <a:gd name="T104" fmla="*/ 175106799 w 1156"/>
                <a:gd name="T105" fmla="*/ 98637714 h 900"/>
                <a:gd name="T106" fmla="*/ 178138851 w 1156"/>
                <a:gd name="T107" fmla="*/ 92282740 h 900"/>
                <a:gd name="T108" fmla="*/ 181929244 w 1156"/>
                <a:gd name="T109" fmla="*/ 8095469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US"/>
            </a:p>
          </p:txBody>
        </p:sp>
        <p:sp>
          <p:nvSpPr>
            <p:cNvPr id="196" name="Freeform 257">
              <a:extLst>
                <a:ext uri="{FF2B5EF4-FFF2-40B4-BE49-F238E27FC236}">
                  <a16:creationId xmlns:a16="http://schemas.microsoft.com/office/drawing/2014/main" id="{91E11B06-3803-41E6-AAEC-6F5C6F2762B9}"/>
                </a:ext>
              </a:extLst>
            </p:cNvPr>
            <p:cNvSpPr>
              <a:spLocks/>
            </p:cNvSpPr>
            <p:nvPr>
              <p:custDataLst>
                <p:tags r:id="rId184"/>
              </p:custDataLst>
            </p:nvPr>
          </p:nvSpPr>
          <p:spPr bwMode="auto">
            <a:xfrm>
              <a:off x="5065713" y="3400425"/>
              <a:ext cx="247650" cy="228600"/>
            </a:xfrm>
            <a:custGeom>
              <a:avLst/>
              <a:gdLst>
                <a:gd name="T0" fmla="*/ 4890979 w 571"/>
                <a:gd name="T1" fmla="*/ 50593876 h 443"/>
                <a:gd name="T2" fmla="*/ 6959789 w 571"/>
                <a:gd name="T3" fmla="*/ 47132366 h 443"/>
                <a:gd name="T4" fmla="*/ 7712281 w 571"/>
                <a:gd name="T5" fmla="*/ 43670340 h 443"/>
                <a:gd name="T6" fmla="*/ 7336252 w 571"/>
                <a:gd name="T7" fmla="*/ 34350375 h 443"/>
                <a:gd name="T8" fmla="*/ 8276541 w 571"/>
                <a:gd name="T9" fmla="*/ 31953945 h 443"/>
                <a:gd name="T10" fmla="*/ 10345785 w 571"/>
                <a:gd name="T11" fmla="*/ 29823786 h 443"/>
                <a:gd name="T12" fmla="*/ 12791057 w 571"/>
                <a:gd name="T13" fmla="*/ 28492436 h 443"/>
                <a:gd name="T14" fmla="*/ 15048532 w 571"/>
                <a:gd name="T15" fmla="*/ 27693626 h 443"/>
                <a:gd name="T16" fmla="*/ 19374818 w 571"/>
                <a:gd name="T17" fmla="*/ 28226166 h 443"/>
                <a:gd name="T18" fmla="*/ 23325074 w 571"/>
                <a:gd name="T19" fmla="*/ 29024976 h 443"/>
                <a:gd name="T20" fmla="*/ 29721036 w 571"/>
                <a:gd name="T21" fmla="*/ 31953945 h 443"/>
                <a:gd name="T22" fmla="*/ 34611581 w 571"/>
                <a:gd name="T23" fmla="*/ 35948511 h 443"/>
                <a:gd name="T24" fmla="*/ 38750069 w 571"/>
                <a:gd name="T25" fmla="*/ 41007641 h 443"/>
                <a:gd name="T26" fmla="*/ 47779101 w 571"/>
                <a:gd name="T27" fmla="*/ 24497870 h 443"/>
                <a:gd name="T28" fmla="*/ 53610370 w 571"/>
                <a:gd name="T29" fmla="*/ 13047745 h 443"/>
                <a:gd name="T30" fmla="*/ 101201240 w 571"/>
                <a:gd name="T31" fmla="*/ 11450125 h 443"/>
                <a:gd name="T32" fmla="*/ 104775467 w 571"/>
                <a:gd name="T33" fmla="*/ 20770090 h 443"/>
                <a:gd name="T34" fmla="*/ 105716190 w 571"/>
                <a:gd name="T35" fmla="*/ 26096006 h 443"/>
                <a:gd name="T36" fmla="*/ 106092219 w 571"/>
                <a:gd name="T37" fmla="*/ 32752755 h 443"/>
                <a:gd name="T38" fmla="*/ 106844711 w 571"/>
                <a:gd name="T39" fmla="*/ 40208831 h 443"/>
                <a:gd name="T40" fmla="*/ 107408971 w 571"/>
                <a:gd name="T41" fmla="*/ 47398636 h 443"/>
                <a:gd name="T42" fmla="*/ 106092219 w 571"/>
                <a:gd name="T43" fmla="*/ 47931176 h 443"/>
                <a:gd name="T44" fmla="*/ 105716190 w 571"/>
                <a:gd name="T45" fmla="*/ 47664906 h 443"/>
                <a:gd name="T46" fmla="*/ 104963698 w 571"/>
                <a:gd name="T47" fmla="*/ 48996256 h 443"/>
                <a:gd name="T48" fmla="*/ 103082686 w 571"/>
                <a:gd name="T49" fmla="*/ 55120981 h 443"/>
                <a:gd name="T50" fmla="*/ 100449182 w 571"/>
                <a:gd name="T51" fmla="*/ 59913841 h 443"/>
                <a:gd name="T52" fmla="*/ 96874955 w 571"/>
                <a:gd name="T53" fmla="*/ 63641621 h 443"/>
                <a:gd name="T54" fmla="*/ 92924699 w 571"/>
                <a:gd name="T55" fmla="*/ 66304837 h 443"/>
                <a:gd name="T56" fmla="*/ 76183385 w 571"/>
                <a:gd name="T57" fmla="*/ 75358532 h 443"/>
                <a:gd name="T58" fmla="*/ 65272907 w 571"/>
                <a:gd name="T59" fmla="*/ 81749011 h 443"/>
                <a:gd name="T60" fmla="*/ 55491382 w 571"/>
                <a:gd name="T61" fmla="*/ 87341197 h 443"/>
                <a:gd name="T62" fmla="*/ 46086320 w 571"/>
                <a:gd name="T63" fmla="*/ 91867786 h 443"/>
                <a:gd name="T64" fmla="*/ 34988044 w 571"/>
                <a:gd name="T65" fmla="*/ 96661162 h 443"/>
                <a:gd name="T66" fmla="*/ 31413817 w 571"/>
                <a:gd name="T67" fmla="*/ 98791322 h 443"/>
                <a:gd name="T68" fmla="*/ 28027821 w 571"/>
                <a:gd name="T69" fmla="*/ 101454022 h 443"/>
                <a:gd name="T70" fmla="*/ 22384784 w 571"/>
                <a:gd name="T71" fmla="*/ 107312477 h 443"/>
                <a:gd name="T72" fmla="*/ 17306008 w 571"/>
                <a:gd name="T73" fmla="*/ 113437203 h 443"/>
                <a:gd name="T74" fmla="*/ 12603260 w 571"/>
                <a:gd name="T75" fmla="*/ 117963792 h 443"/>
                <a:gd name="T76" fmla="*/ 9405495 w 571"/>
                <a:gd name="T77" fmla="*/ 100655212 h 443"/>
                <a:gd name="T78" fmla="*/ 6207731 w 571"/>
                <a:gd name="T79" fmla="*/ 83346631 h 443"/>
                <a:gd name="T80" fmla="*/ 3009533 w 571"/>
                <a:gd name="T81" fmla="*/ 66837377 h 443"/>
                <a:gd name="T82" fmla="*/ 0 w 571"/>
                <a:gd name="T83" fmla="*/ 52191496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US"/>
            </a:p>
          </p:txBody>
        </p:sp>
        <p:sp>
          <p:nvSpPr>
            <p:cNvPr id="197" name="Freeform 258">
              <a:extLst>
                <a:ext uri="{FF2B5EF4-FFF2-40B4-BE49-F238E27FC236}">
                  <a16:creationId xmlns:a16="http://schemas.microsoft.com/office/drawing/2014/main" id="{C1CCB45F-8BE5-4316-BF3B-802C076E4318}"/>
                </a:ext>
              </a:extLst>
            </p:cNvPr>
            <p:cNvSpPr>
              <a:spLocks/>
            </p:cNvSpPr>
            <p:nvPr>
              <p:custDataLst>
                <p:tags r:id="rId185"/>
              </p:custDataLst>
            </p:nvPr>
          </p:nvSpPr>
          <p:spPr bwMode="auto">
            <a:xfrm>
              <a:off x="5260975" y="3175000"/>
              <a:ext cx="120650" cy="120650"/>
            </a:xfrm>
            <a:custGeom>
              <a:avLst/>
              <a:gdLst>
                <a:gd name="T0" fmla="*/ 0 w 286"/>
                <a:gd name="T1" fmla="*/ 31081662 h 228"/>
                <a:gd name="T2" fmla="*/ 711666 w 286"/>
                <a:gd name="T3" fmla="*/ 30521804 h 228"/>
                <a:gd name="T4" fmla="*/ 1245732 w 286"/>
                <a:gd name="T5" fmla="*/ 30521804 h 228"/>
                <a:gd name="T6" fmla="*/ 1779798 w 286"/>
                <a:gd name="T7" fmla="*/ 30801733 h 228"/>
                <a:gd name="T8" fmla="*/ 1957399 w 286"/>
                <a:gd name="T9" fmla="*/ 31081662 h 228"/>
                <a:gd name="T10" fmla="*/ 2135421 w 286"/>
                <a:gd name="T11" fmla="*/ 32761767 h 228"/>
                <a:gd name="T12" fmla="*/ 2313443 w 286"/>
                <a:gd name="T13" fmla="*/ 34441871 h 228"/>
                <a:gd name="T14" fmla="*/ 2491465 w 286"/>
                <a:gd name="T15" fmla="*/ 35842046 h 228"/>
                <a:gd name="T16" fmla="*/ 2847509 w 286"/>
                <a:gd name="T17" fmla="*/ 36682363 h 228"/>
                <a:gd name="T18" fmla="*/ 3381153 w 286"/>
                <a:gd name="T19" fmla="*/ 37522150 h 228"/>
                <a:gd name="T20" fmla="*/ 4270841 w 286"/>
                <a:gd name="T21" fmla="*/ 38082538 h 228"/>
                <a:gd name="T22" fmla="*/ 5160951 w 286"/>
                <a:gd name="T23" fmla="*/ 38362467 h 228"/>
                <a:gd name="T24" fmla="*/ 6584706 w 286"/>
                <a:gd name="T25" fmla="*/ 38642396 h 228"/>
                <a:gd name="T26" fmla="*/ 8542104 w 286"/>
                <a:gd name="T27" fmla="*/ 38642396 h 228"/>
                <a:gd name="T28" fmla="*/ 10677525 w 286"/>
                <a:gd name="T29" fmla="*/ 38082538 h 228"/>
                <a:gd name="T30" fmla="*/ 17440253 w 286"/>
                <a:gd name="T31" fmla="*/ 36402433 h 228"/>
                <a:gd name="T32" fmla="*/ 22956826 w 286"/>
                <a:gd name="T33" fmla="*/ 34161942 h 228"/>
                <a:gd name="T34" fmla="*/ 25448291 w 286"/>
                <a:gd name="T35" fmla="*/ 33042225 h 228"/>
                <a:gd name="T36" fmla="*/ 27761734 w 286"/>
                <a:gd name="T37" fmla="*/ 31921979 h 228"/>
                <a:gd name="T38" fmla="*/ 29719132 w 286"/>
                <a:gd name="T39" fmla="*/ 30521804 h 228"/>
                <a:gd name="T40" fmla="*/ 31676953 w 286"/>
                <a:gd name="T41" fmla="*/ 28841700 h 228"/>
                <a:gd name="T42" fmla="*/ 33456329 w 286"/>
                <a:gd name="T43" fmla="*/ 26881667 h 228"/>
                <a:gd name="T44" fmla="*/ 35236128 w 286"/>
                <a:gd name="T45" fmla="*/ 24361775 h 228"/>
                <a:gd name="T46" fmla="*/ 37015504 w 286"/>
                <a:gd name="T47" fmla="*/ 21841354 h 228"/>
                <a:gd name="T48" fmla="*/ 38973325 w 286"/>
                <a:gd name="T49" fmla="*/ 18201217 h 228"/>
                <a:gd name="T50" fmla="*/ 40752701 w 286"/>
                <a:gd name="T51" fmla="*/ 14561079 h 228"/>
                <a:gd name="T52" fmla="*/ 42888544 w 286"/>
                <a:gd name="T53" fmla="*/ 10360554 h 228"/>
                <a:gd name="T54" fmla="*/ 45023965 w 286"/>
                <a:gd name="T55" fmla="*/ 5600171 h 228"/>
                <a:gd name="T56" fmla="*/ 47337407 w 286"/>
                <a:gd name="T57" fmla="*/ 0 h 228"/>
                <a:gd name="T58" fmla="*/ 48049073 w 286"/>
                <a:gd name="T59" fmla="*/ 1960033 h 228"/>
                <a:gd name="T60" fmla="*/ 48761162 w 286"/>
                <a:gd name="T61" fmla="*/ 3640137 h 228"/>
                <a:gd name="T62" fmla="*/ 49116784 w 286"/>
                <a:gd name="T63" fmla="*/ 5600171 h 228"/>
                <a:gd name="T64" fmla="*/ 49650850 w 286"/>
                <a:gd name="T65" fmla="*/ 7560204 h 228"/>
                <a:gd name="T66" fmla="*/ 50184916 w 286"/>
                <a:gd name="T67" fmla="*/ 11760729 h 228"/>
                <a:gd name="T68" fmla="*/ 50896582 w 286"/>
                <a:gd name="T69" fmla="*/ 17360900 h 228"/>
                <a:gd name="T70" fmla="*/ 43778232 w 286"/>
                <a:gd name="T71" fmla="*/ 55443437 h 228"/>
                <a:gd name="T72" fmla="*/ 40219057 w 286"/>
                <a:gd name="T73" fmla="*/ 63843958 h 228"/>
                <a:gd name="T74" fmla="*/ 9431793 w 286"/>
                <a:gd name="T75" fmla="*/ 58803646 h 228"/>
                <a:gd name="T76" fmla="*/ 0 w 286"/>
                <a:gd name="T77" fmla="*/ 31081662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8" name="Freeform 259">
              <a:extLst>
                <a:ext uri="{FF2B5EF4-FFF2-40B4-BE49-F238E27FC236}">
                  <a16:creationId xmlns:a16="http://schemas.microsoft.com/office/drawing/2014/main" id="{B64C8720-2BC0-4023-9AAA-B2884577F514}"/>
                </a:ext>
              </a:extLst>
            </p:cNvPr>
            <p:cNvSpPr>
              <a:spLocks/>
            </p:cNvSpPr>
            <p:nvPr>
              <p:custDataLst>
                <p:tags r:id="rId186"/>
              </p:custDataLst>
            </p:nvPr>
          </p:nvSpPr>
          <p:spPr bwMode="auto">
            <a:xfrm>
              <a:off x="4948238" y="2827338"/>
              <a:ext cx="222250" cy="263525"/>
            </a:xfrm>
            <a:custGeom>
              <a:avLst/>
              <a:gdLst>
                <a:gd name="T0" fmla="*/ 85990391 w 524"/>
                <a:gd name="T1" fmla="*/ 100754218 h 505"/>
                <a:gd name="T2" fmla="*/ 87069406 w 524"/>
                <a:gd name="T3" fmla="*/ 94218798 h 505"/>
                <a:gd name="T4" fmla="*/ 86889571 w 524"/>
                <a:gd name="T5" fmla="*/ 89589629 h 505"/>
                <a:gd name="T6" fmla="*/ 85990391 w 524"/>
                <a:gd name="T7" fmla="*/ 82237020 h 505"/>
                <a:gd name="T8" fmla="*/ 81852469 w 524"/>
                <a:gd name="T9" fmla="*/ 81420354 h 505"/>
                <a:gd name="T10" fmla="*/ 77535136 w 524"/>
                <a:gd name="T11" fmla="*/ 78425040 h 505"/>
                <a:gd name="T12" fmla="*/ 73217378 w 524"/>
                <a:gd name="T13" fmla="*/ 74612538 h 505"/>
                <a:gd name="T14" fmla="*/ 69439977 w 524"/>
                <a:gd name="T15" fmla="*/ 69710973 h 505"/>
                <a:gd name="T16" fmla="*/ 65841987 w 524"/>
                <a:gd name="T17" fmla="*/ 64537012 h 505"/>
                <a:gd name="T18" fmla="*/ 63323436 w 524"/>
                <a:gd name="T19" fmla="*/ 58818780 h 505"/>
                <a:gd name="T20" fmla="*/ 61524229 w 524"/>
                <a:gd name="T21" fmla="*/ 53372423 h 505"/>
                <a:gd name="T22" fmla="*/ 60984721 w 524"/>
                <a:gd name="T23" fmla="*/ 48470858 h 505"/>
                <a:gd name="T24" fmla="*/ 61344393 w 524"/>
                <a:gd name="T25" fmla="*/ 44114085 h 505"/>
                <a:gd name="T26" fmla="*/ 62783504 w 524"/>
                <a:gd name="T27" fmla="*/ 40846375 h 505"/>
                <a:gd name="T28" fmla="*/ 65662151 w 524"/>
                <a:gd name="T29" fmla="*/ 37033873 h 505"/>
                <a:gd name="T30" fmla="*/ 63683108 w 524"/>
                <a:gd name="T31" fmla="*/ 35400018 h 505"/>
                <a:gd name="T32" fmla="*/ 61344393 w 524"/>
                <a:gd name="T33" fmla="*/ 32404704 h 505"/>
                <a:gd name="T34" fmla="*/ 56666964 w 524"/>
                <a:gd name="T35" fmla="*/ 23690637 h 505"/>
                <a:gd name="T36" fmla="*/ 52529466 w 524"/>
                <a:gd name="T37" fmla="*/ 13887507 h 505"/>
                <a:gd name="T38" fmla="*/ 50190751 w 524"/>
                <a:gd name="T39" fmla="*/ 6807816 h 505"/>
                <a:gd name="T40" fmla="*/ 46773021 w 524"/>
                <a:gd name="T41" fmla="*/ 6535420 h 505"/>
                <a:gd name="T42" fmla="*/ 42995196 w 524"/>
                <a:gd name="T43" fmla="*/ 5173961 h 505"/>
                <a:gd name="T44" fmla="*/ 39397206 w 524"/>
                <a:gd name="T45" fmla="*/ 2995314 h 505"/>
                <a:gd name="T46" fmla="*/ 35439544 w 524"/>
                <a:gd name="T47" fmla="*/ 1633855 h 505"/>
                <a:gd name="T48" fmla="*/ 30582279 w 524"/>
                <a:gd name="T49" fmla="*/ 816667 h 505"/>
                <a:gd name="T50" fmla="*/ 26804453 w 524"/>
                <a:gd name="T51" fmla="*/ 2178647 h 505"/>
                <a:gd name="T52" fmla="*/ 20508076 w 524"/>
                <a:gd name="T53" fmla="*/ 11164589 h 505"/>
                <a:gd name="T54" fmla="*/ 17629854 w 524"/>
                <a:gd name="T55" fmla="*/ 15521362 h 505"/>
                <a:gd name="T56" fmla="*/ 16730250 w 524"/>
                <a:gd name="T57" fmla="*/ 17427613 h 505"/>
                <a:gd name="T58" fmla="*/ 16910086 w 524"/>
                <a:gd name="T59" fmla="*/ 25596888 h 505"/>
                <a:gd name="T60" fmla="*/ 17089922 w 524"/>
                <a:gd name="T61" fmla="*/ 38122935 h 505"/>
                <a:gd name="T62" fmla="*/ 16910086 w 524"/>
                <a:gd name="T63" fmla="*/ 44658355 h 505"/>
                <a:gd name="T64" fmla="*/ 15470975 w 524"/>
                <a:gd name="T65" fmla="*/ 49015650 h 505"/>
                <a:gd name="T66" fmla="*/ 12052821 w 524"/>
                <a:gd name="T67" fmla="*/ 53644819 h 505"/>
                <a:gd name="T68" fmla="*/ 7195980 w 524"/>
                <a:gd name="T69" fmla="*/ 58273988 h 505"/>
                <a:gd name="T70" fmla="*/ 2338715 w 524"/>
                <a:gd name="T71" fmla="*/ 62086490 h 505"/>
                <a:gd name="T72" fmla="*/ 359672 w 524"/>
                <a:gd name="T73" fmla="*/ 66988055 h 505"/>
                <a:gd name="T74" fmla="*/ 359672 w 524"/>
                <a:gd name="T75" fmla="*/ 71889620 h 505"/>
                <a:gd name="T76" fmla="*/ 0 w 524"/>
                <a:gd name="T77" fmla="*/ 75701600 h 505"/>
                <a:gd name="T78" fmla="*/ 0 w 524"/>
                <a:gd name="T79" fmla="*/ 78696914 h 505"/>
                <a:gd name="T80" fmla="*/ 1259275 w 524"/>
                <a:gd name="T81" fmla="*/ 81964624 h 505"/>
                <a:gd name="T82" fmla="*/ 4677429 w 524"/>
                <a:gd name="T83" fmla="*/ 85504730 h 505"/>
                <a:gd name="T84" fmla="*/ 11153642 w 524"/>
                <a:gd name="T85" fmla="*/ 90133899 h 505"/>
                <a:gd name="T86" fmla="*/ 21587516 w 524"/>
                <a:gd name="T87" fmla="*/ 96669319 h 505"/>
                <a:gd name="T88" fmla="*/ 32381062 w 524"/>
                <a:gd name="T89" fmla="*/ 101843280 h 505"/>
                <a:gd name="T90" fmla="*/ 38497602 w 524"/>
                <a:gd name="T91" fmla="*/ 104838594 h 505"/>
                <a:gd name="T92" fmla="*/ 42635100 w 524"/>
                <a:gd name="T93" fmla="*/ 108923493 h 505"/>
                <a:gd name="T94" fmla="*/ 45333910 w 524"/>
                <a:gd name="T95" fmla="*/ 113825058 h 505"/>
                <a:gd name="T96" fmla="*/ 47132693 w 524"/>
                <a:gd name="T97" fmla="*/ 118454227 h 505"/>
                <a:gd name="T98" fmla="*/ 47852461 w 524"/>
                <a:gd name="T99" fmla="*/ 122810999 h 505"/>
                <a:gd name="T100" fmla="*/ 48571804 w 524"/>
                <a:gd name="T101" fmla="*/ 127712564 h 505"/>
                <a:gd name="T102" fmla="*/ 49831080 w 524"/>
                <a:gd name="T103" fmla="*/ 130980274 h 505"/>
                <a:gd name="T104" fmla="*/ 51630287 w 524"/>
                <a:gd name="T105" fmla="*/ 133158922 h 505"/>
                <a:gd name="T106" fmla="*/ 55227853 w 524"/>
                <a:gd name="T107" fmla="*/ 135337047 h 505"/>
                <a:gd name="T108" fmla="*/ 59005678 w 524"/>
                <a:gd name="T109" fmla="*/ 136970902 h 505"/>
                <a:gd name="T110" fmla="*/ 60264954 w 524"/>
                <a:gd name="T111" fmla="*/ 136154235 h 505"/>
                <a:gd name="T112" fmla="*/ 62243997 w 524"/>
                <a:gd name="T113" fmla="*/ 135881839 h 505"/>
                <a:gd name="T114" fmla="*/ 65841987 w 524"/>
                <a:gd name="T115" fmla="*/ 136970902 h 505"/>
                <a:gd name="T116" fmla="*/ 68900045 w 524"/>
                <a:gd name="T117" fmla="*/ 137515694 h 505"/>
                <a:gd name="T118" fmla="*/ 78614575 w 524"/>
                <a:gd name="T119" fmla="*/ 137515694 h 505"/>
                <a:gd name="T120" fmla="*/ 83651677 w 524"/>
                <a:gd name="T121" fmla="*/ 122266207 h 505"/>
                <a:gd name="T122" fmla="*/ 88508518 w 524"/>
                <a:gd name="T123" fmla="*/ 11899849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US"/>
            </a:p>
          </p:txBody>
        </p:sp>
        <p:sp>
          <p:nvSpPr>
            <p:cNvPr id="199" name="Freeform 260">
              <a:extLst>
                <a:ext uri="{FF2B5EF4-FFF2-40B4-BE49-F238E27FC236}">
                  <a16:creationId xmlns:a16="http://schemas.microsoft.com/office/drawing/2014/main" id="{72A40F47-EB11-42F7-A446-D4E4FE7BCE45}"/>
                </a:ext>
              </a:extLst>
            </p:cNvPr>
            <p:cNvSpPr>
              <a:spLocks/>
            </p:cNvSpPr>
            <p:nvPr>
              <p:custDataLst>
                <p:tags r:id="rId187"/>
              </p:custDataLst>
            </p:nvPr>
          </p:nvSpPr>
          <p:spPr bwMode="auto">
            <a:xfrm>
              <a:off x="5448300" y="2787650"/>
              <a:ext cx="331788" cy="290513"/>
            </a:xfrm>
            <a:custGeom>
              <a:avLst/>
              <a:gdLst>
                <a:gd name="T0" fmla="*/ 11692921 w 764"/>
                <a:gd name="T1" fmla="*/ 53702844 h 555"/>
                <a:gd name="T2" fmla="*/ 17539599 w 764"/>
                <a:gd name="T3" fmla="*/ 52059227 h 555"/>
                <a:gd name="T4" fmla="*/ 24140617 w 764"/>
                <a:gd name="T5" fmla="*/ 49867039 h 555"/>
                <a:gd name="T6" fmla="*/ 33004655 w 764"/>
                <a:gd name="T7" fmla="*/ 41373096 h 555"/>
                <a:gd name="T8" fmla="*/ 36587878 w 764"/>
                <a:gd name="T9" fmla="*/ 34523295 h 555"/>
                <a:gd name="T10" fmla="*/ 37530695 w 764"/>
                <a:gd name="T11" fmla="*/ 24111449 h 555"/>
                <a:gd name="T12" fmla="*/ 39228285 w 764"/>
                <a:gd name="T13" fmla="*/ 18905788 h 555"/>
                <a:gd name="T14" fmla="*/ 45263440 w 764"/>
                <a:gd name="T15" fmla="*/ 16439839 h 555"/>
                <a:gd name="T16" fmla="*/ 55447681 w 764"/>
                <a:gd name="T17" fmla="*/ 16987885 h 555"/>
                <a:gd name="T18" fmla="*/ 62048264 w 764"/>
                <a:gd name="T19" fmla="*/ 19453835 h 555"/>
                <a:gd name="T20" fmla="*/ 68271895 w 764"/>
                <a:gd name="T21" fmla="*/ 24659496 h 555"/>
                <a:gd name="T22" fmla="*/ 72798369 w 764"/>
                <a:gd name="T23" fmla="*/ 25481305 h 555"/>
                <a:gd name="T24" fmla="*/ 79022000 w 764"/>
                <a:gd name="T25" fmla="*/ 23015355 h 555"/>
                <a:gd name="T26" fmla="*/ 86754745 w 764"/>
                <a:gd name="T27" fmla="*/ 16713600 h 555"/>
                <a:gd name="T28" fmla="*/ 90337969 w 764"/>
                <a:gd name="T29" fmla="*/ 9041990 h 555"/>
                <a:gd name="T30" fmla="*/ 95807259 w 764"/>
                <a:gd name="T31" fmla="*/ 1096094 h 555"/>
                <a:gd name="T32" fmla="*/ 99956346 w 764"/>
                <a:gd name="T33" fmla="*/ 5205661 h 555"/>
                <a:gd name="T34" fmla="*/ 103728481 w 764"/>
                <a:gd name="T35" fmla="*/ 12329748 h 555"/>
                <a:gd name="T36" fmla="*/ 105803024 w 764"/>
                <a:gd name="T37" fmla="*/ 23837687 h 555"/>
                <a:gd name="T38" fmla="*/ 107500181 w 764"/>
                <a:gd name="T39" fmla="*/ 27673493 h 555"/>
                <a:gd name="T40" fmla="*/ 111083404 w 764"/>
                <a:gd name="T41" fmla="*/ 28495301 h 555"/>
                <a:gd name="T42" fmla="*/ 117307469 w 764"/>
                <a:gd name="T43" fmla="*/ 20001359 h 555"/>
                <a:gd name="T44" fmla="*/ 140127448 w 764"/>
                <a:gd name="T45" fmla="*/ 18083456 h 555"/>
                <a:gd name="T46" fmla="*/ 143145242 w 764"/>
                <a:gd name="T47" fmla="*/ 23837687 h 555"/>
                <a:gd name="T48" fmla="*/ 128057140 w 764"/>
                <a:gd name="T49" fmla="*/ 27399731 h 555"/>
                <a:gd name="T50" fmla="*/ 114101198 w 764"/>
                <a:gd name="T51" fmla="*/ 30687489 h 555"/>
                <a:gd name="T52" fmla="*/ 108254521 w 764"/>
                <a:gd name="T53" fmla="*/ 35619388 h 555"/>
                <a:gd name="T54" fmla="*/ 107688657 w 764"/>
                <a:gd name="T55" fmla="*/ 40277002 h 555"/>
                <a:gd name="T56" fmla="*/ 109763201 w 764"/>
                <a:gd name="T57" fmla="*/ 44935140 h 555"/>
                <a:gd name="T58" fmla="*/ 113346858 w 764"/>
                <a:gd name="T59" fmla="*/ 49318992 h 555"/>
                <a:gd name="T60" fmla="*/ 113912722 w 764"/>
                <a:gd name="T61" fmla="*/ 53429083 h 555"/>
                <a:gd name="T62" fmla="*/ 112026655 w 764"/>
                <a:gd name="T63" fmla="*/ 58360982 h 555"/>
                <a:gd name="T64" fmla="*/ 108254521 w 764"/>
                <a:gd name="T65" fmla="*/ 64936499 h 555"/>
                <a:gd name="T66" fmla="*/ 106557364 w 764"/>
                <a:gd name="T67" fmla="*/ 69868398 h 555"/>
                <a:gd name="T68" fmla="*/ 102219366 w 764"/>
                <a:gd name="T69" fmla="*/ 73704726 h 555"/>
                <a:gd name="T70" fmla="*/ 97881803 w 764"/>
                <a:gd name="T71" fmla="*/ 84938381 h 555"/>
                <a:gd name="T72" fmla="*/ 95807259 w 764"/>
                <a:gd name="T73" fmla="*/ 99460316 h 555"/>
                <a:gd name="T74" fmla="*/ 93732716 w 764"/>
                <a:gd name="T75" fmla="*/ 116447679 h 555"/>
                <a:gd name="T76" fmla="*/ 89960581 w 764"/>
                <a:gd name="T77" fmla="*/ 112885635 h 555"/>
                <a:gd name="T78" fmla="*/ 86754745 w 764"/>
                <a:gd name="T79" fmla="*/ 111515779 h 555"/>
                <a:gd name="T80" fmla="*/ 82794134 w 764"/>
                <a:gd name="T81" fmla="*/ 114529776 h 555"/>
                <a:gd name="T82" fmla="*/ 77513320 w 764"/>
                <a:gd name="T83" fmla="*/ 120557769 h 555"/>
                <a:gd name="T84" fmla="*/ 74118573 w 764"/>
                <a:gd name="T85" fmla="*/ 121653863 h 555"/>
                <a:gd name="T86" fmla="*/ 70723826 w 764"/>
                <a:gd name="T87" fmla="*/ 126859524 h 555"/>
                <a:gd name="T88" fmla="*/ 68837759 w 764"/>
                <a:gd name="T89" fmla="*/ 140011081 h 555"/>
                <a:gd name="T90" fmla="*/ 66008875 w 764"/>
                <a:gd name="T91" fmla="*/ 143847409 h 555"/>
                <a:gd name="T92" fmla="*/ 50921207 w 764"/>
                <a:gd name="T93" fmla="*/ 149601117 h 555"/>
                <a:gd name="T94" fmla="*/ 36587878 w 764"/>
                <a:gd name="T95" fmla="*/ 151793305 h 555"/>
                <a:gd name="T96" fmla="*/ 21311299 w 764"/>
                <a:gd name="T97" fmla="*/ 148505023 h 555"/>
                <a:gd name="T98" fmla="*/ 17916552 w 764"/>
                <a:gd name="T99" fmla="*/ 141929507 h 555"/>
                <a:gd name="T100" fmla="*/ 21688686 w 764"/>
                <a:gd name="T101" fmla="*/ 133709326 h 555"/>
                <a:gd name="T102" fmla="*/ 23574753 w 764"/>
                <a:gd name="T103" fmla="*/ 126585762 h 555"/>
                <a:gd name="T104" fmla="*/ 23197366 w 764"/>
                <a:gd name="T105" fmla="*/ 121105816 h 555"/>
                <a:gd name="T106" fmla="*/ 20934346 w 764"/>
                <a:gd name="T107" fmla="*/ 118639866 h 555"/>
                <a:gd name="T108" fmla="*/ 13013125 w 764"/>
                <a:gd name="T109" fmla="*/ 118091819 h 555"/>
                <a:gd name="T110" fmla="*/ 9806854 w 764"/>
                <a:gd name="T111" fmla="*/ 115351585 h 555"/>
                <a:gd name="T112" fmla="*/ 6412107 w 764"/>
                <a:gd name="T113" fmla="*/ 105214024 h 555"/>
                <a:gd name="T114" fmla="*/ 3583224 w 764"/>
                <a:gd name="T115" fmla="*/ 84664619 h 555"/>
                <a:gd name="T116" fmla="*/ 1886067 w 764"/>
                <a:gd name="T117" fmla="*/ 79732720 h 555"/>
                <a:gd name="T118" fmla="*/ 0 w 764"/>
                <a:gd name="T119" fmla="*/ 76718723 h 555"/>
                <a:gd name="T120" fmla="*/ 377387 w 764"/>
                <a:gd name="T121" fmla="*/ 73430441 h 555"/>
                <a:gd name="T122" fmla="*/ 4149087 w 764"/>
                <a:gd name="T123" fmla="*/ 67950495 h 555"/>
                <a:gd name="T124" fmla="*/ 6412107 w 764"/>
                <a:gd name="T125" fmla="*/ 60552646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US"/>
            </a:p>
          </p:txBody>
        </p:sp>
        <p:sp>
          <p:nvSpPr>
            <p:cNvPr id="200" name="Freeform 261">
              <a:extLst>
                <a:ext uri="{FF2B5EF4-FFF2-40B4-BE49-F238E27FC236}">
                  <a16:creationId xmlns:a16="http://schemas.microsoft.com/office/drawing/2014/main" id="{6F6D5098-44DA-4933-9622-B94152A0ADEF}"/>
                </a:ext>
              </a:extLst>
            </p:cNvPr>
            <p:cNvSpPr>
              <a:spLocks/>
            </p:cNvSpPr>
            <p:nvPr>
              <p:custDataLst>
                <p:tags r:id="rId188"/>
              </p:custDataLst>
            </p:nvPr>
          </p:nvSpPr>
          <p:spPr bwMode="auto">
            <a:xfrm>
              <a:off x="5480050" y="2836863"/>
              <a:ext cx="365125" cy="423862"/>
            </a:xfrm>
            <a:custGeom>
              <a:avLst/>
              <a:gdLst>
                <a:gd name="T0" fmla="*/ 150389759 w 831"/>
                <a:gd name="T1" fmla="*/ 22343635 h 812"/>
                <a:gd name="T2" fmla="*/ 136489964 w 831"/>
                <a:gd name="T3" fmla="*/ 7902017 h 812"/>
                <a:gd name="T4" fmla="*/ 108497048 w 831"/>
                <a:gd name="T5" fmla="*/ 2724834 h 812"/>
                <a:gd name="T6" fmla="*/ 96334562 w 831"/>
                <a:gd name="T7" fmla="*/ 7902017 h 812"/>
                <a:gd name="T8" fmla="*/ 93824822 w 831"/>
                <a:gd name="T9" fmla="*/ 13351684 h 812"/>
                <a:gd name="T10" fmla="*/ 95948347 w 831"/>
                <a:gd name="T11" fmla="*/ 19346318 h 812"/>
                <a:gd name="T12" fmla="*/ 99809621 w 831"/>
                <a:gd name="T13" fmla="*/ 24523502 h 812"/>
                <a:gd name="T14" fmla="*/ 99616294 w 831"/>
                <a:gd name="T15" fmla="*/ 30245653 h 812"/>
                <a:gd name="T16" fmla="*/ 94790141 w 831"/>
                <a:gd name="T17" fmla="*/ 38147670 h 812"/>
                <a:gd name="T18" fmla="*/ 92666616 w 831"/>
                <a:gd name="T19" fmla="*/ 44142304 h 812"/>
                <a:gd name="T20" fmla="*/ 86874705 w 831"/>
                <a:gd name="T21" fmla="*/ 50136938 h 812"/>
                <a:gd name="T22" fmla="*/ 82434328 w 831"/>
                <a:gd name="T23" fmla="*/ 66213456 h 812"/>
                <a:gd name="T24" fmla="*/ 81083234 w 831"/>
                <a:gd name="T25" fmla="*/ 90464475 h 812"/>
                <a:gd name="T26" fmla="*/ 75677539 w 831"/>
                <a:gd name="T27" fmla="*/ 86922191 h 812"/>
                <a:gd name="T28" fmla="*/ 71430489 w 831"/>
                <a:gd name="T29" fmla="*/ 85832258 h 812"/>
                <a:gd name="T30" fmla="*/ 65252802 w 831"/>
                <a:gd name="T31" fmla="*/ 92371858 h 812"/>
                <a:gd name="T32" fmla="*/ 60426210 w 831"/>
                <a:gd name="T33" fmla="*/ 95641658 h 812"/>
                <a:gd name="T34" fmla="*/ 55985833 w 831"/>
                <a:gd name="T35" fmla="*/ 100818842 h 812"/>
                <a:gd name="T36" fmla="*/ 54055196 w 831"/>
                <a:gd name="T37" fmla="*/ 115532421 h 812"/>
                <a:gd name="T38" fmla="*/ 45367770 w 831"/>
                <a:gd name="T39" fmla="*/ 120437122 h 812"/>
                <a:gd name="T40" fmla="*/ 24517858 w 831"/>
                <a:gd name="T41" fmla="*/ 125886789 h 812"/>
                <a:gd name="T42" fmla="*/ 5019480 w 831"/>
                <a:gd name="T43" fmla="*/ 122344505 h 812"/>
                <a:gd name="T44" fmla="*/ 9845633 w 831"/>
                <a:gd name="T45" fmla="*/ 137603573 h 812"/>
                <a:gd name="T46" fmla="*/ 18533499 w 831"/>
                <a:gd name="T47" fmla="*/ 147140491 h 812"/>
                <a:gd name="T48" fmla="*/ 23745867 w 831"/>
                <a:gd name="T49" fmla="*/ 157222375 h 812"/>
                <a:gd name="T50" fmla="*/ 27413813 w 831"/>
                <a:gd name="T51" fmla="*/ 162399559 h 812"/>
                <a:gd name="T52" fmla="*/ 19112602 w 831"/>
                <a:gd name="T53" fmla="*/ 176296210 h 812"/>
                <a:gd name="T54" fmla="*/ 16795750 w 831"/>
                <a:gd name="T55" fmla="*/ 182835811 h 812"/>
                <a:gd name="T56" fmla="*/ 21042800 w 831"/>
                <a:gd name="T57" fmla="*/ 196187495 h 812"/>
                <a:gd name="T58" fmla="*/ 42858030 w 831"/>
                <a:gd name="T59" fmla="*/ 193462662 h 812"/>
                <a:gd name="T60" fmla="*/ 58302685 w 831"/>
                <a:gd name="T61" fmla="*/ 192100245 h 812"/>
                <a:gd name="T62" fmla="*/ 63707941 w 831"/>
                <a:gd name="T63" fmla="*/ 196459979 h 812"/>
                <a:gd name="T64" fmla="*/ 69306964 w 831"/>
                <a:gd name="T65" fmla="*/ 205996896 h 812"/>
                <a:gd name="T66" fmla="*/ 78766382 w 831"/>
                <a:gd name="T67" fmla="*/ 213898913 h 812"/>
                <a:gd name="T68" fmla="*/ 86681817 w 831"/>
                <a:gd name="T69" fmla="*/ 218803614 h 812"/>
                <a:gd name="T70" fmla="*/ 88805342 w 831"/>
                <a:gd name="T71" fmla="*/ 215533814 h 812"/>
                <a:gd name="T72" fmla="*/ 94017710 w 831"/>
                <a:gd name="T73" fmla="*/ 210901596 h 812"/>
                <a:gd name="T74" fmla="*/ 106952626 w 831"/>
                <a:gd name="T75" fmla="*/ 208176763 h 812"/>
                <a:gd name="T76" fmla="*/ 115253837 w 831"/>
                <a:gd name="T77" fmla="*/ 204361996 h 812"/>
                <a:gd name="T78" fmla="*/ 119307999 w 831"/>
                <a:gd name="T79" fmla="*/ 198094879 h 812"/>
                <a:gd name="T80" fmla="*/ 112744097 w 831"/>
                <a:gd name="T81" fmla="*/ 190737828 h 812"/>
                <a:gd name="T82" fmla="*/ 104635774 w 831"/>
                <a:gd name="T83" fmla="*/ 174661310 h 812"/>
                <a:gd name="T84" fmla="*/ 101546931 w 831"/>
                <a:gd name="T85" fmla="*/ 170029093 h 812"/>
                <a:gd name="T86" fmla="*/ 101546931 w 831"/>
                <a:gd name="T87" fmla="*/ 157494858 h 812"/>
                <a:gd name="T88" fmla="*/ 112357882 w 831"/>
                <a:gd name="T89" fmla="*/ 153407608 h 812"/>
                <a:gd name="T90" fmla="*/ 120080429 w 831"/>
                <a:gd name="T91" fmla="*/ 144688141 h 812"/>
                <a:gd name="T92" fmla="*/ 132822018 w 831"/>
                <a:gd name="T93" fmla="*/ 113625038 h 812"/>
                <a:gd name="T94" fmla="*/ 140930341 w 831"/>
                <a:gd name="T95" fmla="*/ 100273875 h 812"/>
                <a:gd name="T96" fmla="*/ 139965023 w 831"/>
                <a:gd name="T97" fmla="*/ 89919508 h 812"/>
                <a:gd name="T98" fmla="*/ 140737014 w 831"/>
                <a:gd name="T99" fmla="*/ 83107424 h 812"/>
                <a:gd name="T100" fmla="*/ 144984503 w 831"/>
                <a:gd name="T101" fmla="*/ 78747690 h 812"/>
                <a:gd name="T102" fmla="*/ 129346959 w 831"/>
                <a:gd name="T103" fmla="*/ 56404055 h 812"/>
                <a:gd name="T104" fmla="*/ 146335597 w 831"/>
                <a:gd name="T105" fmla="*/ 38147670 h 812"/>
                <a:gd name="T106" fmla="*/ 155409239 w 831"/>
                <a:gd name="T107" fmla="*/ 33515453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US"/>
            </a:p>
          </p:txBody>
        </p:sp>
        <p:sp>
          <p:nvSpPr>
            <p:cNvPr id="201" name="Freeform 262">
              <a:extLst>
                <a:ext uri="{FF2B5EF4-FFF2-40B4-BE49-F238E27FC236}">
                  <a16:creationId xmlns:a16="http://schemas.microsoft.com/office/drawing/2014/main" id="{B6F8E09B-3DCA-42E0-B8AB-4511B982A883}"/>
                </a:ext>
              </a:extLst>
            </p:cNvPr>
            <p:cNvSpPr>
              <a:spLocks/>
            </p:cNvSpPr>
            <p:nvPr>
              <p:custDataLst>
                <p:tags r:id="rId189"/>
              </p:custDataLst>
            </p:nvPr>
          </p:nvSpPr>
          <p:spPr bwMode="auto">
            <a:xfrm>
              <a:off x="6270625" y="3105150"/>
              <a:ext cx="220663" cy="585788"/>
            </a:xfrm>
            <a:custGeom>
              <a:avLst/>
              <a:gdLst>
                <a:gd name="T0" fmla="*/ 83627781 w 505"/>
                <a:gd name="T1" fmla="*/ 291361884 h 1121"/>
                <a:gd name="T2" fmla="*/ 84582531 w 505"/>
                <a:gd name="T3" fmla="*/ 280712161 h 1121"/>
                <a:gd name="T4" fmla="*/ 76181607 w 505"/>
                <a:gd name="T5" fmla="*/ 279073943 h 1121"/>
                <a:gd name="T6" fmla="*/ 77326870 w 505"/>
                <a:gd name="T7" fmla="*/ 261324754 h 1121"/>
                <a:gd name="T8" fmla="*/ 80000169 w 505"/>
                <a:gd name="T9" fmla="*/ 254224765 h 1121"/>
                <a:gd name="T10" fmla="*/ 78854469 w 505"/>
                <a:gd name="T11" fmla="*/ 245486558 h 1121"/>
                <a:gd name="T12" fmla="*/ 75990657 w 505"/>
                <a:gd name="T13" fmla="*/ 243848340 h 1121"/>
                <a:gd name="T14" fmla="*/ 72935457 w 505"/>
                <a:gd name="T15" fmla="*/ 228829514 h 1121"/>
                <a:gd name="T16" fmla="*/ 61861670 w 505"/>
                <a:gd name="T17" fmla="*/ 196334796 h 1121"/>
                <a:gd name="T18" fmla="*/ 56515508 w 505"/>
                <a:gd name="T19" fmla="*/ 191965692 h 1121"/>
                <a:gd name="T20" fmla="*/ 53842646 w 505"/>
                <a:gd name="T21" fmla="*/ 196061498 h 1121"/>
                <a:gd name="T22" fmla="*/ 43150322 w 505"/>
                <a:gd name="T23" fmla="*/ 202615415 h 1121"/>
                <a:gd name="T24" fmla="*/ 32267485 w 505"/>
                <a:gd name="T25" fmla="*/ 200976674 h 1121"/>
                <a:gd name="T26" fmla="*/ 25393723 w 505"/>
                <a:gd name="T27" fmla="*/ 154828573 h 1121"/>
                <a:gd name="T28" fmla="*/ 19284198 w 505"/>
                <a:gd name="T29" fmla="*/ 141994560 h 1121"/>
                <a:gd name="T30" fmla="*/ 9737574 w 505"/>
                <a:gd name="T31" fmla="*/ 137079384 h 1121"/>
                <a:gd name="T32" fmla="*/ 1527600 w 505"/>
                <a:gd name="T33" fmla="*/ 128614474 h 1121"/>
                <a:gd name="T34" fmla="*/ 4391412 w 505"/>
                <a:gd name="T35" fmla="*/ 121514485 h 1121"/>
                <a:gd name="T36" fmla="*/ 11073787 w 505"/>
                <a:gd name="T37" fmla="*/ 98576822 h 1121"/>
                <a:gd name="T38" fmla="*/ 12792337 w 505"/>
                <a:gd name="T39" fmla="*/ 75639158 h 1121"/>
                <a:gd name="T40" fmla="*/ 15274686 w 505"/>
                <a:gd name="T41" fmla="*/ 72362723 h 1121"/>
                <a:gd name="T42" fmla="*/ 21575161 w 505"/>
                <a:gd name="T43" fmla="*/ 70451207 h 1121"/>
                <a:gd name="T44" fmla="*/ 25584673 w 505"/>
                <a:gd name="T45" fmla="*/ 60620855 h 1121"/>
                <a:gd name="T46" fmla="*/ 26730373 w 505"/>
                <a:gd name="T47" fmla="*/ 31948645 h 1121"/>
                <a:gd name="T48" fmla="*/ 30357985 w 505"/>
                <a:gd name="T49" fmla="*/ 26760694 h 1121"/>
                <a:gd name="T50" fmla="*/ 40668409 w 505"/>
                <a:gd name="T51" fmla="*/ 20206777 h 1121"/>
                <a:gd name="T52" fmla="*/ 44677922 w 505"/>
                <a:gd name="T53" fmla="*/ 5734546 h 1121"/>
                <a:gd name="T54" fmla="*/ 52887896 w 505"/>
                <a:gd name="T55" fmla="*/ 8464910 h 1121"/>
                <a:gd name="T56" fmla="*/ 59570271 w 505"/>
                <a:gd name="T57" fmla="*/ 13380086 h 1121"/>
                <a:gd name="T58" fmla="*/ 64343583 w 505"/>
                <a:gd name="T59" fmla="*/ 33314088 h 1121"/>
                <a:gd name="T60" fmla="*/ 63961683 w 505"/>
                <a:gd name="T61" fmla="*/ 45602029 h 1121"/>
                <a:gd name="T62" fmla="*/ 57279308 w 505"/>
                <a:gd name="T63" fmla="*/ 58982114 h 1121"/>
                <a:gd name="T64" fmla="*/ 55942659 w 505"/>
                <a:gd name="T65" fmla="*/ 66901474 h 1121"/>
                <a:gd name="T66" fmla="*/ 58997858 w 505"/>
                <a:gd name="T67" fmla="*/ 71270577 h 1121"/>
                <a:gd name="T68" fmla="*/ 66062133 w 505"/>
                <a:gd name="T69" fmla="*/ 73728166 h 1121"/>
                <a:gd name="T70" fmla="*/ 70835445 w 505"/>
                <a:gd name="T71" fmla="*/ 79462189 h 1121"/>
                <a:gd name="T72" fmla="*/ 75990657 w 505"/>
                <a:gd name="T73" fmla="*/ 94207718 h 1121"/>
                <a:gd name="T74" fmla="*/ 82100182 w 505"/>
                <a:gd name="T75" fmla="*/ 109226544 h 1121"/>
                <a:gd name="T76" fmla="*/ 88592043 w 505"/>
                <a:gd name="T77" fmla="*/ 114141720 h 1121"/>
                <a:gd name="T78" fmla="*/ 96420118 w 505"/>
                <a:gd name="T79" fmla="*/ 114141720 h 1121"/>
                <a:gd name="T80" fmla="*/ 90883006 w 505"/>
                <a:gd name="T81" fmla="*/ 134894571 h 1121"/>
                <a:gd name="T82" fmla="*/ 81527332 w 505"/>
                <a:gd name="T83" fmla="*/ 139263674 h 1121"/>
                <a:gd name="T84" fmla="*/ 73126407 w 505"/>
                <a:gd name="T85" fmla="*/ 144178850 h 1121"/>
                <a:gd name="T86" fmla="*/ 68734995 w 505"/>
                <a:gd name="T87" fmla="*/ 156194016 h 1121"/>
                <a:gd name="T88" fmla="*/ 70644495 w 505"/>
                <a:gd name="T89" fmla="*/ 173943205 h 1121"/>
                <a:gd name="T90" fmla="*/ 76754020 w 505"/>
                <a:gd name="T91" fmla="*/ 186504443 h 1121"/>
                <a:gd name="T92" fmla="*/ 82100182 w 505"/>
                <a:gd name="T93" fmla="*/ 200703899 h 1121"/>
                <a:gd name="T94" fmla="*/ 81718282 w 505"/>
                <a:gd name="T95" fmla="*/ 211899694 h 1121"/>
                <a:gd name="T96" fmla="*/ 80000169 w 505"/>
                <a:gd name="T97" fmla="*/ 218726386 h 1121"/>
                <a:gd name="T98" fmla="*/ 83054931 w 505"/>
                <a:gd name="T99" fmla="*/ 232379247 h 1121"/>
                <a:gd name="T100" fmla="*/ 92219656 w 505"/>
                <a:gd name="T101" fmla="*/ 263509045 h 1121"/>
                <a:gd name="T102" fmla="*/ 87446344 w 505"/>
                <a:gd name="T103" fmla="*/ 295457690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2" name="Freeform 263">
              <a:extLst>
                <a:ext uri="{FF2B5EF4-FFF2-40B4-BE49-F238E27FC236}">
                  <a16:creationId xmlns:a16="http://schemas.microsoft.com/office/drawing/2014/main" id="{8671D4B2-79CE-4F45-888F-447CB146A5CF}"/>
                </a:ext>
              </a:extLst>
            </p:cNvPr>
            <p:cNvSpPr>
              <a:spLocks/>
            </p:cNvSpPr>
            <p:nvPr>
              <p:custDataLst>
                <p:tags r:id="rId190"/>
              </p:custDataLst>
            </p:nvPr>
          </p:nvSpPr>
          <p:spPr bwMode="auto">
            <a:xfrm>
              <a:off x="3594100" y="3614738"/>
              <a:ext cx="80963" cy="58737"/>
            </a:xfrm>
            <a:custGeom>
              <a:avLst/>
              <a:gdLst>
                <a:gd name="T0" fmla="*/ 36416708 w 180"/>
                <a:gd name="T1" fmla="*/ 1925243 h 112"/>
                <a:gd name="T2" fmla="*/ 34595940 w 180"/>
                <a:gd name="T3" fmla="*/ 6601207 h 112"/>
                <a:gd name="T4" fmla="*/ 32977129 w 180"/>
                <a:gd name="T5" fmla="*/ 10726503 h 112"/>
                <a:gd name="T6" fmla="*/ 30751996 w 180"/>
                <a:gd name="T7" fmla="*/ 14577513 h 112"/>
                <a:gd name="T8" fmla="*/ 28526413 w 180"/>
                <a:gd name="T9" fmla="*/ 18152664 h 112"/>
                <a:gd name="T10" fmla="*/ 26098423 w 180"/>
                <a:gd name="T11" fmla="*/ 22003674 h 112"/>
                <a:gd name="T12" fmla="*/ 23266067 w 180"/>
                <a:gd name="T13" fmla="*/ 25304016 h 112"/>
                <a:gd name="T14" fmla="*/ 20433712 w 180"/>
                <a:gd name="T15" fmla="*/ 28054737 h 112"/>
                <a:gd name="T16" fmla="*/ 17601356 w 180"/>
                <a:gd name="T17" fmla="*/ 30804934 h 112"/>
                <a:gd name="T18" fmla="*/ 16589768 w 180"/>
                <a:gd name="T19" fmla="*/ 29429836 h 112"/>
                <a:gd name="T20" fmla="*/ 15982996 w 180"/>
                <a:gd name="T21" fmla="*/ 27779403 h 112"/>
                <a:gd name="T22" fmla="*/ 15375773 w 180"/>
                <a:gd name="T23" fmla="*/ 26128970 h 112"/>
                <a:gd name="T24" fmla="*/ 14971408 w 180"/>
                <a:gd name="T25" fmla="*/ 24203727 h 112"/>
                <a:gd name="T26" fmla="*/ 14162228 w 180"/>
                <a:gd name="T27" fmla="*/ 22278484 h 112"/>
                <a:gd name="T28" fmla="*/ 13757413 w 180"/>
                <a:gd name="T29" fmla="*/ 20353241 h 112"/>
                <a:gd name="T30" fmla="*/ 13150640 w 180"/>
                <a:gd name="T31" fmla="*/ 18978143 h 112"/>
                <a:gd name="T32" fmla="*/ 12139052 w 180"/>
                <a:gd name="T33" fmla="*/ 17327710 h 112"/>
                <a:gd name="T34" fmla="*/ 9104289 w 180"/>
                <a:gd name="T35" fmla="*/ 13201890 h 112"/>
                <a:gd name="T36" fmla="*/ 7283521 w 180"/>
                <a:gd name="T37" fmla="*/ 10451693 h 112"/>
                <a:gd name="T38" fmla="*/ 6069526 w 180"/>
                <a:gd name="T39" fmla="*/ 9076594 h 112"/>
                <a:gd name="T40" fmla="*/ 5057939 w 180"/>
                <a:gd name="T41" fmla="*/ 8526450 h 112"/>
                <a:gd name="T42" fmla="*/ 3641536 w 180"/>
                <a:gd name="T43" fmla="*/ 8251116 h 112"/>
                <a:gd name="T44" fmla="*/ 0 w 180"/>
                <a:gd name="T45" fmla="*/ 7151352 h 112"/>
                <a:gd name="T46" fmla="*/ 5260346 w 180"/>
                <a:gd name="T47" fmla="*/ 3850486 h 112"/>
                <a:gd name="T48" fmla="*/ 8295109 w 180"/>
                <a:gd name="T49" fmla="*/ 2475387 h 112"/>
                <a:gd name="T50" fmla="*/ 11329422 w 180"/>
                <a:gd name="T51" fmla="*/ 1375099 h 112"/>
                <a:gd name="T52" fmla="*/ 14971408 w 180"/>
                <a:gd name="T53" fmla="*/ 824954 h 112"/>
                <a:gd name="T54" fmla="*/ 18815351 w 180"/>
                <a:gd name="T55" fmla="*/ 274810 h 112"/>
                <a:gd name="T56" fmla="*/ 23064110 w 180"/>
                <a:gd name="T57" fmla="*/ 0 h 112"/>
                <a:gd name="T58" fmla="*/ 27312418 w 180"/>
                <a:gd name="T59" fmla="*/ 274810 h 112"/>
                <a:gd name="T60" fmla="*/ 31763584 w 180"/>
                <a:gd name="T61" fmla="*/ 824954 h 112"/>
                <a:gd name="T62" fmla="*/ 36416708 w 180"/>
                <a:gd name="T63" fmla="*/ 1925243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US"/>
            </a:p>
          </p:txBody>
        </p:sp>
        <p:sp>
          <p:nvSpPr>
            <p:cNvPr id="203" name="Freeform 264">
              <a:extLst>
                <a:ext uri="{FF2B5EF4-FFF2-40B4-BE49-F238E27FC236}">
                  <a16:creationId xmlns:a16="http://schemas.microsoft.com/office/drawing/2014/main" id="{0A883EDA-5C71-4BD7-A58D-ADA97EC49A6B}"/>
                </a:ext>
              </a:extLst>
            </p:cNvPr>
            <p:cNvSpPr>
              <a:spLocks/>
            </p:cNvSpPr>
            <p:nvPr>
              <p:custDataLst>
                <p:tags r:id="rId191"/>
              </p:custDataLst>
            </p:nvPr>
          </p:nvSpPr>
          <p:spPr bwMode="auto">
            <a:xfrm>
              <a:off x="3678238" y="3697288"/>
              <a:ext cx="74612" cy="100012"/>
            </a:xfrm>
            <a:custGeom>
              <a:avLst/>
              <a:gdLst>
                <a:gd name="T0" fmla="*/ 0 w 173"/>
                <a:gd name="T1" fmla="*/ 18450836 h 192"/>
                <a:gd name="T2" fmla="*/ 5022293 w 173"/>
                <a:gd name="T3" fmla="*/ 11396273 h 192"/>
                <a:gd name="T4" fmla="*/ 9486075 w 173"/>
                <a:gd name="T5" fmla="*/ 5698136 h 192"/>
                <a:gd name="T6" fmla="*/ 10416353 w 173"/>
                <a:gd name="T7" fmla="*/ 4341189 h 192"/>
                <a:gd name="T8" fmla="*/ 11718397 w 173"/>
                <a:gd name="T9" fmla="*/ 3256152 h 192"/>
                <a:gd name="T10" fmla="*/ 13020441 w 173"/>
                <a:gd name="T11" fmla="*/ 2170595 h 192"/>
                <a:gd name="T12" fmla="*/ 14136602 w 173"/>
                <a:gd name="T13" fmla="*/ 1627816 h 192"/>
                <a:gd name="T14" fmla="*/ 15438646 w 173"/>
                <a:gd name="T15" fmla="*/ 814168 h 192"/>
                <a:gd name="T16" fmla="*/ 16740259 w 173"/>
                <a:gd name="T17" fmla="*/ 542779 h 192"/>
                <a:gd name="T18" fmla="*/ 18228617 w 173"/>
                <a:gd name="T19" fmla="*/ 271389 h 192"/>
                <a:gd name="T20" fmla="*/ 19902428 w 173"/>
                <a:gd name="T21" fmla="*/ 0 h 192"/>
                <a:gd name="T22" fmla="*/ 21576669 w 173"/>
                <a:gd name="T23" fmla="*/ 271389 h 192"/>
                <a:gd name="T24" fmla="*/ 23064596 w 173"/>
                <a:gd name="T25" fmla="*/ 542779 h 192"/>
                <a:gd name="T26" fmla="*/ 24552523 w 173"/>
                <a:gd name="T27" fmla="*/ 1356947 h 192"/>
                <a:gd name="T28" fmla="*/ 25854567 w 173"/>
                <a:gd name="T29" fmla="*/ 2170595 h 192"/>
                <a:gd name="T30" fmla="*/ 26970729 w 173"/>
                <a:gd name="T31" fmla="*/ 3527542 h 192"/>
                <a:gd name="T32" fmla="*/ 28086890 w 173"/>
                <a:gd name="T33" fmla="*/ 5155358 h 192"/>
                <a:gd name="T34" fmla="*/ 28830853 w 173"/>
                <a:gd name="T35" fmla="*/ 6512305 h 192"/>
                <a:gd name="T36" fmla="*/ 29760700 w 173"/>
                <a:gd name="T37" fmla="*/ 8140121 h 192"/>
                <a:gd name="T38" fmla="*/ 30318780 w 173"/>
                <a:gd name="T39" fmla="*/ 10039326 h 192"/>
                <a:gd name="T40" fmla="*/ 30876861 w 173"/>
                <a:gd name="T41" fmla="*/ 11667662 h 192"/>
                <a:gd name="T42" fmla="*/ 31249058 w 173"/>
                <a:gd name="T43" fmla="*/ 13566868 h 192"/>
                <a:gd name="T44" fmla="*/ 31434941 w 173"/>
                <a:gd name="T45" fmla="*/ 15466073 h 192"/>
                <a:gd name="T46" fmla="*/ 31993022 w 173"/>
                <a:gd name="T47" fmla="*/ 19536394 h 192"/>
                <a:gd name="T48" fmla="*/ 32178905 w 173"/>
                <a:gd name="T49" fmla="*/ 23606193 h 192"/>
                <a:gd name="T50" fmla="*/ 29202619 w 173"/>
                <a:gd name="T51" fmla="*/ 30932667 h 192"/>
                <a:gd name="T52" fmla="*/ 27156612 w 173"/>
                <a:gd name="T53" fmla="*/ 37173061 h 192"/>
                <a:gd name="T54" fmla="*/ 25854567 w 173"/>
                <a:gd name="T55" fmla="*/ 40157824 h 192"/>
                <a:gd name="T56" fmla="*/ 24180757 w 173"/>
                <a:gd name="T57" fmla="*/ 43413976 h 192"/>
                <a:gd name="T58" fmla="*/ 21762552 w 173"/>
                <a:gd name="T59" fmla="*/ 47212908 h 192"/>
                <a:gd name="T60" fmla="*/ 18414500 w 173"/>
                <a:gd name="T61" fmla="*/ 52096876 h 192"/>
                <a:gd name="T62" fmla="*/ 15996295 w 173"/>
                <a:gd name="T63" fmla="*/ 49654892 h 192"/>
                <a:gd name="T64" fmla="*/ 13764405 w 173"/>
                <a:gd name="T65" fmla="*/ 47755687 h 192"/>
                <a:gd name="T66" fmla="*/ 11718397 w 173"/>
                <a:gd name="T67" fmla="*/ 45855961 h 192"/>
                <a:gd name="T68" fmla="*/ 10044155 w 173"/>
                <a:gd name="T69" fmla="*/ 44228145 h 192"/>
                <a:gd name="T70" fmla="*/ 8556228 w 173"/>
                <a:gd name="T71" fmla="*/ 42328940 h 192"/>
                <a:gd name="T72" fmla="*/ 7440067 w 173"/>
                <a:gd name="T73" fmla="*/ 40700603 h 192"/>
                <a:gd name="T74" fmla="*/ 6324337 w 173"/>
                <a:gd name="T75" fmla="*/ 39072787 h 192"/>
                <a:gd name="T76" fmla="*/ 5579943 w 173"/>
                <a:gd name="T77" fmla="*/ 37173061 h 192"/>
                <a:gd name="T78" fmla="*/ 4092015 w 173"/>
                <a:gd name="T79" fmla="*/ 33374651 h 192"/>
                <a:gd name="T80" fmla="*/ 2976286 w 173"/>
                <a:gd name="T81" fmla="*/ 29032940 h 192"/>
                <a:gd name="T82" fmla="*/ 1674242 w 173"/>
                <a:gd name="T83" fmla="*/ 24420362 h 192"/>
                <a:gd name="T84" fmla="*/ 0 w 173"/>
                <a:gd name="T85" fmla="*/ 18450836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US"/>
            </a:p>
          </p:txBody>
        </p:sp>
        <p:sp>
          <p:nvSpPr>
            <p:cNvPr id="204" name="Freeform 265">
              <a:extLst>
                <a:ext uri="{FF2B5EF4-FFF2-40B4-BE49-F238E27FC236}">
                  <a16:creationId xmlns:a16="http://schemas.microsoft.com/office/drawing/2014/main" id="{473A8DA4-3ADB-4987-9693-FBF43633DA6A}"/>
                </a:ext>
              </a:extLst>
            </p:cNvPr>
            <p:cNvSpPr>
              <a:spLocks/>
            </p:cNvSpPr>
            <p:nvPr>
              <p:custDataLst>
                <p:tags r:id="rId192"/>
              </p:custDataLst>
            </p:nvPr>
          </p:nvSpPr>
          <p:spPr bwMode="auto">
            <a:xfrm>
              <a:off x="3721100" y="3748088"/>
              <a:ext cx="104775" cy="131762"/>
            </a:xfrm>
            <a:custGeom>
              <a:avLst/>
              <a:gdLst>
                <a:gd name="T0" fmla="*/ 14963489 w 233"/>
                <a:gd name="T1" fmla="*/ 0 h 252"/>
                <a:gd name="T2" fmla="*/ 16783336 w 233"/>
                <a:gd name="T3" fmla="*/ 546921 h 252"/>
                <a:gd name="T4" fmla="*/ 17996568 w 233"/>
                <a:gd name="T5" fmla="*/ 820382 h 252"/>
                <a:gd name="T6" fmla="*/ 19209799 w 233"/>
                <a:gd name="T7" fmla="*/ 820382 h 252"/>
                <a:gd name="T8" fmla="*/ 20018770 w 233"/>
                <a:gd name="T9" fmla="*/ 546921 h 252"/>
                <a:gd name="T10" fmla="*/ 21434357 w 233"/>
                <a:gd name="T11" fmla="*/ 273461 h 252"/>
                <a:gd name="T12" fmla="*/ 22849944 w 233"/>
                <a:gd name="T13" fmla="*/ 0 h 252"/>
                <a:gd name="T14" fmla="*/ 25276407 w 233"/>
                <a:gd name="T15" fmla="*/ 4647783 h 252"/>
                <a:gd name="T16" fmla="*/ 28309486 w 233"/>
                <a:gd name="T17" fmla="*/ 10115425 h 252"/>
                <a:gd name="T18" fmla="*/ 29118456 w 233"/>
                <a:gd name="T19" fmla="*/ 11482727 h 252"/>
                <a:gd name="T20" fmla="*/ 29926978 w 233"/>
                <a:gd name="T21" fmla="*/ 12576046 h 252"/>
                <a:gd name="T22" fmla="*/ 30938304 w 233"/>
                <a:gd name="T23" fmla="*/ 13396428 h 252"/>
                <a:gd name="T24" fmla="*/ 31746825 w 233"/>
                <a:gd name="T25" fmla="*/ 14216287 h 252"/>
                <a:gd name="T26" fmla="*/ 32960506 w 233"/>
                <a:gd name="T27" fmla="*/ 14763208 h 252"/>
                <a:gd name="T28" fmla="*/ 33971383 w 233"/>
                <a:gd name="T29" fmla="*/ 15310129 h 252"/>
                <a:gd name="T30" fmla="*/ 35184614 w 233"/>
                <a:gd name="T31" fmla="*/ 15310129 h 252"/>
                <a:gd name="T32" fmla="*/ 36397846 w 233"/>
                <a:gd name="T33" fmla="*/ 15310129 h 252"/>
                <a:gd name="T34" fmla="*/ 36397846 w 233"/>
                <a:gd name="T35" fmla="*/ 21871612 h 252"/>
                <a:gd name="T36" fmla="*/ 39026664 w 233"/>
                <a:gd name="T37" fmla="*/ 28159635 h 252"/>
                <a:gd name="T38" fmla="*/ 42868714 w 233"/>
                <a:gd name="T39" fmla="*/ 34994057 h 252"/>
                <a:gd name="T40" fmla="*/ 43475330 w 233"/>
                <a:gd name="T41" fmla="*/ 36907757 h 252"/>
                <a:gd name="T42" fmla="*/ 44486206 w 233"/>
                <a:gd name="T43" fmla="*/ 38821458 h 252"/>
                <a:gd name="T44" fmla="*/ 45092822 w 233"/>
                <a:gd name="T45" fmla="*/ 41282080 h 252"/>
                <a:gd name="T46" fmla="*/ 45699437 w 233"/>
                <a:gd name="T47" fmla="*/ 43742702 h 252"/>
                <a:gd name="T48" fmla="*/ 46508408 w 233"/>
                <a:gd name="T49" fmla="*/ 46476784 h 252"/>
                <a:gd name="T50" fmla="*/ 46912669 w 233"/>
                <a:gd name="T51" fmla="*/ 49210343 h 252"/>
                <a:gd name="T52" fmla="*/ 47115024 w 233"/>
                <a:gd name="T53" fmla="*/ 52217886 h 252"/>
                <a:gd name="T54" fmla="*/ 47115024 w 233"/>
                <a:gd name="T55" fmla="*/ 55771827 h 252"/>
                <a:gd name="T56" fmla="*/ 46912669 w 233"/>
                <a:gd name="T57" fmla="*/ 59052830 h 252"/>
                <a:gd name="T58" fmla="*/ 46508408 w 233"/>
                <a:gd name="T59" fmla="*/ 62333311 h 252"/>
                <a:gd name="T60" fmla="*/ 45901793 w 233"/>
                <a:gd name="T61" fmla="*/ 65614314 h 252"/>
                <a:gd name="T62" fmla="*/ 45699437 w 233"/>
                <a:gd name="T63" fmla="*/ 68894794 h 252"/>
                <a:gd name="T64" fmla="*/ 44890916 w 233"/>
                <a:gd name="T65" fmla="*/ 68894794 h 252"/>
                <a:gd name="T66" fmla="*/ 43475330 w 233"/>
                <a:gd name="T67" fmla="*/ 68347873 h 252"/>
                <a:gd name="T68" fmla="*/ 42059743 w 233"/>
                <a:gd name="T69" fmla="*/ 67254554 h 252"/>
                <a:gd name="T70" fmla="*/ 40037540 w 233"/>
                <a:gd name="T71" fmla="*/ 65887252 h 252"/>
                <a:gd name="T72" fmla="*/ 35588875 w 233"/>
                <a:gd name="T73" fmla="*/ 61786390 h 252"/>
                <a:gd name="T74" fmla="*/ 30533593 w 233"/>
                <a:gd name="T75" fmla="*/ 56865669 h 252"/>
                <a:gd name="T76" fmla="*/ 25276407 w 233"/>
                <a:gd name="T77" fmla="*/ 50851106 h 252"/>
                <a:gd name="T78" fmla="*/ 20221125 w 233"/>
                <a:gd name="T79" fmla="*/ 45109481 h 252"/>
                <a:gd name="T80" fmla="*/ 15772460 w 233"/>
                <a:gd name="T81" fmla="*/ 39641840 h 252"/>
                <a:gd name="T82" fmla="*/ 12334671 w 233"/>
                <a:gd name="T83" fmla="*/ 35267517 h 252"/>
                <a:gd name="T84" fmla="*/ 11121439 w 233"/>
                <a:gd name="T85" fmla="*/ 34174198 h 252"/>
                <a:gd name="T86" fmla="*/ 9706302 w 233"/>
                <a:gd name="T87" fmla="*/ 32806896 h 252"/>
                <a:gd name="T88" fmla="*/ 8290715 w 233"/>
                <a:gd name="T89" fmla="*/ 31713576 h 252"/>
                <a:gd name="T90" fmla="*/ 6672773 w 233"/>
                <a:gd name="T91" fmla="*/ 30619734 h 252"/>
                <a:gd name="T92" fmla="*/ 3437789 w 233"/>
                <a:gd name="T93" fmla="*/ 28432573 h 252"/>
                <a:gd name="T94" fmla="*/ 0 w 233"/>
                <a:gd name="T95" fmla="*/ 27065793 h 252"/>
                <a:gd name="T96" fmla="*/ 8088360 w 233"/>
                <a:gd name="T97" fmla="*/ 17223829 h 252"/>
                <a:gd name="T98" fmla="*/ 11930410 w 233"/>
                <a:gd name="T99" fmla="*/ 11755665 h 252"/>
                <a:gd name="T100" fmla="*/ 13143642 w 233"/>
                <a:gd name="T101" fmla="*/ 9022105 h 252"/>
                <a:gd name="T102" fmla="*/ 13952612 w 233"/>
                <a:gd name="T103" fmla="*/ 6834944 h 252"/>
                <a:gd name="T104" fmla="*/ 14559228 w 233"/>
                <a:gd name="T105" fmla="*/ 3827401 h 252"/>
                <a:gd name="T106" fmla="*/ 14963489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US"/>
            </a:p>
          </p:txBody>
        </p:sp>
        <p:sp>
          <p:nvSpPr>
            <p:cNvPr id="205" name="Freeform 266">
              <a:extLst>
                <a:ext uri="{FF2B5EF4-FFF2-40B4-BE49-F238E27FC236}">
                  <a16:creationId xmlns:a16="http://schemas.microsoft.com/office/drawing/2014/main" id="{661555D9-C394-4721-9A2C-7FFDBD174F19}"/>
                </a:ext>
              </a:extLst>
            </p:cNvPr>
            <p:cNvSpPr>
              <a:spLocks/>
            </p:cNvSpPr>
            <p:nvPr>
              <p:custDataLst>
                <p:tags r:id="rId193"/>
              </p:custDataLst>
            </p:nvPr>
          </p:nvSpPr>
          <p:spPr bwMode="auto">
            <a:xfrm>
              <a:off x="3935413" y="3667125"/>
              <a:ext cx="104775" cy="201613"/>
            </a:xfrm>
            <a:custGeom>
              <a:avLst/>
              <a:gdLst>
                <a:gd name="T0" fmla="*/ 2358289 w 246"/>
                <a:gd name="T1" fmla="*/ 105840994 h 380"/>
                <a:gd name="T2" fmla="*/ 2539729 w 246"/>
                <a:gd name="T3" fmla="*/ 103307580 h 380"/>
                <a:gd name="T4" fmla="*/ 2721169 w 246"/>
                <a:gd name="T5" fmla="*/ 101055362 h 380"/>
                <a:gd name="T6" fmla="*/ 3265062 w 246"/>
                <a:gd name="T7" fmla="*/ 98803675 h 380"/>
                <a:gd name="T8" fmla="*/ 3627941 w 246"/>
                <a:gd name="T9" fmla="*/ 96833182 h 380"/>
                <a:gd name="T10" fmla="*/ 4535139 w 246"/>
                <a:gd name="T11" fmla="*/ 93736847 h 380"/>
                <a:gd name="T12" fmla="*/ 4716579 w 246"/>
                <a:gd name="T13" fmla="*/ 92047550 h 380"/>
                <a:gd name="T14" fmla="*/ 4535139 w 246"/>
                <a:gd name="T15" fmla="*/ 90358784 h 380"/>
                <a:gd name="T16" fmla="*/ 4172260 w 246"/>
                <a:gd name="T17" fmla="*/ 88388292 h 380"/>
                <a:gd name="T18" fmla="*/ 3446501 w 246"/>
                <a:gd name="T19" fmla="*/ 85854879 h 380"/>
                <a:gd name="T20" fmla="*/ 2358289 w 246"/>
                <a:gd name="T21" fmla="*/ 83040269 h 380"/>
                <a:gd name="T22" fmla="*/ 1632531 w 246"/>
                <a:gd name="T23" fmla="*/ 80225129 h 380"/>
                <a:gd name="T24" fmla="*/ 725759 w 246"/>
                <a:gd name="T25" fmla="*/ 77409989 h 380"/>
                <a:gd name="T26" fmla="*/ 181440 w 246"/>
                <a:gd name="T27" fmla="*/ 75158301 h 380"/>
                <a:gd name="T28" fmla="*/ 0 w 246"/>
                <a:gd name="T29" fmla="*/ 72906083 h 380"/>
                <a:gd name="T30" fmla="*/ 181440 w 246"/>
                <a:gd name="T31" fmla="*/ 70654395 h 380"/>
                <a:gd name="T32" fmla="*/ 362879 w 246"/>
                <a:gd name="T33" fmla="*/ 68402707 h 380"/>
                <a:gd name="T34" fmla="*/ 544319 w 246"/>
                <a:gd name="T35" fmla="*/ 66432215 h 380"/>
                <a:gd name="T36" fmla="*/ 1088212 w 246"/>
                <a:gd name="T37" fmla="*/ 64742919 h 380"/>
                <a:gd name="T38" fmla="*/ 1995410 w 246"/>
                <a:gd name="T39" fmla="*/ 61365387 h 380"/>
                <a:gd name="T40" fmla="*/ 3446501 w 246"/>
                <a:gd name="T41" fmla="*/ 58268521 h 380"/>
                <a:gd name="T42" fmla="*/ 4716579 w 246"/>
                <a:gd name="T43" fmla="*/ 55453911 h 380"/>
                <a:gd name="T44" fmla="*/ 6167670 w 246"/>
                <a:gd name="T45" fmla="*/ 52075849 h 380"/>
                <a:gd name="T46" fmla="*/ 7437747 w 246"/>
                <a:gd name="T47" fmla="*/ 48698317 h 380"/>
                <a:gd name="T48" fmla="*/ 8525959 w 246"/>
                <a:gd name="T49" fmla="*/ 45038529 h 380"/>
                <a:gd name="T50" fmla="*/ 4716579 w 246"/>
                <a:gd name="T51" fmla="*/ 20549038 h 380"/>
                <a:gd name="T52" fmla="*/ 4716579 w 246"/>
                <a:gd name="T53" fmla="*/ 14074640 h 380"/>
                <a:gd name="T54" fmla="*/ 4353699 w 246"/>
                <a:gd name="T55" fmla="*/ 9289008 h 380"/>
                <a:gd name="T56" fmla="*/ 4353699 w 246"/>
                <a:gd name="T57" fmla="*/ 7037320 h 380"/>
                <a:gd name="T58" fmla="*/ 4353699 w 246"/>
                <a:gd name="T59" fmla="*/ 4503906 h 380"/>
                <a:gd name="T60" fmla="*/ 4535139 w 246"/>
                <a:gd name="T61" fmla="*/ 2251688 h 380"/>
                <a:gd name="T62" fmla="*/ 4716579 w 246"/>
                <a:gd name="T63" fmla="*/ 0 h 380"/>
                <a:gd name="T64" fmla="*/ 32652745 w 246"/>
                <a:gd name="T65" fmla="*/ 0 h 380"/>
                <a:gd name="T66" fmla="*/ 39908627 w 246"/>
                <a:gd name="T67" fmla="*/ 36312443 h 380"/>
                <a:gd name="T68" fmla="*/ 39908627 w 246"/>
                <a:gd name="T69" fmla="*/ 59113169 h 380"/>
                <a:gd name="T70" fmla="*/ 39908627 w 246"/>
                <a:gd name="T71" fmla="*/ 61928309 h 380"/>
                <a:gd name="T72" fmla="*/ 40090067 w 246"/>
                <a:gd name="T73" fmla="*/ 64742919 h 380"/>
                <a:gd name="T74" fmla="*/ 40452946 w 246"/>
                <a:gd name="T75" fmla="*/ 67558059 h 380"/>
                <a:gd name="T76" fmla="*/ 40815825 w 246"/>
                <a:gd name="T77" fmla="*/ 70372669 h 380"/>
                <a:gd name="T78" fmla="*/ 41360144 w 246"/>
                <a:gd name="T79" fmla="*/ 72906083 h 380"/>
                <a:gd name="T80" fmla="*/ 42448356 w 246"/>
                <a:gd name="T81" fmla="*/ 75440027 h 380"/>
                <a:gd name="T82" fmla="*/ 43355554 w 246"/>
                <a:gd name="T83" fmla="*/ 78254637 h 380"/>
                <a:gd name="T84" fmla="*/ 44625206 w 246"/>
                <a:gd name="T85" fmla="*/ 81350973 h 380"/>
                <a:gd name="T86" fmla="*/ 40634386 w 246"/>
                <a:gd name="T87" fmla="*/ 83040269 h 380"/>
                <a:gd name="T88" fmla="*/ 36643566 w 246"/>
                <a:gd name="T89" fmla="*/ 85010230 h 380"/>
                <a:gd name="T90" fmla="*/ 32834185 w 246"/>
                <a:gd name="T91" fmla="*/ 87262449 h 380"/>
                <a:gd name="T92" fmla="*/ 29024379 w 246"/>
                <a:gd name="T93" fmla="*/ 89795863 h 380"/>
                <a:gd name="T94" fmla="*/ 25577877 w 246"/>
                <a:gd name="T95" fmla="*/ 92329277 h 380"/>
                <a:gd name="T96" fmla="*/ 21768497 w 246"/>
                <a:gd name="T97" fmla="*/ 95144417 h 380"/>
                <a:gd name="T98" fmla="*/ 18140130 w 246"/>
                <a:gd name="T99" fmla="*/ 97677831 h 380"/>
                <a:gd name="T100" fmla="*/ 14512189 w 246"/>
                <a:gd name="T101" fmla="*/ 100774167 h 380"/>
                <a:gd name="T102" fmla="*/ 13605417 w 246"/>
                <a:gd name="T103" fmla="*/ 102181737 h 380"/>
                <a:gd name="T104" fmla="*/ 12516779 w 246"/>
                <a:gd name="T105" fmla="*/ 103307580 h 380"/>
                <a:gd name="T106" fmla="*/ 11247128 w 246"/>
                <a:gd name="T107" fmla="*/ 104715151 h 380"/>
                <a:gd name="T108" fmla="*/ 9795611 w 246"/>
                <a:gd name="T109" fmla="*/ 105840994 h 380"/>
                <a:gd name="T110" fmla="*/ 8344520 w 246"/>
                <a:gd name="T111" fmla="*/ 106685112 h 380"/>
                <a:gd name="T112" fmla="*/ 6530549 w 246"/>
                <a:gd name="T113" fmla="*/ 106966838 h 380"/>
                <a:gd name="T114" fmla="*/ 5623351 w 246"/>
                <a:gd name="T115" fmla="*/ 106966838 h 380"/>
                <a:gd name="T116" fmla="*/ 4535139 w 246"/>
                <a:gd name="T117" fmla="*/ 106685112 h 380"/>
                <a:gd name="T118" fmla="*/ 3627941 w 246"/>
                <a:gd name="T119" fmla="*/ 106403916 h 380"/>
                <a:gd name="T120" fmla="*/ 2358289 w 246"/>
                <a:gd name="T121" fmla="*/ 105840994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US"/>
            </a:p>
          </p:txBody>
        </p:sp>
        <p:sp>
          <p:nvSpPr>
            <p:cNvPr id="206" name="Freeform 267">
              <a:extLst>
                <a:ext uri="{FF2B5EF4-FFF2-40B4-BE49-F238E27FC236}">
                  <a16:creationId xmlns:a16="http://schemas.microsoft.com/office/drawing/2014/main" id="{41D3F1C9-36DC-42B6-B75C-A4B751369DB4}"/>
                </a:ext>
              </a:extLst>
            </p:cNvPr>
            <p:cNvSpPr>
              <a:spLocks/>
            </p:cNvSpPr>
            <p:nvPr>
              <p:custDataLst>
                <p:tags r:id="rId194"/>
              </p:custDataLst>
            </p:nvPr>
          </p:nvSpPr>
          <p:spPr bwMode="auto">
            <a:xfrm>
              <a:off x="3587750" y="3582988"/>
              <a:ext cx="87313" cy="58737"/>
            </a:xfrm>
            <a:custGeom>
              <a:avLst/>
              <a:gdLst>
                <a:gd name="T0" fmla="*/ 1432748 w 193"/>
                <a:gd name="T1" fmla="*/ 47786454 h 38"/>
                <a:gd name="T2" fmla="*/ 7777191 w 193"/>
                <a:gd name="T3" fmla="*/ 26282164 h 38"/>
                <a:gd name="T4" fmla="*/ 13712665 w 193"/>
                <a:gd name="T5" fmla="*/ 11947000 h 38"/>
                <a:gd name="T6" fmla="*/ 16373223 w 193"/>
                <a:gd name="T7" fmla="*/ 7167582 h 38"/>
                <a:gd name="T8" fmla="*/ 19238718 w 193"/>
                <a:gd name="T9" fmla="*/ 4777873 h 38"/>
                <a:gd name="T10" fmla="*/ 22513182 w 193"/>
                <a:gd name="T11" fmla="*/ 2389709 h 38"/>
                <a:gd name="T12" fmla="*/ 25787646 w 193"/>
                <a:gd name="T13" fmla="*/ 0 h 38"/>
                <a:gd name="T14" fmla="*/ 28243720 w 193"/>
                <a:gd name="T15" fmla="*/ 2389709 h 38"/>
                <a:gd name="T16" fmla="*/ 30494857 w 193"/>
                <a:gd name="T17" fmla="*/ 2389709 h 38"/>
                <a:gd name="T18" fmla="*/ 32746447 w 193"/>
                <a:gd name="T19" fmla="*/ 4777873 h 38"/>
                <a:gd name="T20" fmla="*/ 34588163 w 193"/>
                <a:gd name="T21" fmla="*/ 9557291 h 38"/>
                <a:gd name="T22" fmla="*/ 36430331 w 193"/>
                <a:gd name="T23" fmla="*/ 14335163 h 38"/>
                <a:gd name="T24" fmla="*/ 37658142 w 193"/>
                <a:gd name="T25" fmla="*/ 26282164 h 38"/>
                <a:gd name="T26" fmla="*/ 38272500 w 193"/>
                <a:gd name="T27" fmla="*/ 31061582 h 38"/>
                <a:gd name="T28" fmla="*/ 38681469 w 193"/>
                <a:gd name="T29" fmla="*/ 43007036 h 38"/>
                <a:gd name="T30" fmla="*/ 39090890 w 193"/>
                <a:gd name="T31" fmla="*/ 50174618 h 38"/>
                <a:gd name="T32" fmla="*/ 39500311 w 193"/>
                <a:gd name="T33" fmla="*/ 62121618 h 38"/>
                <a:gd name="T34" fmla="*/ 37453658 w 193"/>
                <a:gd name="T35" fmla="*/ 64511327 h 38"/>
                <a:gd name="T36" fmla="*/ 35407005 w 193"/>
                <a:gd name="T37" fmla="*/ 66901036 h 38"/>
                <a:gd name="T38" fmla="*/ 33769773 w 193"/>
                <a:gd name="T39" fmla="*/ 66901036 h 38"/>
                <a:gd name="T40" fmla="*/ 31927604 w 193"/>
                <a:gd name="T41" fmla="*/ 66901036 h 38"/>
                <a:gd name="T42" fmla="*/ 28243720 w 193"/>
                <a:gd name="T43" fmla="*/ 64511327 h 38"/>
                <a:gd name="T44" fmla="*/ 24559835 w 193"/>
                <a:gd name="T45" fmla="*/ 62121618 h 38"/>
                <a:gd name="T46" fmla="*/ 21080435 w 193"/>
                <a:gd name="T47" fmla="*/ 62121618 h 38"/>
                <a:gd name="T48" fmla="*/ 18215392 w 193"/>
                <a:gd name="T49" fmla="*/ 66901036 h 38"/>
                <a:gd name="T50" fmla="*/ 15554381 w 193"/>
                <a:gd name="T51" fmla="*/ 71678909 h 38"/>
                <a:gd name="T52" fmla="*/ 12893823 w 193"/>
                <a:gd name="T53" fmla="*/ 76458327 h 38"/>
                <a:gd name="T54" fmla="*/ 10028780 w 193"/>
                <a:gd name="T55" fmla="*/ 81236200 h 38"/>
                <a:gd name="T56" fmla="*/ 7163285 w 193"/>
                <a:gd name="T57" fmla="*/ 86015618 h 38"/>
                <a:gd name="T58" fmla="*/ 3888821 w 193"/>
                <a:gd name="T59" fmla="*/ 88403781 h 38"/>
                <a:gd name="T60" fmla="*/ 0 w 193"/>
                <a:gd name="T61" fmla="*/ 90793491 h 38"/>
                <a:gd name="T62" fmla="*/ 0 w 193"/>
                <a:gd name="T63" fmla="*/ 78846491 h 38"/>
                <a:gd name="T64" fmla="*/ 204484 w 193"/>
                <a:gd name="T65" fmla="*/ 69289200 h 38"/>
                <a:gd name="T66" fmla="*/ 613905 w 193"/>
                <a:gd name="T67" fmla="*/ 57343745 h 38"/>
                <a:gd name="T68" fmla="*/ 1432748 w 193"/>
                <a:gd name="T69" fmla="*/ 47786454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US"/>
            </a:p>
          </p:txBody>
        </p:sp>
        <p:sp>
          <p:nvSpPr>
            <p:cNvPr id="207" name="Freeform 268">
              <a:extLst>
                <a:ext uri="{FF2B5EF4-FFF2-40B4-BE49-F238E27FC236}">
                  <a16:creationId xmlns:a16="http://schemas.microsoft.com/office/drawing/2014/main" id="{1FADCA9A-3235-4766-8CD3-C4D87606D2B5}"/>
                </a:ext>
              </a:extLst>
            </p:cNvPr>
            <p:cNvSpPr>
              <a:spLocks/>
            </p:cNvSpPr>
            <p:nvPr>
              <p:custDataLst>
                <p:tags r:id="rId195"/>
              </p:custDataLst>
            </p:nvPr>
          </p:nvSpPr>
          <p:spPr bwMode="auto">
            <a:xfrm>
              <a:off x="4013200" y="3660775"/>
              <a:ext cx="42863" cy="155575"/>
            </a:xfrm>
            <a:custGeom>
              <a:avLst/>
              <a:gdLst>
                <a:gd name="T0" fmla="*/ 9935124 w 99"/>
                <a:gd name="T1" fmla="*/ 3205569 h 301"/>
                <a:gd name="T2" fmla="*/ 11059953 w 99"/>
                <a:gd name="T3" fmla="*/ 3205569 h 301"/>
                <a:gd name="T4" fmla="*/ 11059953 w 99"/>
                <a:gd name="T5" fmla="*/ 5075570 h 301"/>
                <a:gd name="T6" fmla="*/ 11621934 w 99"/>
                <a:gd name="T7" fmla="*/ 6945571 h 301"/>
                <a:gd name="T8" fmla="*/ 11809406 w 99"/>
                <a:gd name="T9" fmla="*/ 8815572 h 301"/>
                <a:gd name="T10" fmla="*/ 12371820 w 99"/>
                <a:gd name="T11" fmla="*/ 11220007 h 301"/>
                <a:gd name="T12" fmla="*/ 13496649 w 99"/>
                <a:gd name="T13" fmla="*/ 15494443 h 301"/>
                <a:gd name="T14" fmla="*/ 14808950 w 99"/>
                <a:gd name="T15" fmla="*/ 20036096 h 301"/>
                <a:gd name="T16" fmla="*/ 16308289 w 99"/>
                <a:gd name="T17" fmla="*/ 24844449 h 301"/>
                <a:gd name="T18" fmla="*/ 17433118 w 99"/>
                <a:gd name="T19" fmla="*/ 29653319 h 301"/>
                <a:gd name="T20" fmla="*/ 17995533 w 99"/>
                <a:gd name="T21" fmla="*/ 32057237 h 301"/>
                <a:gd name="T22" fmla="*/ 18370476 w 99"/>
                <a:gd name="T23" fmla="*/ 34461672 h 301"/>
                <a:gd name="T24" fmla="*/ 18557947 w 99"/>
                <a:gd name="T25" fmla="*/ 36866106 h 301"/>
                <a:gd name="T26" fmla="*/ 18557947 w 99"/>
                <a:gd name="T27" fmla="*/ 39537241 h 301"/>
                <a:gd name="T28" fmla="*/ 18557947 w 99"/>
                <a:gd name="T29" fmla="*/ 77204998 h 301"/>
                <a:gd name="T30" fmla="*/ 16683232 w 99"/>
                <a:gd name="T31" fmla="*/ 77472215 h 301"/>
                <a:gd name="T32" fmla="*/ 14996422 w 99"/>
                <a:gd name="T33" fmla="*/ 78273349 h 301"/>
                <a:gd name="T34" fmla="*/ 13684121 w 99"/>
                <a:gd name="T35" fmla="*/ 79342216 h 301"/>
                <a:gd name="T36" fmla="*/ 12371820 w 99"/>
                <a:gd name="T37" fmla="*/ 80410567 h 301"/>
                <a:gd name="T38" fmla="*/ 11059953 w 99"/>
                <a:gd name="T39" fmla="*/ 77472215 h 301"/>
                <a:gd name="T40" fmla="*/ 10122595 w 99"/>
                <a:gd name="T41" fmla="*/ 74800563 h 301"/>
                <a:gd name="T42" fmla="*/ 8997766 w 99"/>
                <a:gd name="T43" fmla="*/ 72396128 h 301"/>
                <a:gd name="T44" fmla="*/ 8435352 w 99"/>
                <a:gd name="T45" fmla="*/ 69991694 h 301"/>
                <a:gd name="T46" fmla="*/ 8060409 w 99"/>
                <a:gd name="T47" fmla="*/ 67320559 h 301"/>
                <a:gd name="T48" fmla="*/ 7685466 w 99"/>
                <a:gd name="T49" fmla="*/ 64648907 h 301"/>
                <a:gd name="T50" fmla="*/ 7497994 w 99"/>
                <a:gd name="T51" fmla="*/ 61977772 h 301"/>
                <a:gd name="T52" fmla="*/ 7497994 w 99"/>
                <a:gd name="T53" fmla="*/ 59306120 h 301"/>
                <a:gd name="T54" fmla="*/ 7497994 w 99"/>
                <a:gd name="T55" fmla="*/ 37667240 h 301"/>
                <a:gd name="T56" fmla="*/ 0 w 99"/>
                <a:gd name="T57" fmla="*/ 1602784 h 301"/>
                <a:gd name="T58" fmla="*/ 937358 w 99"/>
                <a:gd name="T59" fmla="*/ 534434 h 301"/>
                <a:gd name="T60" fmla="*/ 1874715 w 99"/>
                <a:gd name="T61" fmla="*/ 0 h 301"/>
                <a:gd name="T62" fmla="*/ 2624168 w 99"/>
                <a:gd name="T63" fmla="*/ 0 h 301"/>
                <a:gd name="T64" fmla="*/ 3748997 w 99"/>
                <a:gd name="T65" fmla="*/ 0 h 301"/>
                <a:gd name="T66" fmla="*/ 4873826 w 99"/>
                <a:gd name="T67" fmla="*/ 0 h 301"/>
                <a:gd name="T68" fmla="*/ 5998655 w 99"/>
                <a:gd name="T69" fmla="*/ 534434 h 301"/>
                <a:gd name="T70" fmla="*/ 6936013 w 99"/>
                <a:gd name="T71" fmla="*/ 1068351 h 301"/>
                <a:gd name="T72" fmla="*/ 7685466 w 99"/>
                <a:gd name="T73" fmla="*/ 1602784 h 301"/>
                <a:gd name="T74" fmla="*/ 8810295 w 99"/>
                <a:gd name="T75" fmla="*/ 2671652 h 301"/>
                <a:gd name="T76" fmla="*/ 9935124 w 99"/>
                <a:gd name="T77" fmla="*/ 3205569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US"/>
            </a:p>
          </p:txBody>
        </p:sp>
        <p:sp>
          <p:nvSpPr>
            <p:cNvPr id="208" name="Freeform 269">
              <a:extLst>
                <a:ext uri="{FF2B5EF4-FFF2-40B4-BE49-F238E27FC236}">
                  <a16:creationId xmlns:a16="http://schemas.microsoft.com/office/drawing/2014/main" id="{86289A9F-ADAB-4C53-B270-CDCE09D691DB}"/>
                </a:ext>
              </a:extLst>
            </p:cNvPr>
            <p:cNvSpPr>
              <a:spLocks/>
            </p:cNvSpPr>
            <p:nvPr>
              <p:custDataLst>
                <p:tags r:id="rId196"/>
              </p:custDataLst>
            </p:nvPr>
          </p:nvSpPr>
          <p:spPr bwMode="auto">
            <a:xfrm>
              <a:off x="4038600" y="3622675"/>
              <a:ext cx="76200" cy="188913"/>
            </a:xfrm>
            <a:custGeom>
              <a:avLst/>
              <a:gdLst>
                <a:gd name="T0" fmla="*/ 0 w 173"/>
                <a:gd name="T1" fmla="*/ 22401153 h 357"/>
                <a:gd name="T2" fmla="*/ 1745993 w 173"/>
                <a:gd name="T3" fmla="*/ 20161197 h 357"/>
                <a:gd name="T4" fmla="*/ 3298183 w 173"/>
                <a:gd name="T5" fmla="*/ 18201168 h 357"/>
                <a:gd name="T6" fmla="*/ 4850372 w 173"/>
                <a:gd name="T7" fmla="*/ 16800997 h 357"/>
                <a:gd name="T8" fmla="*/ 6402121 w 173"/>
                <a:gd name="T9" fmla="*/ 15680754 h 357"/>
                <a:gd name="T10" fmla="*/ 7760067 w 173"/>
                <a:gd name="T11" fmla="*/ 14000655 h 357"/>
                <a:gd name="T12" fmla="*/ 12998487 w 173"/>
                <a:gd name="T13" fmla="*/ 14000655 h 357"/>
                <a:gd name="T14" fmla="*/ 18236466 w 173"/>
                <a:gd name="T15" fmla="*/ 0 h 357"/>
                <a:gd name="T16" fmla="*/ 19594852 w 173"/>
                <a:gd name="T17" fmla="*/ 839785 h 357"/>
                <a:gd name="T18" fmla="*/ 20952798 w 173"/>
                <a:gd name="T19" fmla="*/ 1960028 h 357"/>
                <a:gd name="T20" fmla="*/ 22504987 w 173"/>
                <a:gd name="T21" fmla="*/ 3360199 h 357"/>
                <a:gd name="T22" fmla="*/ 23862933 w 173"/>
                <a:gd name="T23" fmla="*/ 5040299 h 357"/>
                <a:gd name="T24" fmla="*/ 25415123 w 173"/>
                <a:gd name="T25" fmla="*/ 6160542 h 357"/>
                <a:gd name="T26" fmla="*/ 26966872 w 173"/>
                <a:gd name="T27" fmla="*/ 7560184 h 357"/>
                <a:gd name="T28" fmla="*/ 28131014 w 173"/>
                <a:gd name="T29" fmla="*/ 8120570 h 357"/>
                <a:gd name="T30" fmla="*/ 29683203 w 173"/>
                <a:gd name="T31" fmla="*/ 8400499 h 357"/>
                <a:gd name="T32" fmla="*/ 31623000 w 173"/>
                <a:gd name="T33" fmla="*/ 10920384 h 357"/>
                <a:gd name="T34" fmla="*/ 33563237 w 173"/>
                <a:gd name="T35" fmla="*/ 14000655 h 357"/>
                <a:gd name="T36" fmla="*/ 33563237 w 173"/>
                <a:gd name="T37" fmla="*/ 17080926 h 357"/>
                <a:gd name="T38" fmla="*/ 33563237 w 173"/>
                <a:gd name="T39" fmla="*/ 19320882 h 357"/>
                <a:gd name="T40" fmla="*/ 33563237 w 173"/>
                <a:gd name="T41" fmla="*/ 22401153 h 357"/>
                <a:gd name="T42" fmla="*/ 33563237 w 173"/>
                <a:gd name="T43" fmla="*/ 27441452 h 357"/>
                <a:gd name="T44" fmla="*/ 33563237 w 173"/>
                <a:gd name="T45" fmla="*/ 30521723 h 357"/>
                <a:gd name="T46" fmla="*/ 33175190 w 173"/>
                <a:gd name="T47" fmla="*/ 33042138 h 357"/>
                <a:gd name="T48" fmla="*/ 32399095 w 173"/>
                <a:gd name="T49" fmla="*/ 35562023 h 357"/>
                <a:gd name="T50" fmla="*/ 31623000 w 173"/>
                <a:gd name="T51" fmla="*/ 37801979 h 357"/>
                <a:gd name="T52" fmla="*/ 29488960 w 173"/>
                <a:gd name="T53" fmla="*/ 42282421 h 357"/>
                <a:gd name="T54" fmla="*/ 27161116 w 173"/>
                <a:gd name="T55" fmla="*/ 46762864 h 357"/>
                <a:gd name="T56" fmla="*/ 24832831 w 173"/>
                <a:gd name="T57" fmla="*/ 51242777 h 357"/>
                <a:gd name="T58" fmla="*/ 22698791 w 173"/>
                <a:gd name="T59" fmla="*/ 56003148 h 357"/>
                <a:gd name="T60" fmla="*/ 21728892 w 173"/>
                <a:gd name="T61" fmla="*/ 58523562 h 357"/>
                <a:gd name="T62" fmla="*/ 21146601 w 173"/>
                <a:gd name="T63" fmla="*/ 61323375 h 357"/>
                <a:gd name="T64" fmla="*/ 20952798 w 173"/>
                <a:gd name="T65" fmla="*/ 64123718 h 357"/>
                <a:gd name="T66" fmla="*/ 20758554 w 173"/>
                <a:gd name="T67" fmla="*/ 67203989 h 357"/>
                <a:gd name="T68" fmla="*/ 20952798 w 173"/>
                <a:gd name="T69" fmla="*/ 76444273 h 357"/>
                <a:gd name="T70" fmla="*/ 21146601 w 173"/>
                <a:gd name="T71" fmla="*/ 82044429 h 357"/>
                <a:gd name="T72" fmla="*/ 21340845 w 173"/>
                <a:gd name="T73" fmla="*/ 84564843 h 357"/>
                <a:gd name="T74" fmla="*/ 21146601 w 173"/>
                <a:gd name="T75" fmla="*/ 87645114 h 357"/>
                <a:gd name="T76" fmla="*/ 21146601 w 173"/>
                <a:gd name="T77" fmla="*/ 91565170 h 357"/>
                <a:gd name="T78" fmla="*/ 20758554 w 173"/>
                <a:gd name="T79" fmla="*/ 96605469 h 357"/>
                <a:gd name="T80" fmla="*/ 18818757 w 173"/>
                <a:gd name="T81" fmla="*/ 96885398 h 357"/>
                <a:gd name="T82" fmla="*/ 17072764 w 173"/>
                <a:gd name="T83" fmla="*/ 97165326 h 357"/>
                <a:gd name="T84" fmla="*/ 15326771 w 173"/>
                <a:gd name="T85" fmla="*/ 97725712 h 357"/>
                <a:gd name="T86" fmla="*/ 13774582 w 173"/>
                <a:gd name="T87" fmla="*/ 98285569 h 357"/>
                <a:gd name="T88" fmla="*/ 12222392 w 173"/>
                <a:gd name="T89" fmla="*/ 98845426 h 357"/>
                <a:gd name="T90" fmla="*/ 10670202 w 173"/>
                <a:gd name="T91" fmla="*/ 99405812 h 357"/>
                <a:gd name="T92" fmla="*/ 9312257 w 173"/>
                <a:gd name="T93" fmla="*/ 99965669 h 357"/>
                <a:gd name="T94" fmla="*/ 7760067 w 173"/>
                <a:gd name="T95" fmla="*/ 99965669 h 357"/>
                <a:gd name="T96" fmla="*/ 7760067 w 173"/>
                <a:gd name="T97" fmla="*/ 60483590 h 357"/>
                <a:gd name="T98" fmla="*/ 7760067 w 173"/>
                <a:gd name="T99" fmla="*/ 57683247 h 357"/>
                <a:gd name="T100" fmla="*/ 7566264 w 173"/>
                <a:gd name="T101" fmla="*/ 55163362 h 357"/>
                <a:gd name="T102" fmla="*/ 7178216 w 173"/>
                <a:gd name="T103" fmla="*/ 52642948 h 357"/>
                <a:gd name="T104" fmla="*/ 6596365 w 173"/>
                <a:gd name="T105" fmla="*/ 50123063 h 357"/>
                <a:gd name="T106" fmla="*/ 5432223 w 173"/>
                <a:gd name="T107" fmla="*/ 45082764 h 357"/>
                <a:gd name="T108" fmla="*/ 3880034 w 173"/>
                <a:gd name="T109" fmla="*/ 40042465 h 357"/>
                <a:gd name="T110" fmla="*/ 2522088 w 173"/>
                <a:gd name="T111" fmla="*/ 35282094 h 357"/>
                <a:gd name="T112" fmla="*/ 1357946 w 173"/>
                <a:gd name="T113" fmla="*/ 30801652 h 357"/>
                <a:gd name="T114" fmla="*/ 776095 w 173"/>
                <a:gd name="T115" fmla="*/ 28281767 h 357"/>
                <a:gd name="T116" fmla="*/ 581851 w 173"/>
                <a:gd name="T117" fmla="*/ 26321739 h 357"/>
                <a:gd name="T118" fmla="*/ 0 w 173"/>
                <a:gd name="T119" fmla="*/ 24361181 h 357"/>
                <a:gd name="T120" fmla="*/ 0 w 173"/>
                <a:gd name="T121" fmla="*/ 2240115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US"/>
            </a:p>
          </p:txBody>
        </p:sp>
        <p:sp>
          <p:nvSpPr>
            <p:cNvPr id="209" name="Freeform 270">
              <a:extLst>
                <a:ext uri="{FF2B5EF4-FFF2-40B4-BE49-F238E27FC236}">
                  <a16:creationId xmlns:a16="http://schemas.microsoft.com/office/drawing/2014/main" id="{0DFDBA6B-EF95-47D8-9111-02139034A46E}"/>
                </a:ext>
              </a:extLst>
            </p:cNvPr>
            <p:cNvSpPr>
              <a:spLocks/>
            </p:cNvSpPr>
            <p:nvPr>
              <p:custDataLst>
                <p:tags r:id="rId197"/>
              </p:custDataLst>
            </p:nvPr>
          </p:nvSpPr>
          <p:spPr bwMode="auto">
            <a:xfrm>
              <a:off x="4767263" y="4827588"/>
              <a:ext cx="25400" cy="60325"/>
            </a:xfrm>
            <a:custGeom>
              <a:avLst/>
              <a:gdLst>
                <a:gd name="T0" fmla="*/ 2580640 w 50"/>
                <a:gd name="T1" fmla="*/ 0 h 74"/>
                <a:gd name="T2" fmla="*/ 1548384 w 50"/>
                <a:gd name="T3" fmla="*/ 9303908 h 74"/>
                <a:gd name="T4" fmla="*/ 516128 w 50"/>
                <a:gd name="T5" fmla="*/ 17278221 h 74"/>
                <a:gd name="T6" fmla="*/ 0 w 50"/>
                <a:gd name="T7" fmla="*/ 23923754 h 74"/>
                <a:gd name="T8" fmla="*/ 0 w 50"/>
                <a:gd name="T9" fmla="*/ 28576116 h 74"/>
                <a:gd name="T10" fmla="*/ 0 w 50"/>
                <a:gd name="T11" fmla="*/ 33227662 h 74"/>
                <a:gd name="T12" fmla="*/ 516128 w 50"/>
                <a:gd name="T13" fmla="*/ 37214819 h 74"/>
                <a:gd name="T14" fmla="*/ 1548384 w 50"/>
                <a:gd name="T15" fmla="*/ 40537585 h 74"/>
                <a:gd name="T16" fmla="*/ 2580640 w 50"/>
                <a:gd name="T17" fmla="*/ 45189947 h 74"/>
                <a:gd name="T18" fmla="*/ 12903200 w 50"/>
                <a:gd name="T19" fmla="*/ 49177103 h 74"/>
                <a:gd name="T20" fmla="*/ 12903200 w 50"/>
                <a:gd name="T21" fmla="*/ 33892052 h 74"/>
                <a:gd name="T22" fmla="*/ 12903200 w 50"/>
                <a:gd name="T23" fmla="*/ 22594973 h 74"/>
                <a:gd name="T24" fmla="*/ 12903200 w 50"/>
                <a:gd name="T25" fmla="*/ 12626675 h 74"/>
                <a:gd name="T26" fmla="*/ 12903200 w 50"/>
                <a:gd name="T27" fmla="*/ 0 h 74"/>
                <a:gd name="T28" fmla="*/ 9806432 w 50"/>
                <a:gd name="T29" fmla="*/ 0 h 74"/>
                <a:gd name="T30" fmla="*/ 6451600 w 50"/>
                <a:gd name="T31" fmla="*/ 0 h 74"/>
                <a:gd name="T32" fmla="*/ 3612896 w 50"/>
                <a:gd name="T33" fmla="*/ 0 h 74"/>
                <a:gd name="T34" fmla="*/ 258064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US"/>
            </a:p>
          </p:txBody>
        </p:sp>
        <p:sp>
          <p:nvSpPr>
            <p:cNvPr id="210" name="Freeform 271">
              <a:extLst>
                <a:ext uri="{FF2B5EF4-FFF2-40B4-BE49-F238E27FC236}">
                  <a16:creationId xmlns:a16="http://schemas.microsoft.com/office/drawing/2014/main" id="{E87D65CD-9829-4997-8FE8-9A1F1E77E1B4}"/>
                </a:ext>
              </a:extLst>
            </p:cNvPr>
            <p:cNvSpPr>
              <a:spLocks/>
            </p:cNvSpPr>
            <p:nvPr>
              <p:custDataLst>
                <p:tags r:id="rId198"/>
              </p:custDataLst>
            </p:nvPr>
          </p:nvSpPr>
          <p:spPr bwMode="auto">
            <a:xfrm>
              <a:off x="4662488" y="4924425"/>
              <a:ext cx="61912" cy="57150"/>
            </a:xfrm>
            <a:custGeom>
              <a:avLst/>
              <a:gdLst>
                <a:gd name="T0" fmla="*/ 631044 w 135"/>
                <a:gd name="T1" fmla="*/ 18704379 h 98"/>
                <a:gd name="T2" fmla="*/ 2313674 w 135"/>
                <a:gd name="T3" fmla="*/ 18364394 h 98"/>
                <a:gd name="T4" fmla="*/ 3785804 w 135"/>
                <a:gd name="T5" fmla="*/ 18024410 h 98"/>
                <a:gd name="T6" fmla="*/ 5047892 w 135"/>
                <a:gd name="T7" fmla="*/ 17003874 h 98"/>
                <a:gd name="T8" fmla="*/ 6520022 w 135"/>
                <a:gd name="T9" fmla="*/ 15983922 h 98"/>
                <a:gd name="T10" fmla="*/ 8833696 w 135"/>
                <a:gd name="T11" fmla="*/ 12922898 h 98"/>
                <a:gd name="T12" fmla="*/ 10936869 w 135"/>
                <a:gd name="T13" fmla="*/ 9522473 h 98"/>
                <a:gd name="T14" fmla="*/ 12829542 w 135"/>
                <a:gd name="T15" fmla="*/ 6121465 h 98"/>
                <a:gd name="T16" fmla="*/ 14932716 w 135"/>
                <a:gd name="T17" fmla="*/ 2720457 h 98"/>
                <a:gd name="T18" fmla="*/ 15984303 w 135"/>
                <a:gd name="T19" fmla="*/ 1700504 h 98"/>
                <a:gd name="T20" fmla="*/ 17246390 w 135"/>
                <a:gd name="T21" fmla="*/ 679968 h 98"/>
                <a:gd name="T22" fmla="*/ 18508019 w 135"/>
                <a:gd name="T23" fmla="*/ 0 h 98"/>
                <a:gd name="T24" fmla="*/ 20190650 w 135"/>
                <a:gd name="T25" fmla="*/ 0 h 98"/>
                <a:gd name="T26" fmla="*/ 21452737 w 135"/>
                <a:gd name="T27" fmla="*/ 0 h 98"/>
                <a:gd name="T28" fmla="*/ 23135368 w 135"/>
                <a:gd name="T29" fmla="*/ 1019953 h 98"/>
                <a:gd name="T30" fmla="*/ 24607498 w 135"/>
                <a:gd name="T31" fmla="*/ 2040488 h 98"/>
                <a:gd name="T32" fmla="*/ 25869585 w 135"/>
                <a:gd name="T33" fmla="*/ 3740992 h 98"/>
                <a:gd name="T34" fmla="*/ 26921172 w 135"/>
                <a:gd name="T35" fmla="*/ 5441496 h 98"/>
                <a:gd name="T36" fmla="*/ 27762258 w 135"/>
                <a:gd name="T37" fmla="*/ 8161953 h 98"/>
                <a:gd name="T38" fmla="*/ 28182801 w 135"/>
                <a:gd name="T39" fmla="*/ 10202441 h 98"/>
                <a:gd name="T40" fmla="*/ 28393302 w 135"/>
                <a:gd name="T41" fmla="*/ 12582914 h 98"/>
                <a:gd name="T42" fmla="*/ 28182801 w 135"/>
                <a:gd name="T43" fmla="*/ 13603449 h 98"/>
                <a:gd name="T44" fmla="*/ 27762258 w 135"/>
                <a:gd name="T45" fmla="*/ 14623402 h 98"/>
                <a:gd name="T46" fmla="*/ 27131214 w 135"/>
                <a:gd name="T47" fmla="*/ 15983922 h 98"/>
                <a:gd name="T48" fmla="*/ 26079627 w 135"/>
                <a:gd name="T49" fmla="*/ 17343859 h 98"/>
                <a:gd name="T50" fmla="*/ 23766412 w 135"/>
                <a:gd name="T51" fmla="*/ 20744867 h 98"/>
                <a:gd name="T52" fmla="*/ 21032194 w 135"/>
                <a:gd name="T53" fmla="*/ 24485859 h 98"/>
                <a:gd name="T54" fmla="*/ 18297977 w 135"/>
                <a:gd name="T55" fmla="*/ 27886284 h 98"/>
                <a:gd name="T56" fmla="*/ 15563760 w 135"/>
                <a:gd name="T57" fmla="*/ 30947308 h 98"/>
                <a:gd name="T58" fmla="*/ 13250085 w 135"/>
                <a:gd name="T59" fmla="*/ 32647812 h 98"/>
                <a:gd name="T60" fmla="*/ 11567455 w 135"/>
                <a:gd name="T61" fmla="*/ 33327781 h 98"/>
                <a:gd name="T62" fmla="*/ 10726369 w 135"/>
                <a:gd name="T63" fmla="*/ 32987796 h 98"/>
                <a:gd name="T64" fmla="*/ 9043738 w 135"/>
                <a:gd name="T65" fmla="*/ 31287292 h 98"/>
                <a:gd name="T66" fmla="*/ 6730064 w 135"/>
                <a:gd name="T67" fmla="*/ 28906820 h 98"/>
                <a:gd name="T68" fmla="*/ 4416848 w 135"/>
                <a:gd name="T69" fmla="*/ 26186363 h 98"/>
                <a:gd name="T70" fmla="*/ 2313674 w 135"/>
                <a:gd name="T71" fmla="*/ 23125339 h 98"/>
                <a:gd name="T72" fmla="*/ 1051587 w 135"/>
                <a:gd name="T73" fmla="*/ 21084851 h 98"/>
                <a:gd name="T74" fmla="*/ 210501 w 135"/>
                <a:gd name="T75" fmla="*/ 20064898 h 98"/>
                <a:gd name="T76" fmla="*/ 0 w 135"/>
                <a:gd name="T77" fmla="*/ 19384347 h 98"/>
                <a:gd name="T78" fmla="*/ 0 w 135"/>
                <a:gd name="T79" fmla="*/ 19044363 h 98"/>
                <a:gd name="T80" fmla="*/ 631044 w 135"/>
                <a:gd name="T81" fmla="*/ 18704379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a:p>
          </p:txBody>
        </p:sp>
        <p:sp>
          <p:nvSpPr>
            <p:cNvPr id="211" name="Freeform 272">
              <a:extLst>
                <a:ext uri="{FF2B5EF4-FFF2-40B4-BE49-F238E27FC236}">
                  <a16:creationId xmlns:a16="http://schemas.microsoft.com/office/drawing/2014/main" id="{DB9CAB1E-B2D0-4B10-8182-CB02C8DD2F5D}"/>
                </a:ext>
              </a:extLst>
            </p:cNvPr>
            <p:cNvSpPr>
              <a:spLocks/>
            </p:cNvSpPr>
            <p:nvPr>
              <p:custDataLst>
                <p:tags r:id="rId199"/>
              </p:custDataLst>
            </p:nvPr>
          </p:nvSpPr>
          <p:spPr bwMode="auto">
            <a:xfrm>
              <a:off x="6880225" y="2638425"/>
              <a:ext cx="120650" cy="171450"/>
            </a:xfrm>
            <a:custGeom>
              <a:avLst/>
              <a:gdLst>
                <a:gd name="T0" fmla="*/ 49374425 w 266"/>
                <a:gd name="T1" fmla="*/ 2489181 h 326"/>
                <a:gd name="T2" fmla="*/ 49374425 w 266"/>
                <a:gd name="T3" fmla="*/ 7744702 h 326"/>
                <a:gd name="T4" fmla="*/ 51225904 w 266"/>
                <a:gd name="T5" fmla="*/ 11617052 h 326"/>
                <a:gd name="T6" fmla="*/ 50403125 w 266"/>
                <a:gd name="T7" fmla="*/ 15212769 h 326"/>
                <a:gd name="T8" fmla="*/ 46288779 w 266"/>
                <a:gd name="T9" fmla="*/ 13829599 h 326"/>
                <a:gd name="T10" fmla="*/ 43202679 w 266"/>
                <a:gd name="T11" fmla="*/ 14106233 h 326"/>
                <a:gd name="T12" fmla="*/ 40116579 w 266"/>
                <a:gd name="T13" fmla="*/ 17978584 h 326"/>
                <a:gd name="T14" fmla="*/ 39705189 w 266"/>
                <a:gd name="T15" fmla="*/ 21574300 h 326"/>
                <a:gd name="T16" fmla="*/ 40733889 w 266"/>
                <a:gd name="T17" fmla="*/ 24616749 h 326"/>
                <a:gd name="T18" fmla="*/ 44231379 w 266"/>
                <a:gd name="T19" fmla="*/ 30425012 h 326"/>
                <a:gd name="T20" fmla="*/ 46082857 w 266"/>
                <a:gd name="T21" fmla="*/ 33744095 h 326"/>
                <a:gd name="T22" fmla="*/ 46288779 w 266"/>
                <a:gd name="T23" fmla="*/ 36786543 h 326"/>
                <a:gd name="T24" fmla="*/ 45671468 w 266"/>
                <a:gd name="T25" fmla="*/ 39552884 h 326"/>
                <a:gd name="T26" fmla="*/ 42585368 w 266"/>
                <a:gd name="T27" fmla="*/ 42595333 h 326"/>
                <a:gd name="T28" fmla="*/ 41145279 w 266"/>
                <a:gd name="T29" fmla="*/ 44254611 h 326"/>
                <a:gd name="T30" fmla="*/ 37236400 w 266"/>
                <a:gd name="T31" fmla="*/ 45914415 h 326"/>
                <a:gd name="T32" fmla="*/ 33739364 w 266"/>
                <a:gd name="T33" fmla="*/ 49233498 h 326"/>
                <a:gd name="T34" fmla="*/ 32916132 w 266"/>
                <a:gd name="T35" fmla="*/ 52829215 h 326"/>
                <a:gd name="T36" fmla="*/ 35590843 w 266"/>
                <a:gd name="T37" fmla="*/ 57254308 h 326"/>
                <a:gd name="T38" fmla="*/ 38882411 w 266"/>
                <a:gd name="T39" fmla="*/ 59467380 h 326"/>
                <a:gd name="T40" fmla="*/ 44025457 w 266"/>
                <a:gd name="T41" fmla="*/ 62786463 h 326"/>
                <a:gd name="T42" fmla="*/ 50403125 w 266"/>
                <a:gd name="T43" fmla="*/ 71637174 h 326"/>
                <a:gd name="T44" fmla="*/ 51637293 w 266"/>
                <a:gd name="T45" fmla="*/ 78828608 h 326"/>
                <a:gd name="T46" fmla="*/ 45260079 w 266"/>
                <a:gd name="T47" fmla="*/ 80488412 h 326"/>
                <a:gd name="T48" fmla="*/ 42585368 w 266"/>
                <a:gd name="T49" fmla="*/ 82424325 h 326"/>
                <a:gd name="T50" fmla="*/ 40733889 w 266"/>
                <a:gd name="T51" fmla="*/ 86296675 h 326"/>
                <a:gd name="T52" fmla="*/ 38882411 w 266"/>
                <a:gd name="T53" fmla="*/ 90169026 h 326"/>
                <a:gd name="T54" fmla="*/ 34973532 w 266"/>
                <a:gd name="T55" fmla="*/ 88785856 h 326"/>
                <a:gd name="T56" fmla="*/ 34356221 w 266"/>
                <a:gd name="T57" fmla="*/ 87403212 h 326"/>
                <a:gd name="T58" fmla="*/ 31681964 w 266"/>
                <a:gd name="T59" fmla="*/ 85743407 h 326"/>
                <a:gd name="T60" fmla="*/ 28595864 w 266"/>
                <a:gd name="T61" fmla="*/ 83254227 h 326"/>
                <a:gd name="T62" fmla="*/ 25921607 w 266"/>
                <a:gd name="T63" fmla="*/ 81594422 h 326"/>
                <a:gd name="T64" fmla="*/ 20161250 w 266"/>
                <a:gd name="T65" fmla="*/ 80211778 h 326"/>
                <a:gd name="T66" fmla="*/ 12960804 w 266"/>
                <a:gd name="T67" fmla="*/ 76616061 h 326"/>
                <a:gd name="T68" fmla="*/ 11109325 w 266"/>
                <a:gd name="T69" fmla="*/ 74126881 h 326"/>
                <a:gd name="T70" fmla="*/ 11314793 w 266"/>
                <a:gd name="T71" fmla="*/ 70807798 h 326"/>
                <a:gd name="T72" fmla="*/ 14400893 w 266"/>
                <a:gd name="T73" fmla="*/ 67488715 h 326"/>
                <a:gd name="T74" fmla="*/ 12138025 w 266"/>
                <a:gd name="T75" fmla="*/ 61126658 h 326"/>
                <a:gd name="T76" fmla="*/ 6994525 w 266"/>
                <a:gd name="T77" fmla="*/ 53659117 h 326"/>
                <a:gd name="T78" fmla="*/ 2674257 w 266"/>
                <a:gd name="T79" fmla="*/ 50339508 h 326"/>
                <a:gd name="T80" fmla="*/ 822779 w 266"/>
                <a:gd name="T81" fmla="*/ 47297060 h 326"/>
                <a:gd name="T82" fmla="*/ 3908879 w 266"/>
                <a:gd name="T83" fmla="*/ 42042064 h 326"/>
                <a:gd name="T84" fmla="*/ 11109325 w 266"/>
                <a:gd name="T85" fmla="*/ 34297363 h 326"/>
                <a:gd name="T86" fmla="*/ 15018204 w 266"/>
                <a:gd name="T87" fmla="*/ 29042368 h 326"/>
                <a:gd name="T88" fmla="*/ 18103850 w 266"/>
                <a:gd name="T89" fmla="*/ 25446651 h 326"/>
                <a:gd name="T90" fmla="*/ 22630039 w 266"/>
                <a:gd name="T91" fmla="*/ 24340115 h 326"/>
                <a:gd name="T92" fmla="*/ 29624564 w 266"/>
                <a:gd name="T93" fmla="*/ 19361228 h 326"/>
                <a:gd name="T94" fmla="*/ 34562143 w 266"/>
                <a:gd name="T95" fmla="*/ 12723063 h 326"/>
                <a:gd name="T96" fmla="*/ 39293800 w 266"/>
                <a:gd name="T97" fmla="*/ 5808263 h 326"/>
                <a:gd name="T98" fmla="*/ 45260079 w 266"/>
                <a:gd name="T99" fmla="*/ 1106536 h 326"/>
                <a:gd name="T100" fmla="*/ 48963036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en-US"/>
            </a:p>
          </p:txBody>
        </p:sp>
        <p:sp>
          <p:nvSpPr>
            <p:cNvPr id="212" name="Freeform 273">
              <a:extLst>
                <a:ext uri="{FF2B5EF4-FFF2-40B4-BE49-F238E27FC236}">
                  <a16:creationId xmlns:a16="http://schemas.microsoft.com/office/drawing/2014/main" id="{A235CEB8-515A-4E23-AA43-CD210A3D8130}"/>
                </a:ext>
              </a:extLst>
            </p:cNvPr>
            <p:cNvSpPr>
              <a:spLocks/>
            </p:cNvSpPr>
            <p:nvPr>
              <p:custDataLst>
                <p:tags r:id="rId200"/>
              </p:custDataLst>
            </p:nvPr>
          </p:nvSpPr>
          <p:spPr bwMode="auto">
            <a:xfrm>
              <a:off x="5951538" y="3052763"/>
              <a:ext cx="206375" cy="123825"/>
            </a:xfrm>
            <a:custGeom>
              <a:avLst/>
              <a:gdLst>
                <a:gd name="T0" fmla="*/ 16510876 w 471"/>
                <a:gd name="T1" fmla="*/ 0 h 237"/>
                <a:gd name="T2" fmla="*/ 17662808 w 471"/>
                <a:gd name="T3" fmla="*/ 1910667 h 237"/>
                <a:gd name="T4" fmla="*/ 19582840 w 471"/>
                <a:gd name="T5" fmla="*/ 3548605 h 237"/>
                <a:gd name="T6" fmla="*/ 23998214 w 471"/>
                <a:gd name="T7" fmla="*/ 6278502 h 237"/>
                <a:gd name="T8" fmla="*/ 30525973 w 471"/>
                <a:gd name="T9" fmla="*/ 10099836 h 237"/>
                <a:gd name="T10" fmla="*/ 42812954 w 471"/>
                <a:gd name="T11" fmla="*/ 21018902 h 237"/>
                <a:gd name="T12" fmla="*/ 48572613 w 471"/>
                <a:gd name="T13" fmla="*/ 26478174 h 237"/>
                <a:gd name="T14" fmla="*/ 54332272 w 471"/>
                <a:gd name="T15" fmla="*/ 30846009 h 237"/>
                <a:gd name="T16" fmla="*/ 60668116 w 471"/>
                <a:gd name="T17" fmla="*/ 34667343 h 237"/>
                <a:gd name="T18" fmla="*/ 68155453 w 471"/>
                <a:gd name="T19" fmla="*/ 37943219 h 237"/>
                <a:gd name="T20" fmla="*/ 76602807 w 471"/>
                <a:gd name="T21" fmla="*/ 39853886 h 237"/>
                <a:gd name="T22" fmla="*/ 86586362 w 471"/>
                <a:gd name="T23" fmla="*/ 40399866 h 237"/>
                <a:gd name="T24" fmla="*/ 86778278 w 471"/>
                <a:gd name="T25" fmla="*/ 51046203 h 237"/>
                <a:gd name="T26" fmla="*/ 88122125 w 471"/>
                <a:gd name="T27" fmla="*/ 57597434 h 237"/>
                <a:gd name="T28" fmla="*/ 89657888 w 471"/>
                <a:gd name="T29" fmla="*/ 61964747 h 237"/>
                <a:gd name="T30" fmla="*/ 89657888 w 471"/>
                <a:gd name="T31" fmla="*/ 64421916 h 237"/>
                <a:gd name="T32" fmla="*/ 86586362 w 471"/>
                <a:gd name="T33" fmla="*/ 64421916 h 237"/>
                <a:gd name="T34" fmla="*/ 79866687 w 471"/>
                <a:gd name="T35" fmla="*/ 63056706 h 237"/>
                <a:gd name="T36" fmla="*/ 69499301 w 471"/>
                <a:gd name="T37" fmla="*/ 59781352 h 237"/>
                <a:gd name="T38" fmla="*/ 60475762 w 471"/>
                <a:gd name="T39" fmla="*/ 56505475 h 237"/>
                <a:gd name="T40" fmla="*/ 56444220 w 471"/>
                <a:gd name="T41" fmla="*/ 55413516 h 237"/>
                <a:gd name="T42" fmla="*/ 55100372 w 471"/>
                <a:gd name="T43" fmla="*/ 54321557 h 237"/>
                <a:gd name="T44" fmla="*/ 53180340 w 471"/>
                <a:gd name="T45" fmla="*/ 51864911 h 237"/>
                <a:gd name="T46" fmla="*/ 51260746 w 471"/>
                <a:gd name="T47" fmla="*/ 48589034 h 237"/>
                <a:gd name="T48" fmla="*/ 48956882 w 471"/>
                <a:gd name="T49" fmla="*/ 45313680 h 237"/>
                <a:gd name="T50" fmla="*/ 46076834 w 471"/>
                <a:gd name="T51" fmla="*/ 43402491 h 237"/>
                <a:gd name="T52" fmla="*/ 43581054 w 471"/>
                <a:gd name="T53" fmla="*/ 43402491 h 237"/>
                <a:gd name="T54" fmla="*/ 39357597 w 471"/>
                <a:gd name="T55" fmla="*/ 44494450 h 237"/>
                <a:gd name="T56" fmla="*/ 35133701 w 471"/>
                <a:gd name="T57" fmla="*/ 45586409 h 237"/>
                <a:gd name="T58" fmla="*/ 32446006 w 471"/>
                <a:gd name="T59" fmla="*/ 45859660 h 237"/>
                <a:gd name="T60" fmla="*/ 30334058 w 471"/>
                <a:gd name="T61" fmla="*/ 44767701 h 237"/>
                <a:gd name="T62" fmla="*/ 28414025 w 471"/>
                <a:gd name="T63" fmla="*/ 42311055 h 237"/>
                <a:gd name="T64" fmla="*/ 26686347 w 471"/>
                <a:gd name="T65" fmla="*/ 40399866 h 237"/>
                <a:gd name="T66" fmla="*/ 23422467 w 471"/>
                <a:gd name="T67" fmla="*/ 39581158 h 237"/>
                <a:gd name="T68" fmla="*/ 17662808 w 471"/>
                <a:gd name="T69" fmla="*/ 36851260 h 237"/>
                <a:gd name="T70" fmla="*/ 9215454 w 471"/>
                <a:gd name="T71" fmla="*/ 31937968 h 237"/>
                <a:gd name="T72" fmla="*/ 2303864 w 471"/>
                <a:gd name="T73" fmla="*/ 26205445 h 237"/>
                <a:gd name="T74" fmla="*/ 13438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13" name="Freeform 274">
              <a:extLst>
                <a:ext uri="{FF2B5EF4-FFF2-40B4-BE49-F238E27FC236}">
                  <a16:creationId xmlns:a16="http://schemas.microsoft.com/office/drawing/2014/main" id="{B742EE80-ABAC-4C53-A005-63C296E61CC7}"/>
                </a:ext>
              </a:extLst>
            </p:cNvPr>
            <p:cNvSpPr>
              <a:spLocks/>
            </p:cNvSpPr>
            <p:nvPr>
              <p:custDataLst>
                <p:tags r:id="rId201"/>
              </p:custDataLst>
            </p:nvPr>
          </p:nvSpPr>
          <p:spPr bwMode="auto">
            <a:xfrm>
              <a:off x="6167438" y="3108325"/>
              <a:ext cx="73025" cy="65088"/>
            </a:xfrm>
            <a:custGeom>
              <a:avLst/>
              <a:gdLst>
                <a:gd name="T0" fmla="*/ 31932040 w 167"/>
                <a:gd name="T1" fmla="*/ 12040566 h 123"/>
                <a:gd name="T2" fmla="*/ 31358334 w 167"/>
                <a:gd name="T3" fmla="*/ 15120821 h 123"/>
                <a:gd name="T4" fmla="*/ 30784629 w 167"/>
                <a:gd name="T5" fmla="*/ 18481004 h 123"/>
                <a:gd name="T6" fmla="*/ 29637655 w 167"/>
                <a:gd name="T7" fmla="*/ 22121113 h 123"/>
                <a:gd name="T8" fmla="*/ 28681334 w 167"/>
                <a:gd name="T9" fmla="*/ 26041150 h 123"/>
                <a:gd name="T10" fmla="*/ 27916539 w 167"/>
                <a:gd name="T11" fmla="*/ 27721241 h 123"/>
                <a:gd name="T12" fmla="*/ 27151744 w 167"/>
                <a:gd name="T13" fmla="*/ 29401332 h 123"/>
                <a:gd name="T14" fmla="*/ 26386950 w 167"/>
                <a:gd name="T15" fmla="*/ 30801497 h 123"/>
                <a:gd name="T16" fmla="*/ 25239539 w 167"/>
                <a:gd name="T17" fmla="*/ 31921734 h 123"/>
                <a:gd name="T18" fmla="*/ 24283655 w 167"/>
                <a:gd name="T19" fmla="*/ 33041442 h 123"/>
                <a:gd name="T20" fmla="*/ 23136244 w 167"/>
                <a:gd name="T21" fmla="*/ 33881752 h 123"/>
                <a:gd name="T22" fmla="*/ 21989271 w 167"/>
                <a:gd name="T23" fmla="*/ 34161679 h 123"/>
                <a:gd name="T24" fmla="*/ 20459244 w 167"/>
                <a:gd name="T25" fmla="*/ 34441606 h 123"/>
                <a:gd name="T26" fmla="*/ 19121181 w 167"/>
                <a:gd name="T27" fmla="*/ 34161679 h 123"/>
                <a:gd name="T28" fmla="*/ 17591154 w 167"/>
                <a:gd name="T29" fmla="*/ 33321369 h 123"/>
                <a:gd name="T30" fmla="*/ 16635270 w 167"/>
                <a:gd name="T31" fmla="*/ 32481588 h 123"/>
                <a:gd name="T32" fmla="*/ 16061565 w 167"/>
                <a:gd name="T33" fmla="*/ 31641278 h 123"/>
                <a:gd name="T34" fmla="*/ 15679386 w 167"/>
                <a:gd name="T35" fmla="*/ 30521570 h 123"/>
                <a:gd name="T36" fmla="*/ 15487859 w 167"/>
                <a:gd name="T37" fmla="*/ 29401332 h 123"/>
                <a:gd name="T38" fmla="*/ 13576091 w 167"/>
                <a:gd name="T39" fmla="*/ 29121405 h 123"/>
                <a:gd name="T40" fmla="*/ 11663885 w 167"/>
                <a:gd name="T41" fmla="*/ 28841478 h 123"/>
                <a:gd name="T42" fmla="*/ 9751680 w 167"/>
                <a:gd name="T43" fmla="*/ 28281095 h 123"/>
                <a:gd name="T44" fmla="*/ 7839474 w 167"/>
                <a:gd name="T45" fmla="*/ 27441314 h 123"/>
                <a:gd name="T46" fmla="*/ 4015500 w 167"/>
                <a:gd name="T47" fmla="*/ 25761223 h 123"/>
                <a:gd name="T48" fmla="*/ 0 w 167"/>
                <a:gd name="T49" fmla="*/ 24081132 h 123"/>
                <a:gd name="T50" fmla="*/ 382616 w 167"/>
                <a:gd name="T51" fmla="*/ 21561259 h 123"/>
                <a:gd name="T52" fmla="*/ 955884 w 167"/>
                <a:gd name="T53" fmla="*/ 18760931 h 123"/>
                <a:gd name="T54" fmla="*/ 1720679 w 167"/>
                <a:gd name="T55" fmla="*/ 15680675 h 123"/>
                <a:gd name="T56" fmla="*/ 2868090 w 167"/>
                <a:gd name="T57" fmla="*/ 12040566 h 123"/>
                <a:gd name="T58" fmla="*/ 3824411 w 167"/>
                <a:gd name="T59" fmla="*/ 12040566 h 123"/>
                <a:gd name="T60" fmla="*/ 4971385 w 167"/>
                <a:gd name="T61" fmla="*/ 11760639 h 123"/>
                <a:gd name="T62" fmla="*/ 5736179 w 167"/>
                <a:gd name="T63" fmla="*/ 11480712 h 123"/>
                <a:gd name="T64" fmla="*/ 6309885 w 167"/>
                <a:gd name="T65" fmla="*/ 10640402 h 123"/>
                <a:gd name="T66" fmla="*/ 7648385 w 167"/>
                <a:gd name="T67" fmla="*/ 9240237 h 123"/>
                <a:gd name="T68" fmla="*/ 8604269 w 167"/>
                <a:gd name="T69" fmla="*/ 7280219 h 123"/>
                <a:gd name="T70" fmla="*/ 9942769 w 167"/>
                <a:gd name="T71" fmla="*/ 3360183 h 123"/>
                <a:gd name="T72" fmla="*/ 11663885 w 167"/>
                <a:gd name="T73" fmla="*/ 0 h 123"/>
                <a:gd name="T74" fmla="*/ 12237591 w 167"/>
                <a:gd name="T75" fmla="*/ 1120237 h 123"/>
                <a:gd name="T76" fmla="*/ 12810859 w 167"/>
                <a:gd name="T77" fmla="*/ 1960018 h 123"/>
                <a:gd name="T78" fmla="*/ 13958270 w 167"/>
                <a:gd name="T79" fmla="*/ 3080256 h 123"/>
                <a:gd name="T80" fmla="*/ 14914154 w 167"/>
                <a:gd name="T81" fmla="*/ 3920037 h 123"/>
                <a:gd name="T82" fmla="*/ 17591154 w 167"/>
                <a:gd name="T83" fmla="*/ 5880055 h 123"/>
                <a:gd name="T84" fmla="*/ 20459244 w 167"/>
                <a:gd name="T85" fmla="*/ 7840602 h 123"/>
                <a:gd name="T86" fmla="*/ 23327771 w 167"/>
                <a:gd name="T87" fmla="*/ 9800621 h 123"/>
                <a:gd name="T88" fmla="*/ 26578039 w 167"/>
                <a:gd name="T89" fmla="*/ 10920329 h 123"/>
                <a:gd name="T90" fmla="*/ 29255039 w 167"/>
                <a:gd name="T91" fmla="*/ 11760639 h 123"/>
                <a:gd name="T92" fmla="*/ 31932040 w 167"/>
                <a:gd name="T93" fmla="*/ 12040566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US"/>
            </a:p>
          </p:txBody>
        </p:sp>
        <p:sp>
          <p:nvSpPr>
            <p:cNvPr id="214" name="Freeform 275">
              <a:extLst>
                <a:ext uri="{FF2B5EF4-FFF2-40B4-BE49-F238E27FC236}">
                  <a16:creationId xmlns:a16="http://schemas.microsoft.com/office/drawing/2014/main" id="{DC32AE9F-EB57-4AC2-8920-D69EB4E6963E}"/>
                </a:ext>
              </a:extLst>
            </p:cNvPr>
            <p:cNvSpPr>
              <a:spLocks/>
            </p:cNvSpPr>
            <p:nvPr>
              <p:custDataLst>
                <p:tags r:id="rId202"/>
              </p:custDataLst>
            </p:nvPr>
          </p:nvSpPr>
          <p:spPr bwMode="auto">
            <a:xfrm>
              <a:off x="6157913" y="3179763"/>
              <a:ext cx="133350" cy="166687"/>
            </a:xfrm>
            <a:custGeom>
              <a:avLst/>
              <a:gdLst>
                <a:gd name="T0" fmla="*/ 49186104 w 306"/>
                <a:gd name="T1" fmla="*/ 43143632 h 321"/>
                <a:gd name="T2" fmla="*/ 47856962 w 306"/>
                <a:gd name="T3" fmla="*/ 46649273 h 321"/>
                <a:gd name="T4" fmla="*/ 46147816 w 306"/>
                <a:gd name="T5" fmla="*/ 49075855 h 321"/>
                <a:gd name="T6" fmla="*/ 44248668 w 306"/>
                <a:gd name="T7" fmla="*/ 50154913 h 321"/>
                <a:gd name="T8" fmla="*/ 42349520 w 306"/>
                <a:gd name="T9" fmla="*/ 49615384 h 321"/>
                <a:gd name="T10" fmla="*/ 40640374 w 306"/>
                <a:gd name="T11" fmla="*/ 47997316 h 321"/>
                <a:gd name="T12" fmla="*/ 39690800 w 306"/>
                <a:gd name="T13" fmla="*/ 45570734 h 321"/>
                <a:gd name="T14" fmla="*/ 39121229 w 306"/>
                <a:gd name="T15" fmla="*/ 43143632 h 321"/>
                <a:gd name="T16" fmla="*/ 39690800 w 306"/>
                <a:gd name="T17" fmla="*/ 39908015 h 321"/>
                <a:gd name="T18" fmla="*/ 40450372 w 306"/>
                <a:gd name="T19" fmla="*/ 36672399 h 321"/>
                <a:gd name="T20" fmla="*/ 43678662 w 306"/>
                <a:gd name="T21" fmla="*/ 30740175 h 321"/>
                <a:gd name="T22" fmla="*/ 46717386 w 306"/>
                <a:gd name="T23" fmla="*/ 25077457 h 321"/>
                <a:gd name="T24" fmla="*/ 47476958 w 306"/>
                <a:gd name="T25" fmla="*/ 22111345 h 321"/>
                <a:gd name="T26" fmla="*/ 48046528 w 306"/>
                <a:gd name="T27" fmla="*/ 18605704 h 321"/>
                <a:gd name="T28" fmla="*/ 24498051 w 306"/>
                <a:gd name="T29" fmla="*/ 18336199 h 321"/>
                <a:gd name="T30" fmla="*/ 22598903 w 306"/>
                <a:gd name="T31" fmla="*/ 15909097 h 321"/>
                <a:gd name="T32" fmla="*/ 21269761 w 306"/>
                <a:gd name="T33" fmla="*/ 12133952 h 321"/>
                <a:gd name="T34" fmla="*/ 20510189 w 306"/>
                <a:gd name="T35" fmla="*/ 7550291 h 321"/>
                <a:gd name="T36" fmla="*/ 19180611 w 306"/>
                <a:gd name="T37" fmla="*/ 5123189 h 321"/>
                <a:gd name="T38" fmla="*/ 17091897 w 306"/>
                <a:gd name="T39" fmla="*/ 4584180 h 321"/>
                <a:gd name="T40" fmla="*/ 15192749 w 306"/>
                <a:gd name="T41" fmla="*/ 3235617 h 321"/>
                <a:gd name="T42" fmla="*/ 14243175 w 306"/>
                <a:gd name="T43" fmla="*/ 1078539 h 321"/>
                <a:gd name="T44" fmla="*/ 12344026 w 306"/>
                <a:gd name="T45" fmla="*/ 0 h 321"/>
                <a:gd name="T46" fmla="*/ 9305302 w 306"/>
                <a:gd name="T47" fmla="*/ 0 h 321"/>
                <a:gd name="T48" fmla="*/ 6457016 w 306"/>
                <a:gd name="T49" fmla="*/ 269505 h 321"/>
                <a:gd name="T50" fmla="*/ 4177864 w 306"/>
                <a:gd name="T51" fmla="*/ 1348044 h 321"/>
                <a:gd name="T52" fmla="*/ 1899148 w 306"/>
                <a:gd name="T53" fmla="*/ 3775146 h 321"/>
                <a:gd name="T54" fmla="*/ 190002 w 306"/>
                <a:gd name="T55" fmla="*/ 6741257 h 321"/>
                <a:gd name="T56" fmla="*/ 380004 w 306"/>
                <a:gd name="T57" fmla="*/ 9437864 h 321"/>
                <a:gd name="T58" fmla="*/ 2848722 w 306"/>
                <a:gd name="T59" fmla="*/ 12403976 h 321"/>
                <a:gd name="T60" fmla="*/ 6646582 w 306"/>
                <a:gd name="T61" fmla="*/ 15639592 h 321"/>
                <a:gd name="T62" fmla="*/ 10254876 w 306"/>
                <a:gd name="T63" fmla="*/ 18066694 h 321"/>
                <a:gd name="T64" fmla="*/ 8925734 w 306"/>
                <a:gd name="T65" fmla="*/ 21302311 h 321"/>
                <a:gd name="T66" fmla="*/ 4747870 w 306"/>
                <a:gd name="T67" fmla="*/ 26155996 h 321"/>
                <a:gd name="T68" fmla="*/ 3228290 w 306"/>
                <a:gd name="T69" fmla="*/ 28852602 h 321"/>
                <a:gd name="T70" fmla="*/ 2658720 w 306"/>
                <a:gd name="T71" fmla="*/ 30740175 h 321"/>
                <a:gd name="T72" fmla="*/ 2658720 w 306"/>
                <a:gd name="T73" fmla="*/ 32897253 h 321"/>
                <a:gd name="T74" fmla="*/ 3418292 w 306"/>
                <a:gd name="T75" fmla="*/ 34784826 h 321"/>
                <a:gd name="T76" fmla="*/ 5317440 w 306"/>
                <a:gd name="T77" fmla="*/ 38020442 h 321"/>
                <a:gd name="T78" fmla="*/ 8925734 w 306"/>
                <a:gd name="T79" fmla="*/ 42065093 h 321"/>
                <a:gd name="T80" fmla="*/ 12154025 w 306"/>
                <a:gd name="T81" fmla="*/ 44222171 h 321"/>
                <a:gd name="T82" fmla="*/ 14243175 w 306"/>
                <a:gd name="T83" fmla="*/ 44761700 h 321"/>
                <a:gd name="T84" fmla="*/ 20320187 w 306"/>
                <a:gd name="T85" fmla="*/ 73074773 h 321"/>
                <a:gd name="T86" fmla="*/ 20510189 w 306"/>
                <a:gd name="T87" fmla="*/ 70917695 h 321"/>
                <a:gd name="T88" fmla="*/ 21269761 w 306"/>
                <a:gd name="T89" fmla="*/ 69030122 h 321"/>
                <a:gd name="T90" fmla="*/ 24118483 w 306"/>
                <a:gd name="T91" fmla="*/ 66333516 h 321"/>
                <a:gd name="T92" fmla="*/ 28106345 w 306"/>
                <a:gd name="T93" fmla="*/ 64715967 h 321"/>
                <a:gd name="T94" fmla="*/ 33043781 w 306"/>
                <a:gd name="T95" fmla="*/ 63367404 h 321"/>
                <a:gd name="T96" fmla="*/ 33043781 w 306"/>
                <a:gd name="T97" fmla="*/ 56626146 h 321"/>
                <a:gd name="T98" fmla="*/ 34753363 w 306"/>
                <a:gd name="T99" fmla="*/ 57165676 h 321"/>
                <a:gd name="T100" fmla="*/ 36652075 w 306"/>
                <a:gd name="T101" fmla="*/ 57165676 h 321"/>
                <a:gd name="T102" fmla="*/ 40450372 w 306"/>
                <a:gd name="T103" fmla="*/ 56626146 h 321"/>
                <a:gd name="T104" fmla="*/ 44058666 w 306"/>
                <a:gd name="T105" fmla="*/ 70378166 h 321"/>
                <a:gd name="T106" fmla="*/ 49186104 w 306"/>
                <a:gd name="T107" fmla="*/ 86557288 h 321"/>
                <a:gd name="T108" fmla="*/ 51654822 w 306"/>
                <a:gd name="T109" fmla="*/ 83860681 h 321"/>
                <a:gd name="T110" fmla="*/ 53553970 w 306"/>
                <a:gd name="T111" fmla="*/ 81434098 h 321"/>
                <a:gd name="T112" fmla="*/ 56022688 w 306"/>
                <a:gd name="T113" fmla="*/ 75501875 h 321"/>
                <a:gd name="T114" fmla="*/ 58111838 w 306"/>
                <a:gd name="T115" fmla="*/ 63367404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US"/>
            </a:p>
          </p:txBody>
        </p:sp>
        <p:sp>
          <p:nvSpPr>
            <p:cNvPr id="215" name="Freeform 276">
              <a:extLst>
                <a:ext uri="{FF2B5EF4-FFF2-40B4-BE49-F238E27FC236}">
                  <a16:creationId xmlns:a16="http://schemas.microsoft.com/office/drawing/2014/main" id="{FE5D8EEA-F47A-45B1-BB38-77B2F4BE7C79}"/>
                </a:ext>
              </a:extLst>
            </p:cNvPr>
            <p:cNvSpPr>
              <a:spLocks/>
            </p:cNvSpPr>
            <p:nvPr>
              <p:custDataLst>
                <p:tags r:id="rId203"/>
              </p:custDataLst>
            </p:nvPr>
          </p:nvSpPr>
          <p:spPr bwMode="auto">
            <a:xfrm>
              <a:off x="6475413" y="3295650"/>
              <a:ext cx="201612" cy="269875"/>
            </a:xfrm>
            <a:custGeom>
              <a:avLst/>
              <a:gdLst>
                <a:gd name="T0" fmla="*/ 17223486 w 471"/>
                <a:gd name="T1" fmla="*/ 3257256 h 518"/>
                <a:gd name="T2" fmla="*/ 12276073 w 471"/>
                <a:gd name="T3" fmla="*/ 8686015 h 518"/>
                <a:gd name="T4" fmla="*/ 7329088 w 471"/>
                <a:gd name="T5" fmla="*/ 13300461 h 518"/>
                <a:gd name="T6" fmla="*/ 4946985 w 471"/>
                <a:gd name="T7" fmla="*/ 22257915 h 518"/>
                <a:gd name="T8" fmla="*/ 1465646 w 471"/>
                <a:gd name="T9" fmla="*/ 32029161 h 518"/>
                <a:gd name="T10" fmla="*/ 1282441 w 471"/>
                <a:gd name="T11" fmla="*/ 36915045 h 518"/>
                <a:gd name="T12" fmla="*/ 5497030 w 471"/>
                <a:gd name="T13" fmla="*/ 41529490 h 518"/>
                <a:gd name="T14" fmla="*/ 9161575 w 471"/>
                <a:gd name="T15" fmla="*/ 45601060 h 518"/>
                <a:gd name="T16" fmla="*/ 11360044 w 471"/>
                <a:gd name="T17" fmla="*/ 46686812 h 518"/>
                <a:gd name="T18" fmla="*/ 13742148 w 471"/>
                <a:gd name="T19" fmla="*/ 57272893 h 518"/>
                <a:gd name="T20" fmla="*/ 15391000 w 471"/>
                <a:gd name="T21" fmla="*/ 73830089 h 518"/>
                <a:gd name="T22" fmla="*/ 17223486 w 471"/>
                <a:gd name="T23" fmla="*/ 81158915 h 518"/>
                <a:gd name="T24" fmla="*/ 19055544 w 471"/>
                <a:gd name="T25" fmla="*/ 81973229 h 518"/>
                <a:gd name="T26" fmla="*/ 20521619 w 471"/>
                <a:gd name="T27" fmla="*/ 80616039 h 518"/>
                <a:gd name="T28" fmla="*/ 23453340 w 471"/>
                <a:gd name="T29" fmla="*/ 72744337 h 518"/>
                <a:gd name="T30" fmla="*/ 26567839 w 471"/>
                <a:gd name="T31" fmla="*/ 71115709 h 518"/>
                <a:gd name="T32" fmla="*/ 29316354 w 471"/>
                <a:gd name="T33" fmla="*/ 73830089 h 518"/>
                <a:gd name="T34" fmla="*/ 31698457 w 471"/>
                <a:gd name="T35" fmla="*/ 75187279 h 518"/>
                <a:gd name="T36" fmla="*/ 33530515 w 471"/>
                <a:gd name="T37" fmla="*/ 74372965 h 518"/>
                <a:gd name="T38" fmla="*/ 35179796 w 471"/>
                <a:gd name="T39" fmla="*/ 70301917 h 518"/>
                <a:gd name="T40" fmla="*/ 37195060 w 471"/>
                <a:gd name="T41" fmla="*/ 66230347 h 518"/>
                <a:gd name="T42" fmla="*/ 38844340 w 471"/>
                <a:gd name="T43" fmla="*/ 65416033 h 518"/>
                <a:gd name="T44" fmla="*/ 44157737 w 471"/>
                <a:gd name="T45" fmla="*/ 67044661 h 518"/>
                <a:gd name="T46" fmla="*/ 47455869 w 471"/>
                <a:gd name="T47" fmla="*/ 73558651 h 518"/>
                <a:gd name="T48" fmla="*/ 56434238 w 471"/>
                <a:gd name="T49" fmla="*/ 91202120 h 518"/>
                <a:gd name="T50" fmla="*/ 62480458 w 471"/>
                <a:gd name="T51" fmla="*/ 103688267 h 518"/>
                <a:gd name="T52" fmla="*/ 65595385 w 471"/>
                <a:gd name="T53" fmla="*/ 113731473 h 518"/>
                <a:gd name="T54" fmla="*/ 67061459 w 471"/>
                <a:gd name="T55" fmla="*/ 124045595 h 518"/>
                <a:gd name="T56" fmla="*/ 65778590 w 471"/>
                <a:gd name="T57" fmla="*/ 127574289 h 518"/>
                <a:gd name="T58" fmla="*/ 62114046 w 471"/>
                <a:gd name="T59" fmla="*/ 132188735 h 518"/>
                <a:gd name="T60" fmla="*/ 66511414 w 471"/>
                <a:gd name="T61" fmla="*/ 134631676 h 518"/>
                <a:gd name="T62" fmla="*/ 71825238 w 471"/>
                <a:gd name="T63" fmla="*/ 140603312 h 518"/>
                <a:gd name="T64" fmla="*/ 73474090 w 471"/>
                <a:gd name="T65" fmla="*/ 135445990 h 518"/>
                <a:gd name="T66" fmla="*/ 75672988 w 471"/>
                <a:gd name="T67" fmla="*/ 132731611 h 518"/>
                <a:gd name="T68" fmla="*/ 81353224 w 471"/>
                <a:gd name="T69" fmla="*/ 131102983 h 518"/>
                <a:gd name="T70" fmla="*/ 85750592 w 471"/>
                <a:gd name="T71" fmla="*/ 118888273 h 518"/>
                <a:gd name="T72" fmla="*/ 82269253 w 471"/>
                <a:gd name="T73" fmla="*/ 105045457 h 518"/>
                <a:gd name="T74" fmla="*/ 77138635 w 471"/>
                <a:gd name="T75" fmla="*/ 94187938 h 518"/>
                <a:gd name="T76" fmla="*/ 63213709 w 471"/>
                <a:gd name="T77" fmla="*/ 75187279 h 518"/>
                <a:gd name="T78" fmla="*/ 51120413 w 471"/>
                <a:gd name="T79" fmla="*/ 59172959 h 518"/>
                <a:gd name="T80" fmla="*/ 41042810 w 471"/>
                <a:gd name="T81" fmla="*/ 43972432 h 518"/>
                <a:gd name="T82" fmla="*/ 32797692 w 471"/>
                <a:gd name="T83" fmla="*/ 28500467 h 518"/>
                <a:gd name="T84" fmla="*/ 23269706 w 471"/>
                <a:gd name="T85" fmla="*/ 10857519 h 518"/>
                <a:gd name="T86" fmla="*/ 21071236 w 471"/>
                <a:gd name="T87" fmla="*/ 3800132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216" name="Freeform 277">
              <a:extLst>
                <a:ext uri="{FF2B5EF4-FFF2-40B4-BE49-F238E27FC236}">
                  <a16:creationId xmlns:a16="http://schemas.microsoft.com/office/drawing/2014/main" id="{6BBF06D3-375A-440D-9B27-AB8932CB9B64}"/>
                </a:ext>
              </a:extLst>
            </p:cNvPr>
            <p:cNvSpPr>
              <a:spLocks/>
            </p:cNvSpPr>
            <p:nvPr>
              <p:custDataLst>
                <p:tags r:id="rId204"/>
              </p:custDataLst>
            </p:nvPr>
          </p:nvSpPr>
          <p:spPr bwMode="auto">
            <a:xfrm>
              <a:off x="6557963" y="3546475"/>
              <a:ext cx="133350" cy="130175"/>
            </a:xfrm>
            <a:custGeom>
              <a:avLst/>
              <a:gdLst>
                <a:gd name="T0" fmla="*/ 31484254 w 293"/>
                <a:gd name="T1" fmla="*/ 5320242 h 246"/>
                <a:gd name="T2" fmla="*/ 37076761 w 293"/>
                <a:gd name="T3" fmla="*/ 8400521 h 246"/>
                <a:gd name="T4" fmla="*/ 40598021 w 293"/>
                <a:gd name="T5" fmla="*/ 8400521 h 246"/>
                <a:gd name="T6" fmla="*/ 41840952 w 293"/>
                <a:gd name="T7" fmla="*/ 5040313 h 246"/>
                <a:gd name="T8" fmla="*/ 43498042 w 293"/>
                <a:gd name="T9" fmla="*/ 2800350 h 246"/>
                <a:gd name="T10" fmla="*/ 45362211 w 293"/>
                <a:gd name="T11" fmla="*/ 1680104 h 246"/>
                <a:gd name="T12" fmla="*/ 50747640 w 293"/>
                <a:gd name="T13" fmla="*/ 559858 h 246"/>
                <a:gd name="T14" fmla="*/ 60690179 w 293"/>
                <a:gd name="T15" fmla="*/ 22401213 h 246"/>
                <a:gd name="T16" fmla="*/ 55097671 w 293"/>
                <a:gd name="T17" fmla="*/ 29961946 h 246"/>
                <a:gd name="T18" fmla="*/ 49090550 w 293"/>
                <a:gd name="T19" fmla="*/ 39482713 h 246"/>
                <a:gd name="T20" fmla="*/ 46605142 w 293"/>
                <a:gd name="T21" fmla="*/ 44523025 h 246"/>
                <a:gd name="T22" fmla="*/ 44533894 w 293"/>
                <a:gd name="T23" fmla="*/ 49843267 h 246"/>
                <a:gd name="T24" fmla="*/ 43290962 w 293"/>
                <a:gd name="T25" fmla="*/ 55163508 h 246"/>
                <a:gd name="T26" fmla="*/ 42669724 w 293"/>
                <a:gd name="T27" fmla="*/ 60483750 h 246"/>
                <a:gd name="T28" fmla="*/ 40598021 w 293"/>
                <a:gd name="T29" fmla="*/ 60763679 h 246"/>
                <a:gd name="T30" fmla="*/ 38526772 w 293"/>
                <a:gd name="T31" fmla="*/ 61603996 h 246"/>
                <a:gd name="T32" fmla="*/ 35212592 w 293"/>
                <a:gd name="T33" fmla="*/ 64123887 h 246"/>
                <a:gd name="T34" fmla="*/ 31898412 w 293"/>
                <a:gd name="T35" fmla="*/ 66924237 h 246"/>
                <a:gd name="T36" fmla="*/ 27548836 w 293"/>
                <a:gd name="T37" fmla="*/ 68884271 h 246"/>
                <a:gd name="T38" fmla="*/ 21127555 w 293"/>
                <a:gd name="T39" fmla="*/ 67204167 h 246"/>
                <a:gd name="T40" fmla="*/ 14706275 w 293"/>
                <a:gd name="T41" fmla="*/ 64964204 h 246"/>
                <a:gd name="T42" fmla="*/ 12220868 w 293"/>
                <a:gd name="T43" fmla="*/ 63284100 h 246"/>
                <a:gd name="T44" fmla="*/ 10149619 w 293"/>
                <a:gd name="T45" fmla="*/ 61603996 h 246"/>
                <a:gd name="T46" fmla="*/ 8906688 w 293"/>
                <a:gd name="T47" fmla="*/ 59363504 h 246"/>
                <a:gd name="T48" fmla="*/ 8492529 w 293"/>
                <a:gd name="T49" fmla="*/ 57123542 h 246"/>
                <a:gd name="T50" fmla="*/ 9735460 w 293"/>
                <a:gd name="T51" fmla="*/ 49843267 h 246"/>
                <a:gd name="T52" fmla="*/ 9320846 w 293"/>
                <a:gd name="T53" fmla="*/ 45362813 h 246"/>
                <a:gd name="T54" fmla="*/ 8285450 w 293"/>
                <a:gd name="T55" fmla="*/ 41162817 h 246"/>
                <a:gd name="T56" fmla="*/ 4971270 w 293"/>
                <a:gd name="T57" fmla="*/ 33322154 h 246"/>
                <a:gd name="T58" fmla="*/ 1657090 w 293"/>
                <a:gd name="T59" fmla="*/ 25481492 h 246"/>
                <a:gd name="T60" fmla="*/ 414159 w 293"/>
                <a:gd name="T61" fmla="*/ 20721108 h 246"/>
                <a:gd name="T62" fmla="*/ 0 w 293"/>
                <a:gd name="T63" fmla="*/ 15400867 h 246"/>
                <a:gd name="T64" fmla="*/ 414159 w 293"/>
                <a:gd name="T65" fmla="*/ 12601046 h 246"/>
                <a:gd name="T66" fmla="*/ 1657090 w 293"/>
                <a:gd name="T67" fmla="*/ 10080625 h 246"/>
                <a:gd name="T68" fmla="*/ 3521259 w 293"/>
                <a:gd name="T69" fmla="*/ 8120592 h 246"/>
                <a:gd name="T70" fmla="*/ 5385428 w 293"/>
                <a:gd name="T71" fmla="*/ 6160558 h 246"/>
                <a:gd name="T72" fmla="*/ 9942540 w 293"/>
                <a:gd name="T73" fmla="*/ 3920067 h 246"/>
                <a:gd name="T74" fmla="*/ 13877958 w 293"/>
                <a:gd name="T75" fmla="*/ 3360208 h 246"/>
                <a:gd name="T76" fmla="*/ 19884624 w 293"/>
                <a:gd name="T77" fmla="*/ 3360208 h 246"/>
                <a:gd name="T78" fmla="*/ 27548836 w 293"/>
                <a:gd name="T79" fmla="*/ 3360208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en-US"/>
            </a:p>
          </p:txBody>
        </p:sp>
        <p:sp>
          <p:nvSpPr>
            <p:cNvPr id="217" name="Freeform 278">
              <a:extLst>
                <a:ext uri="{FF2B5EF4-FFF2-40B4-BE49-F238E27FC236}">
                  <a16:creationId xmlns:a16="http://schemas.microsoft.com/office/drawing/2014/main" id="{0F005FA4-B441-405D-9913-FD7B9466411C}"/>
                </a:ext>
              </a:extLst>
            </p:cNvPr>
            <p:cNvSpPr>
              <a:spLocks/>
            </p:cNvSpPr>
            <p:nvPr>
              <p:custDataLst>
                <p:tags r:id="rId205"/>
              </p:custDataLst>
            </p:nvPr>
          </p:nvSpPr>
          <p:spPr bwMode="auto">
            <a:xfrm>
              <a:off x="6959600" y="2782888"/>
              <a:ext cx="85725" cy="130175"/>
            </a:xfrm>
            <a:custGeom>
              <a:avLst/>
              <a:gdLst>
                <a:gd name="T0" fmla="*/ 3306842 w 200"/>
                <a:gd name="T1" fmla="*/ 11480800 h 246"/>
                <a:gd name="T2" fmla="*/ 5144357 w 200"/>
                <a:gd name="T3" fmla="*/ 7280275 h 246"/>
                <a:gd name="T4" fmla="*/ 6981444 w 200"/>
                <a:gd name="T5" fmla="*/ 4480454 h 246"/>
                <a:gd name="T6" fmla="*/ 9185862 w 200"/>
                <a:gd name="T7" fmla="*/ 2520421 h 246"/>
                <a:gd name="T8" fmla="*/ 13411676 w 200"/>
                <a:gd name="T9" fmla="*/ 279929 h 246"/>
                <a:gd name="T10" fmla="*/ 16167306 w 200"/>
                <a:gd name="T11" fmla="*/ 3360208 h 246"/>
                <a:gd name="T12" fmla="*/ 19841909 w 200"/>
                <a:gd name="T13" fmla="*/ 9520767 h 246"/>
                <a:gd name="T14" fmla="*/ 22964870 w 200"/>
                <a:gd name="T15" fmla="*/ 14000692 h 246"/>
                <a:gd name="T16" fmla="*/ 25537049 w 200"/>
                <a:gd name="T17" fmla="*/ 16241183 h 246"/>
                <a:gd name="T18" fmla="*/ 27925347 w 200"/>
                <a:gd name="T19" fmla="*/ 17921288 h 246"/>
                <a:gd name="T20" fmla="*/ 30497526 w 200"/>
                <a:gd name="T21" fmla="*/ 18761075 h 246"/>
                <a:gd name="T22" fmla="*/ 33804368 w 200"/>
                <a:gd name="T23" fmla="*/ 26881667 h 246"/>
                <a:gd name="T24" fmla="*/ 35825335 w 200"/>
                <a:gd name="T25" fmla="*/ 38362467 h 246"/>
                <a:gd name="T26" fmla="*/ 36559998 w 200"/>
                <a:gd name="T27" fmla="*/ 46203129 h 246"/>
                <a:gd name="T28" fmla="*/ 36743878 w 200"/>
                <a:gd name="T29" fmla="*/ 51803300 h 246"/>
                <a:gd name="T30" fmla="*/ 36376547 w 200"/>
                <a:gd name="T31" fmla="*/ 55163508 h 246"/>
                <a:gd name="T32" fmla="*/ 35825335 w 200"/>
                <a:gd name="T33" fmla="*/ 57963329 h 246"/>
                <a:gd name="T34" fmla="*/ 34722911 w 200"/>
                <a:gd name="T35" fmla="*/ 59923892 h 246"/>
                <a:gd name="T36" fmla="*/ 32885825 w 200"/>
                <a:gd name="T37" fmla="*/ 61603996 h 246"/>
                <a:gd name="T38" fmla="*/ 30130194 w 200"/>
                <a:gd name="T39" fmla="*/ 62723712 h 246"/>
                <a:gd name="T40" fmla="*/ 25720929 w 200"/>
                <a:gd name="T41" fmla="*/ 62723712 h 246"/>
                <a:gd name="T42" fmla="*/ 21678995 w 200"/>
                <a:gd name="T43" fmla="*/ 64123887 h 246"/>
                <a:gd name="T44" fmla="*/ 20392692 w 200"/>
                <a:gd name="T45" fmla="*/ 65803992 h 246"/>
                <a:gd name="T46" fmla="*/ 19841909 w 200"/>
                <a:gd name="T47" fmla="*/ 67764025 h 246"/>
                <a:gd name="T48" fmla="*/ 18004393 w 200"/>
                <a:gd name="T49" fmla="*/ 68604342 h 246"/>
                <a:gd name="T50" fmla="*/ 15616095 w 200"/>
                <a:gd name="T51" fmla="*/ 67204167 h 246"/>
                <a:gd name="T52" fmla="*/ 14146340 w 200"/>
                <a:gd name="T53" fmla="*/ 64403817 h 246"/>
                <a:gd name="T54" fmla="*/ 13411676 w 200"/>
                <a:gd name="T55" fmla="*/ 60483750 h 246"/>
                <a:gd name="T56" fmla="*/ 13227796 w 200"/>
                <a:gd name="T57" fmla="*/ 53763333 h 246"/>
                <a:gd name="T58" fmla="*/ 13043916 w 200"/>
                <a:gd name="T59" fmla="*/ 47042917 h 246"/>
                <a:gd name="T60" fmla="*/ 12676584 w 200"/>
                <a:gd name="T61" fmla="*/ 43122850 h 246"/>
                <a:gd name="T62" fmla="*/ 11758041 w 200"/>
                <a:gd name="T63" fmla="*/ 39762642 h 246"/>
                <a:gd name="T64" fmla="*/ 10288286 w 200"/>
                <a:gd name="T65" fmla="*/ 37522150 h 246"/>
                <a:gd name="T66" fmla="*/ 7348776 w 200"/>
                <a:gd name="T67" fmla="*/ 35002258 h 246"/>
                <a:gd name="T68" fmla="*/ 3306842 w 200"/>
                <a:gd name="T69" fmla="*/ 32201908 h 246"/>
                <a:gd name="T70" fmla="*/ 1102424 w 200"/>
                <a:gd name="T71" fmla="*/ 29682017 h 246"/>
                <a:gd name="T72" fmla="*/ 183880 w 200"/>
                <a:gd name="T73" fmla="*/ 27441525 h 246"/>
                <a:gd name="T74" fmla="*/ 183880 w 200"/>
                <a:gd name="T75" fmla="*/ 24361775 h 246"/>
                <a:gd name="T76" fmla="*/ 918543 w 200"/>
                <a:gd name="T77" fmla="*/ 21841354 h 246"/>
                <a:gd name="T78" fmla="*/ 1837087 w 200"/>
                <a:gd name="T79" fmla="*/ 19041004 h 246"/>
                <a:gd name="T80" fmla="*/ 2388299 w 200"/>
                <a:gd name="T81" fmla="*/ 15680796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C0C0C0"/>
            </a:solidFill>
            <a:ln w="9525" cmpd="sng">
              <a:solidFill>
                <a:srgbClr val="FFFFFF"/>
              </a:solidFill>
              <a:prstDash val="solid"/>
              <a:round/>
              <a:headEnd/>
              <a:tailEnd/>
            </a:ln>
          </p:spPr>
          <p:txBody>
            <a:bodyPr/>
            <a:lstStyle/>
            <a:p>
              <a:endParaRPr lang="en-US"/>
            </a:p>
          </p:txBody>
        </p:sp>
        <p:sp>
          <p:nvSpPr>
            <p:cNvPr id="218" name="Freeform 279">
              <a:extLst>
                <a:ext uri="{FF2B5EF4-FFF2-40B4-BE49-F238E27FC236}">
                  <a16:creationId xmlns:a16="http://schemas.microsoft.com/office/drawing/2014/main" id="{3B953154-2BCA-44ED-8EA4-4BAB669A54E0}"/>
                </a:ext>
              </a:extLst>
            </p:cNvPr>
            <p:cNvSpPr>
              <a:spLocks/>
            </p:cNvSpPr>
            <p:nvPr>
              <p:custDataLst>
                <p:tags r:id="rId206"/>
              </p:custDataLst>
            </p:nvPr>
          </p:nvSpPr>
          <p:spPr bwMode="auto">
            <a:xfrm>
              <a:off x="7527925" y="4079875"/>
              <a:ext cx="231775" cy="254000"/>
            </a:xfrm>
            <a:custGeom>
              <a:avLst/>
              <a:gdLst>
                <a:gd name="T0" fmla="*/ 16889418 w 538"/>
                <a:gd name="T1" fmla="*/ 5712653 h 487"/>
                <a:gd name="T2" fmla="*/ 29695203 w 538"/>
                <a:gd name="T3" fmla="*/ 12785014 h 487"/>
                <a:gd name="T4" fmla="*/ 37490252 w 538"/>
                <a:gd name="T5" fmla="*/ 19041655 h 487"/>
                <a:gd name="T6" fmla="*/ 46955978 w 538"/>
                <a:gd name="T7" fmla="*/ 29922973 h 487"/>
                <a:gd name="T8" fmla="*/ 55678989 w 538"/>
                <a:gd name="T9" fmla="*/ 36995335 h 487"/>
                <a:gd name="T10" fmla="*/ 55493311 w 538"/>
                <a:gd name="T11" fmla="*/ 43795963 h 487"/>
                <a:gd name="T12" fmla="*/ 64402001 w 538"/>
                <a:gd name="T13" fmla="*/ 55765257 h 487"/>
                <a:gd name="T14" fmla="*/ 72939334 w 538"/>
                <a:gd name="T15" fmla="*/ 67462296 h 487"/>
                <a:gd name="T16" fmla="*/ 70340697 w 538"/>
                <a:gd name="T17" fmla="*/ 68006283 h 487"/>
                <a:gd name="T18" fmla="*/ 69041809 w 538"/>
                <a:gd name="T19" fmla="*/ 69638768 h 487"/>
                <a:gd name="T20" fmla="*/ 69041809 w 538"/>
                <a:gd name="T21" fmla="*/ 75623154 h 487"/>
                <a:gd name="T22" fmla="*/ 69969771 w 538"/>
                <a:gd name="T23" fmla="*/ 81879795 h 487"/>
                <a:gd name="T24" fmla="*/ 72197051 w 538"/>
                <a:gd name="T25" fmla="*/ 88408168 h 487"/>
                <a:gd name="T26" fmla="*/ 75537540 w 538"/>
                <a:gd name="T27" fmla="*/ 94664809 h 487"/>
                <a:gd name="T28" fmla="*/ 79435065 w 538"/>
                <a:gd name="T29" fmla="*/ 99561220 h 487"/>
                <a:gd name="T30" fmla="*/ 83703947 w 538"/>
                <a:gd name="T31" fmla="*/ 102281680 h 487"/>
                <a:gd name="T32" fmla="*/ 85559870 w 538"/>
                <a:gd name="T33" fmla="*/ 106090115 h 487"/>
                <a:gd name="T34" fmla="*/ 87601472 w 538"/>
                <a:gd name="T35" fmla="*/ 110442538 h 487"/>
                <a:gd name="T36" fmla="*/ 90756283 w 538"/>
                <a:gd name="T37" fmla="*/ 113434731 h 487"/>
                <a:gd name="T38" fmla="*/ 95210844 w 538"/>
                <a:gd name="T39" fmla="*/ 117514899 h 487"/>
                <a:gd name="T40" fmla="*/ 96138805 w 538"/>
                <a:gd name="T41" fmla="*/ 120779347 h 487"/>
                <a:gd name="T42" fmla="*/ 97437693 w 538"/>
                <a:gd name="T43" fmla="*/ 122411310 h 487"/>
                <a:gd name="T44" fmla="*/ 99850652 w 538"/>
                <a:gd name="T45" fmla="*/ 124043795 h 487"/>
                <a:gd name="T46" fmla="*/ 99108369 w 538"/>
                <a:gd name="T47" fmla="*/ 128396218 h 487"/>
                <a:gd name="T48" fmla="*/ 96324484 w 538"/>
                <a:gd name="T49" fmla="*/ 131660144 h 487"/>
                <a:gd name="T50" fmla="*/ 90941962 w 538"/>
                <a:gd name="T51" fmla="*/ 132476386 h 487"/>
                <a:gd name="T52" fmla="*/ 83146912 w 538"/>
                <a:gd name="T53" fmla="*/ 130572168 h 487"/>
                <a:gd name="T54" fmla="*/ 76836859 w 538"/>
                <a:gd name="T55" fmla="*/ 126763733 h 487"/>
                <a:gd name="T56" fmla="*/ 71640015 w 538"/>
                <a:gd name="T57" fmla="*/ 121323335 h 487"/>
                <a:gd name="T58" fmla="*/ 65886567 w 538"/>
                <a:gd name="T59" fmla="*/ 112890743 h 487"/>
                <a:gd name="T60" fmla="*/ 57905839 w 538"/>
                <a:gd name="T61" fmla="*/ 99289487 h 487"/>
                <a:gd name="T62" fmla="*/ 50853503 w 538"/>
                <a:gd name="T63" fmla="*/ 89768398 h 487"/>
                <a:gd name="T64" fmla="*/ 45656659 w 538"/>
                <a:gd name="T65" fmla="*/ 85959963 h 487"/>
                <a:gd name="T66" fmla="*/ 39346176 w 538"/>
                <a:gd name="T67" fmla="*/ 84055745 h 487"/>
                <a:gd name="T68" fmla="*/ 33407480 w 538"/>
                <a:gd name="T69" fmla="*/ 84328000 h 487"/>
                <a:gd name="T70" fmla="*/ 28396315 w 538"/>
                <a:gd name="T71" fmla="*/ 86232218 h 487"/>
                <a:gd name="T72" fmla="*/ 20972191 w 538"/>
                <a:gd name="T73" fmla="*/ 93848567 h 487"/>
                <a:gd name="T74" fmla="*/ 25241073 w 538"/>
                <a:gd name="T75" fmla="*/ 98200990 h 487"/>
                <a:gd name="T76" fmla="*/ 25983356 w 538"/>
                <a:gd name="T77" fmla="*/ 100649195 h 487"/>
                <a:gd name="T78" fmla="*/ 23013793 w 538"/>
                <a:gd name="T79" fmla="*/ 109082308 h 487"/>
                <a:gd name="T80" fmla="*/ 20972191 w 538"/>
                <a:gd name="T81" fmla="*/ 112618489 h 487"/>
                <a:gd name="T82" fmla="*/ 8723012 w 538"/>
                <a:gd name="T83" fmla="*/ 109626296 h 487"/>
                <a:gd name="T84" fmla="*/ 3711846 w 538"/>
                <a:gd name="T85" fmla="*/ 70454489 h 487"/>
                <a:gd name="T86" fmla="*/ 371184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19" name="Freeform 280">
              <a:extLst>
                <a:ext uri="{FF2B5EF4-FFF2-40B4-BE49-F238E27FC236}">
                  <a16:creationId xmlns:a16="http://schemas.microsoft.com/office/drawing/2014/main" id="{7055F008-0BDB-4DC4-B710-A7C7A550F978}"/>
                </a:ext>
              </a:extLst>
            </p:cNvPr>
            <p:cNvSpPr>
              <a:spLocks/>
            </p:cNvSpPr>
            <p:nvPr>
              <p:custDataLst>
                <p:tags r:id="rId207"/>
              </p:custDataLst>
            </p:nvPr>
          </p:nvSpPr>
          <p:spPr bwMode="auto">
            <a:xfrm>
              <a:off x="7720013" y="4064000"/>
              <a:ext cx="106362" cy="128588"/>
            </a:xfrm>
            <a:custGeom>
              <a:avLst/>
              <a:gdLst>
                <a:gd name="T0" fmla="*/ 24036551 w 253"/>
                <a:gd name="T1" fmla="*/ 273378 h 246"/>
                <a:gd name="T2" fmla="*/ 27747870 w 253"/>
                <a:gd name="T3" fmla="*/ 2185979 h 246"/>
                <a:gd name="T4" fmla="*/ 31636179 w 253"/>
                <a:gd name="T5" fmla="*/ 5737803 h 246"/>
                <a:gd name="T6" fmla="*/ 35170929 w 253"/>
                <a:gd name="T7" fmla="*/ 10109238 h 246"/>
                <a:gd name="T8" fmla="*/ 38529109 w 253"/>
                <a:gd name="T9" fmla="*/ 15574186 h 246"/>
                <a:gd name="T10" fmla="*/ 41356741 w 253"/>
                <a:gd name="T11" fmla="*/ 20765232 h 246"/>
                <a:gd name="T12" fmla="*/ 43301105 w 253"/>
                <a:gd name="T13" fmla="*/ 25683424 h 246"/>
                <a:gd name="T14" fmla="*/ 44538352 w 253"/>
                <a:gd name="T15" fmla="*/ 30328237 h 246"/>
                <a:gd name="T16" fmla="*/ 44538352 w 253"/>
                <a:gd name="T17" fmla="*/ 34973050 h 246"/>
                <a:gd name="T18" fmla="*/ 42947546 w 253"/>
                <a:gd name="T19" fmla="*/ 41257087 h 246"/>
                <a:gd name="T20" fmla="*/ 40473053 w 253"/>
                <a:gd name="T21" fmla="*/ 47541646 h 246"/>
                <a:gd name="T22" fmla="*/ 36938303 w 253"/>
                <a:gd name="T23" fmla="*/ 53279448 h 246"/>
                <a:gd name="T24" fmla="*/ 32519866 w 253"/>
                <a:gd name="T25" fmla="*/ 58470495 h 246"/>
                <a:gd name="T26" fmla="*/ 27747870 w 253"/>
                <a:gd name="T27" fmla="*/ 62569075 h 246"/>
                <a:gd name="T28" fmla="*/ 22799304 w 253"/>
                <a:gd name="T29" fmla="*/ 65574666 h 246"/>
                <a:gd name="T30" fmla="*/ 17673749 w 253"/>
                <a:gd name="T31" fmla="*/ 66940510 h 246"/>
                <a:gd name="T32" fmla="*/ 13078742 w 253"/>
                <a:gd name="T33" fmla="*/ 66940510 h 246"/>
                <a:gd name="T34" fmla="*/ 9367003 w 253"/>
                <a:gd name="T35" fmla="*/ 65574666 h 246"/>
                <a:gd name="T36" fmla="*/ 5832253 w 253"/>
                <a:gd name="T37" fmla="*/ 63934920 h 246"/>
                <a:gd name="T38" fmla="*/ 1943944 w 253"/>
                <a:gd name="T39" fmla="*/ 62569075 h 246"/>
                <a:gd name="T40" fmla="*/ 530128 w 253"/>
                <a:gd name="T41" fmla="*/ 59836863 h 246"/>
                <a:gd name="T42" fmla="*/ 1767375 w 253"/>
                <a:gd name="T43" fmla="*/ 56011661 h 246"/>
                <a:gd name="T44" fmla="*/ 3888309 w 253"/>
                <a:gd name="T45" fmla="*/ 53552304 h 246"/>
                <a:gd name="T46" fmla="*/ 6539371 w 253"/>
                <a:gd name="T47" fmla="*/ 52186459 h 246"/>
                <a:gd name="T48" fmla="*/ 8836874 w 253"/>
                <a:gd name="T49" fmla="*/ 53825682 h 246"/>
                <a:gd name="T50" fmla="*/ 10604249 w 253"/>
                <a:gd name="T51" fmla="*/ 56557894 h 246"/>
                <a:gd name="T52" fmla="*/ 12018065 w 253"/>
                <a:gd name="T53" fmla="*/ 54918671 h 246"/>
                <a:gd name="T54" fmla="*/ 13255312 w 253"/>
                <a:gd name="T55" fmla="*/ 51913081 h 246"/>
                <a:gd name="T56" fmla="*/ 14846117 w 253"/>
                <a:gd name="T57" fmla="*/ 49180869 h 246"/>
                <a:gd name="T58" fmla="*/ 16083364 w 253"/>
                <a:gd name="T59" fmla="*/ 49454247 h 246"/>
                <a:gd name="T60" fmla="*/ 17320610 w 253"/>
                <a:gd name="T61" fmla="*/ 48907490 h 246"/>
                <a:gd name="T62" fmla="*/ 18734426 w 253"/>
                <a:gd name="T63" fmla="*/ 48634635 h 246"/>
                <a:gd name="T64" fmla="*/ 21208499 w 253"/>
                <a:gd name="T65" fmla="*/ 47541646 h 246"/>
                <a:gd name="T66" fmla="*/ 26334054 w 253"/>
                <a:gd name="T67" fmla="*/ 44809433 h 246"/>
                <a:gd name="T68" fmla="*/ 31636179 w 253"/>
                <a:gd name="T69" fmla="*/ 40164620 h 246"/>
                <a:gd name="T70" fmla="*/ 34817369 w 253"/>
                <a:gd name="T71" fmla="*/ 36885651 h 246"/>
                <a:gd name="T72" fmla="*/ 37115293 w 253"/>
                <a:gd name="T73" fmla="*/ 33607206 h 246"/>
                <a:gd name="T74" fmla="*/ 38529109 w 253"/>
                <a:gd name="T75" fmla="*/ 30328237 h 246"/>
                <a:gd name="T76" fmla="*/ 38705678 w 253"/>
                <a:gd name="T77" fmla="*/ 26776413 h 246"/>
                <a:gd name="T78" fmla="*/ 37821991 w 253"/>
                <a:gd name="T79" fmla="*/ 24044201 h 246"/>
                <a:gd name="T80" fmla="*/ 37115293 w 253"/>
                <a:gd name="T81" fmla="*/ 21858222 h 246"/>
                <a:gd name="T82" fmla="*/ 36584744 w 253"/>
                <a:gd name="T83" fmla="*/ 19672243 h 246"/>
                <a:gd name="T84" fmla="*/ 35524488 w 253"/>
                <a:gd name="T85" fmla="*/ 18306398 h 246"/>
                <a:gd name="T86" fmla="*/ 33757113 w 253"/>
                <a:gd name="T87" fmla="*/ 17759642 h 246"/>
                <a:gd name="T88" fmla="*/ 32519866 w 253"/>
                <a:gd name="T89" fmla="*/ 16666652 h 246"/>
                <a:gd name="T90" fmla="*/ 31813168 w 253"/>
                <a:gd name="T91" fmla="*/ 14754051 h 246"/>
                <a:gd name="T92" fmla="*/ 24743249 w 253"/>
                <a:gd name="T93" fmla="*/ 13388207 h 246"/>
                <a:gd name="T94" fmla="*/ 24036551 w 253"/>
                <a:gd name="T95" fmla="*/ 12021839 h 246"/>
                <a:gd name="T96" fmla="*/ 24036551 w 253"/>
                <a:gd name="T97" fmla="*/ 9836383 h 246"/>
                <a:gd name="T98" fmla="*/ 24743249 w 253"/>
                <a:gd name="T99" fmla="*/ 4918191 h 246"/>
                <a:gd name="T100" fmla="*/ 19441124 w 253"/>
                <a:gd name="T101" fmla="*/ 3005590 h 246"/>
                <a:gd name="T102" fmla="*/ 17143621 w 253"/>
                <a:gd name="T103" fmla="*/ 3278969 h 246"/>
                <a:gd name="T104" fmla="*/ 15199676 w 253"/>
                <a:gd name="T105" fmla="*/ 4918191 h 246"/>
                <a:gd name="T106" fmla="*/ 18380867 w 253"/>
                <a:gd name="T107" fmla="*/ 1366368 h 246"/>
                <a:gd name="T108" fmla="*/ 19971673 w 253"/>
                <a:gd name="T109" fmla="*/ 273378 h 246"/>
                <a:gd name="T110" fmla="*/ 22445745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US"/>
            </a:p>
          </p:txBody>
        </p:sp>
        <p:sp>
          <p:nvSpPr>
            <p:cNvPr id="220" name="Freeform 281">
              <a:extLst>
                <a:ext uri="{FF2B5EF4-FFF2-40B4-BE49-F238E27FC236}">
                  <a16:creationId xmlns:a16="http://schemas.microsoft.com/office/drawing/2014/main" id="{949DE703-111C-4C58-815C-A9EE025FEBC8}"/>
                </a:ext>
              </a:extLst>
            </p:cNvPr>
            <p:cNvSpPr>
              <a:spLocks/>
            </p:cNvSpPr>
            <p:nvPr>
              <p:custDataLst>
                <p:tags r:id="rId208"/>
              </p:custDataLst>
            </p:nvPr>
          </p:nvSpPr>
          <p:spPr bwMode="auto">
            <a:xfrm>
              <a:off x="5995988" y="3697288"/>
              <a:ext cx="63500" cy="119062"/>
            </a:xfrm>
            <a:custGeom>
              <a:avLst/>
              <a:gdLst>
                <a:gd name="T0" fmla="*/ 8315798 w 141"/>
                <a:gd name="T1" fmla="*/ 62175430 h 228"/>
                <a:gd name="T2" fmla="*/ 7301599 w 141"/>
                <a:gd name="T3" fmla="*/ 59993652 h 228"/>
                <a:gd name="T4" fmla="*/ 5881631 w 141"/>
                <a:gd name="T5" fmla="*/ 56721509 h 228"/>
                <a:gd name="T6" fmla="*/ 4462113 w 141"/>
                <a:gd name="T7" fmla="*/ 52903660 h 228"/>
                <a:gd name="T8" fmla="*/ 3245255 w 141"/>
                <a:gd name="T9" fmla="*/ 48540627 h 228"/>
                <a:gd name="T10" fmla="*/ 2028397 w 141"/>
                <a:gd name="T11" fmla="*/ 44450187 h 228"/>
                <a:gd name="T12" fmla="*/ 1014199 w 141"/>
                <a:gd name="T13" fmla="*/ 40359746 h 228"/>
                <a:gd name="T14" fmla="*/ 405770 w 141"/>
                <a:gd name="T15" fmla="*/ 36814488 h 228"/>
                <a:gd name="T16" fmla="*/ 0 w 141"/>
                <a:gd name="T17" fmla="*/ 33541823 h 228"/>
                <a:gd name="T18" fmla="*/ 405770 w 141"/>
                <a:gd name="T19" fmla="*/ 28360493 h 228"/>
                <a:gd name="T20" fmla="*/ 811089 w 141"/>
                <a:gd name="T21" fmla="*/ 23724869 h 228"/>
                <a:gd name="T22" fmla="*/ 1216858 w 141"/>
                <a:gd name="T23" fmla="*/ 19088723 h 228"/>
                <a:gd name="T24" fmla="*/ 1825287 w 141"/>
                <a:gd name="T25" fmla="*/ 14998283 h 228"/>
                <a:gd name="T26" fmla="*/ 3650574 w 141"/>
                <a:gd name="T27" fmla="*/ 7635698 h 228"/>
                <a:gd name="T28" fmla="*/ 5678972 w 141"/>
                <a:gd name="T29" fmla="*/ 0 h 228"/>
                <a:gd name="T30" fmla="*/ 9126887 w 141"/>
                <a:gd name="T31" fmla="*/ 4363032 h 228"/>
                <a:gd name="T32" fmla="*/ 12574801 w 141"/>
                <a:gd name="T33" fmla="*/ 7635698 h 228"/>
                <a:gd name="T34" fmla="*/ 15414287 w 141"/>
                <a:gd name="T35" fmla="*/ 10090067 h 228"/>
                <a:gd name="T36" fmla="*/ 18051113 w 141"/>
                <a:gd name="T37" fmla="*/ 13089619 h 228"/>
                <a:gd name="T38" fmla="*/ 19267972 w 141"/>
                <a:gd name="T39" fmla="*/ 14998283 h 228"/>
                <a:gd name="T40" fmla="*/ 20484830 w 141"/>
                <a:gd name="T41" fmla="*/ 17180060 h 228"/>
                <a:gd name="T42" fmla="*/ 21701688 w 141"/>
                <a:gd name="T43" fmla="*/ 20179612 h 228"/>
                <a:gd name="T44" fmla="*/ 23121206 w 141"/>
                <a:gd name="T45" fmla="*/ 23452278 h 228"/>
                <a:gd name="T46" fmla="*/ 24338514 w 141"/>
                <a:gd name="T47" fmla="*/ 27270127 h 228"/>
                <a:gd name="T48" fmla="*/ 25758032 w 141"/>
                <a:gd name="T49" fmla="*/ 31905751 h 228"/>
                <a:gd name="T50" fmla="*/ 26974890 w 141"/>
                <a:gd name="T51" fmla="*/ 37632263 h 228"/>
                <a:gd name="T52" fmla="*/ 28597518 w 141"/>
                <a:gd name="T53" fmla="*/ 43904481 h 228"/>
                <a:gd name="T54" fmla="*/ 28394858 w 141"/>
                <a:gd name="T55" fmla="*/ 46086259 h 228"/>
                <a:gd name="T56" fmla="*/ 27989089 w 141"/>
                <a:gd name="T57" fmla="*/ 48267514 h 228"/>
                <a:gd name="T58" fmla="*/ 27380660 w 141"/>
                <a:gd name="T59" fmla="*/ 50721882 h 228"/>
                <a:gd name="T60" fmla="*/ 26569121 w 141"/>
                <a:gd name="T61" fmla="*/ 52358476 h 228"/>
                <a:gd name="T62" fmla="*/ 25758032 w 141"/>
                <a:gd name="T63" fmla="*/ 54267140 h 228"/>
                <a:gd name="T64" fmla="*/ 24541174 w 141"/>
                <a:gd name="T65" fmla="*/ 55630620 h 228"/>
                <a:gd name="T66" fmla="*/ 23324316 w 141"/>
                <a:gd name="T67" fmla="*/ 56994100 h 228"/>
                <a:gd name="T68" fmla="*/ 21904348 w 141"/>
                <a:gd name="T69" fmla="*/ 58084989 h 228"/>
                <a:gd name="T70" fmla="*/ 20281720 w 141"/>
                <a:gd name="T71" fmla="*/ 59175878 h 228"/>
                <a:gd name="T72" fmla="*/ 18862202 w 141"/>
                <a:gd name="T73" fmla="*/ 59993652 h 228"/>
                <a:gd name="T74" fmla="*/ 17239574 w 141"/>
                <a:gd name="T75" fmla="*/ 60811949 h 228"/>
                <a:gd name="T76" fmla="*/ 15414287 w 141"/>
                <a:gd name="T77" fmla="*/ 61357133 h 228"/>
                <a:gd name="T78" fmla="*/ 11966372 w 141"/>
                <a:gd name="T79" fmla="*/ 61902838 h 228"/>
                <a:gd name="T80" fmla="*/ 8315798 w 141"/>
                <a:gd name="T81" fmla="*/ 62175430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US"/>
            </a:p>
          </p:txBody>
        </p:sp>
        <p:grpSp>
          <p:nvGrpSpPr>
            <p:cNvPr id="221" name="Group 282">
              <a:extLst>
                <a:ext uri="{FF2B5EF4-FFF2-40B4-BE49-F238E27FC236}">
                  <a16:creationId xmlns:a16="http://schemas.microsoft.com/office/drawing/2014/main" id="{B48C6F60-0787-4C3E-B77D-2E0D4C7C3EA5}"/>
                </a:ext>
              </a:extLst>
            </p:cNvPr>
            <p:cNvGrpSpPr>
              <a:grpSpLocks/>
            </p:cNvGrpSpPr>
            <p:nvPr>
              <p:custDataLst>
                <p:tags r:id="rId209"/>
              </p:custDataLst>
            </p:nvPr>
          </p:nvGrpSpPr>
          <p:grpSpPr bwMode="auto">
            <a:xfrm>
              <a:off x="6935788" y="3408363"/>
              <a:ext cx="233362" cy="439737"/>
              <a:chOff x="5062" y="2295"/>
              <a:chExt cx="177" cy="279"/>
            </a:xfrm>
          </p:grpSpPr>
          <p:sp>
            <p:nvSpPr>
              <p:cNvPr id="474" name="Freeform 283">
                <a:extLst>
                  <a:ext uri="{FF2B5EF4-FFF2-40B4-BE49-F238E27FC236}">
                    <a16:creationId xmlns:a16="http://schemas.microsoft.com/office/drawing/2014/main" id="{9C64CD79-0FCA-42BC-9560-48F2C754B1B1}"/>
                  </a:ext>
                </a:extLst>
              </p:cNvPr>
              <p:cNvSpPr>
                <a:spLocks/>
              </p:cNvSpPr>
              <p:nvPr/>
            </p:nvSpPr>
            <p:spPr bwMode="auto">
              <a:xfrm>
                <a:off x="5154" y="2449"/>
                <a:ext cx="19" cy="37"/>
              </a:xfrm>
              <a:custGeom>
                <a:avLst/>
                <a:gdLst>
                  <a:gd name="T0" fmla="*/ 4 w 60"/>
                  <a:gd name="T1" fmla="*/ 12 h 110"/>
                  <a:gd name="T2" fmla="*/ 4 w 60"/>
                  <a:gd name="T3" fmla="*/ 12 h 110"/>
                  <a:gd name="T4" fmla="*/ 5 w 60"/>
                  <a:gd name="T5" fmla="*/ 12 h 110"/>
                  <a:gd name="T6" fmla="*/ 5 w 60"/>
                  <a:gd name="T7" fmla="*/ 11 h 110"/>
                  <a:gd name="T8" fmla="*/ 5 w 60"/>
                  <a:gd name="T9" fmla="*/ 11 h 110"/>
                  <a:gd name="T10" fmla="*/ 5 w 60"/>
                  <a:gd name="T11" fmla="*/ 10 h 110"/>
                  <a:gd name="T12" fmla="*/ 6 w 60"/>
                  <a:gd name="T13" fmla="*/ 9 h 110"/>
                  <a:gd name="T14" fmla="*/ 6 w 60"/>
                  <a:gd name="T15" fmla="*/ 9 h 110"/>
                  <a:gd name="T16" fmla="*/ 6 w 60"/>
                  <a:gd name="T17" fmla="*/ 8 h 110"/>
                  <a:gd name="T18" fmla="*/ 6 w 60"/>
                  <a:gd name="T19" fmla="*/ 7 h 110"/>
                  <a:gd name="T20" fmla="*/ 6 w 60"/>
                  <a:gd name="T21" fmla="*/ 5 h 110"/>
                  <a:gd name="T22" fmla="*/ 6 w 60"/>
                  <a:gd name="T23" fmla="*/ 4 h 110"/>
                  <a:gd name="T24" fmla="*/ 5 w 60"/>
                  <a:gd name="T25" fmla="*/ 3 h 110"/>
                  <a:gd name="T26" fmla="*/ 5 w 60"/>
                  <a:gd name="T27" fmla="*/ 2 h 110"/>
                  <a:gd name="T28" fmla="*/ 5 w 60"/>
                  <a:gd name="T29" fmla="*/ 1 h 110"/>
                  <a:gd name="T30" fmla="*/ 4 w 60"/>
                  <a:gd name="T31" fmla="*/ 1 h 110"/>
                  <a:gd name="T32" fmla="*/ 4 w 60"/>
                  <a:gd name="T33" fmla="*/ 0 h 110"/>
                  <a:gd name="T34" fmla="*/ 3 w 60"/>
                  <a:gd name="T35" fmla="*/ 0 h 110"/>
                  <a:gd name="T36" fmla="*/ 3 w 60"/>
                  <a:gd name="T37" fmla="*/ 1 h 110"/>
                  <a:gd name="T38" fmla="*/ 3 w 60"/>
                  <a:gd name="T39" fmla="*/ 1 h 110"/>
                  <a:gd name="T40" fmla="*/ 3 w 60"/>
                  <a:gd name="T41" fmla="*/ 2 h 110"/>
                  <a:gd name="T42" fmla="*/ 2 w 60"/>
                  <a:gd name="T43" fmla="*/ 3 h 110"/>
                  <a:gd name="T44" fmla="*/ 2 w 60"/>
                  <a:gd name="T45" fmla="*/ 4 h 110"/>
                  <a:gd name="T46" fmla="*/ 1 w 60"/>
                  <a:gd name="T47" fmla="*/ 6 h 110"/>
                  <a:gd name="T48" fmla="*/ 1 w 60"/>
                  <a:gd name="T49" fmla="*/ 7 h 110"/>
                  <a:gd name="T50" fmla="*/ 1 w 60"/>
                  <a:gd name="T51" fmla="*/ 7 h 110"/>
                  <a:gd name="T52" fmla="*/ 0 w 60"/>
                  <a:gd name="T53" fmla="*/ 8 h 110"/>
                  <a:gd name="T54" fmla="*/ 0 w 60"/>
                  <a:gd name="T55" fmla="*/ 8 h 110"/>
                  <a:gd name="T56" fmla="*/ 0 w 60"/>
                  <a:gd name="T57" fmla="*/ 8 h 110"/>
                  <a:gd name="T58" fmla="*/ 0 w 60"/>
                  <a:gd name="T59" fmla="*/ 9 h 110"/>
                  <a:gd name="T60" fmla="*/ 0 w 60"/>
                  <a:gd name="T61" fmla="*/ 9 h 110"/>
                  <a:gd name="T62" fmla="*/ 1 w 60"/>
                  <a:gd name="T63" fmla="*/ 10 h 110"/>
                  <a:gd name="T64" fmla="*/ 1 w 60"/>
                  <a:gd name="T65" fmla="*/ 11 h 110"/>
                  <a:gd name="T66" fmla="*/ 2 w 60"/>
                  <a:gd name="T67" fmla="*/ 11 h 110"/>
                  <a:gd name="T68" fmla="*/ 3 w 60"/>
                  <a:gd name="T69" fmla="*/ 12 h 110"/>
                  <a:gd name="T70" fmla="*/ 3 w 60"/>
                  <a:gd name="T71" fmla="*/ 12 h 110"/>
                  <a:gd name="T72" fmla="*/ 4 w 60"/>
                  <a:gd name="T73" fmla="*/ 12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US"/>
              </a:p>
            </p:txBody>
          </p:sp>
          <p:sp>
            <p:nvSpPr>
              <p:cNvPr id="475" name="Freeform 284">
                <a:extLst>
                  <a:ext uri="{FF2B5EF4-FFF2-40B4-BE49-F238E27FC236}">
                    <a16:creationId xmlns:a16="http://schemas.microsoft.com/office/drawing/2014/main" id="{859E7976-AED0-4151-B5B3-B129E4C286F0}"/>
                  </a:ext>
                </a:extLst>
              </p:cNvPr>
              <p:cNvSpPr>
                <a:spLocks/>
              </p:cNvSpPr>
              <p:nvPr/>
            </p:nvSpPr>
            <p:spPr bwMode="auto">
              <a:xfrm>
                <a:off x="5189" y="2422"/>
                <a:ext cx="24" cy="25"/>
              </a:xfrm>
              <a:custGeom>
                <a:avLst/>
                <a:gdLst>
                  <a:gd name="T0" fmla="*/ 0 w 72"/>
                  <a:gd name="T1" fmla="*/ 1 h 75"/>
                  <a:gd name="T2" fmla="*/ 1 w 72"/>
                  <a:gd name="T3" fmla="*/ 2 h 75"/>
                  <a:gd name="T4" fmla="*/ 2 w 72"/>
                  <a:gd name="T5" fmla="*/ 3 h 75"/>
                  <a:gd name="T6" fmla="*/ 3 w 72"/>
                  <a:gd name="T7" fmla="*/ 4 h 75"/>
                  <a:gd name="T8" fmla="*/ 3 w 72"/>
                  <a:gd name="T9" fmla="*/ 4 h 75"/>
                  <a:gd name="T10" fmla="*/ 4 w 72"/>
                  <a:gd name="T11" fmla="*/ 5 h 75"/>
                  <a:gd name="T12" fmla="*/ 5 w 72"/>
                  <a:gd name="T13" fmla="*/ 6 h 75"/>
                  <a:gd name="T14" fmla="*/ 5 w 72"/>
                  <a:gd name="T15" fmla="*/ 7 h 75"/>
                  <a:gd name="T16" fmla="*/ 5 w 72"/>
                  <a:gd name="T17" fmla="*/ 8 h 75"/>
                  <a:gd name="T18" fmla="*/ 8 w 72"/>
                  <a:gd name="T19" fmla="*/ 8 h 75"/>
                  <a:gd name="T20" fmla="*/ 7 w 72"/>
                  <a:gd name="T21" fmla="*/ 6 h 75"/>
                  <a:gd name="T22" fmla="*/ 7 w 72"/>
                  <a:gd name="T23" fmla="*/ 4 h 75"/>
                  <a:gd name="T24" fmla="*/ 7 w 72"/>
                  <a:gd name="T25" fmla="*/ 3 h 75"/>
                  <a:gd name="T26" fmla="*/ 7 w 72"/>
                  <a:gd name="T27" fmla="*/ 2 h 75"/>
                  <a:gd name="T28" fmla="*/ 7 w 72"/>
                  <a:gd name="T29" fmla="*/ 1 h 75"/>
                  <a:gd name="T30" fmla="*/ 8 w 72"/>
                  <a:gd name="T31" fmla="*/ 0 h 75"/>
                  <a:gd name="T32" fmla="*/ 6 w 72"/>
                  <a:gd name="T33" fmla="*/ 0 h 75"/>
                  <a:gd name="T34" fmla="*/ 4 w 72"/>
                  <a:gd name="T35" fmla="*/ 0 h 75"/>
                  <a:gd name="T36" fmla="*/ 2 w 72"/>
                  <a:gd name="T37" fmla="*/ 0 h 75"/>
                  <a:gd name="T38" fmla="*/ 1 w 72"/>
                  <a:gd name="T39" fmla="*/ 0 h 75"/>
                  <a:gd name="T40" fmla="*/ 1 w 72"/>
                  <a:gd name="T41" fmla="*/ 1 h 75"/>
                  <a:gd name="T42" fmla="*/ 1 w 72"/>
                  <a:gd name="T43" fmla="*/ 1 h 75"/>
                  <a:gd name="T44" fmla="*/ 0 w 72"/>
                  <a:gd name="T45" fmla="*/ 1 h 75"/>
                  <a:gd name="T46" fmla="*/ 0 w 72"/>
                  <a:gd name="T47" fmla="*/ 1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US"/>
              </a:p>
            </p:txBody>
          </p:sp>
          <p:sp>
            <p:nvSpPr>
              <p:cNvPr id="476" name="Freeform 285">
                <a:extLst>
                  <a:ext uri="{FF2B5EF4-FFF2-40B4-BE49-F238E27FC236}">
                    <a16:creationId xmlns:a16="http://schemas.microsoft.com/office/drawing/2014/main" id="{33778395-3780-452C-A677-44CC8347EE0A}"/>
                  </a:ext>
                </a:extLst>
              </p:cNvPr>
              <p:cNvSpPr>
                <a:spLocks/>
              </p:cNvSpPr>
              <p:nvPr/>
            </p:nvSpPr>
            <p:spPr bwMode="auto">
              <a:xfrm>
                <a:off x="5160" y="2389"/>
                <a:ext cx="5" cy="16"/>
              </a:xfrm>
              <a:custGeom>
                <a:avLst/>
                <a:gdLst>
                  <a:gd name="T0" fmla="*/ 2 w 15"/>
                  <a:gd name="T1" fmla="*/ 5 h 49"/>
                  <a:gd name="T2" fmla="*/ 2 w 15"/>
                  <a:gd name="T3" fmla="*/ 4 h 49"/>
                  <a:gd name="T4" fmla="*/ 2 w 15"/>
                  <a:gd name="T5" fmla="*/ 2 h 49"/>
                  <a:gd name="T6" fmla="*/ 2 w 15"/>
                  <a:gd name="T7" fmla="*/ 1 h 49"/>
                  <a:gd name="T8" fmla="*/ 1 w 15"/>
                  <a:gd name="T9" fmla="*/ 1 h 49"/>
                  <a:gd name="T10" fmla="*/ 1 w 15"/>
                  <a:gd name="T11" fmla="*/ 0 h 49"/>
                  <a:gd name="T12" fmla="*/ 1 w 15"/>
                  <a:gd name="T13" fmla="*/ 0 h 49"/>
                  <a:gd name="T14" fmla="*/ 0 w 15"/>
                  <a:gd name="T15" fmla="*/ 1 h 49"/>
                  <a:gd name="T16" fmla="*/ 0 w 15"/>
                  <a:gd name="T17" fmla="*/ 2 h 49"/>
                  <a:gd name="T18" fmla="*/ 0 w 15"/>
                  <a:gd name="T19" fmla="*/ 3 h 49"/>
                  <a:gd name="T20" fmla="*/ 0 w 15"/>
                  <a:gd name="T21" fmla="*/ 3 h 49"/>
                  <a:gd name="T22" fmla="*/ 0 w 15"/>
                  <a:gd name="T23" fmla="*/ 4 h 49"/>
                  <a:gd name="T24" fmla="*/ 0 w 15"/>
                  <a:gd name="T25" fmla="*/ 5 h 49"/>
                  <a:gd name="T26" fmla="*/ 1 w 15"/>
                  <a:gd name="T27" fmla="*/ 5 h 49"/>
                  <a:gd name="T28" fmla="*/ 1 w 15"/>
                  <a:gd name="T29" fmla="*/ 5 h 49"/>
                  <a:gd name="T30" fmla="*/ 1 w 15"/>
                  <a:gd name="T31" fmla="*/ 5 h 49"/>
                  <a:gd name="T32" fmla="*/ 2 w 15"/>
                  <a:gd name="T33" fmla="*/ 5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US"/>
              </a:p>
            </p:txBody>
          </p:sp>
          <p:sp>
            <p:nvSpPr>
              <p:cNvPr id="477" name="Freeform 286">
                <a:extLst>
                  <a:ext uri="{FF2B5EF4-FFF2-40B4-BE49-F238E27FC236}">
                    <a16:creationId xmlns:a16="http://schemas.microsoft.com/office/drawing/2014/main" id="{90FFBA16-66E7-4DF7-AC0B-6CB001ECEC5E}"/>
                  </a:ext>
                </a:extLst>
              </p:cNvPr>
              <p:cNvSpPr>
                <a:spLocks/>
              </p:cNvSpPr>
              <p:nvPr/>
            </p:nvSpPr>
            <p:spPr bwMode="auto">
              <a:xfrm>
                <a:off x="5139" y="2387"/>
                <a:ext cx="15" cy="13"/>
              </a:xfrm>
              <a:custGeom>
                <a:avLst/>
                <a:gdLst>
                  <a:gd name="T0" fmla="*/ 2 w 47"/>
                  <a:gd name="T1" fmla="*/ 1 h 40"/>
                  <a:gd name="T2" fmla="*/ 0 w 47"/>
                  <a:gd name="T3" fmla="*/ 4 h 40"/>
                  <a:gd name="T4" fmla="*/ 1 w 47"/>
                  <a:gd name="T5" fmla="*/ 4 h 40"/>
                  <a:gd name="T6" fmla="*/ 1 w 47"/>
                  <a:gd name="T7" fmla="*/ 4 h 40"/>
                  <a:gd name="T8" fmla="*/ 2 w 47"/>
                  <a:gd name="T9" fmla="*/ 4 h 40"/>
                  <a:gd name="T10" fmla="*/ 3 w 47"/>
                  <a:gd name="T11" fmla="*/ 4 h 40"/>
                  <a:gd name="T12" fmla="*/ 3 w 47"/>
                  <a:gd name="T13" fmla="*/ 4 h 40"/>
                  <a:gd name="T14" fmla="*/ 4 w 47"/>
                  <a:gd name="T15" fmla="*/ 4 h 40"/>
                  <a:gd name="T16" fmla="*/ 4 w 47"/>
                  <a:gd name="T17" fmla="*/ 3 h 40"/>
                  <a:gd name="T18" fmla="*/ 5 w 47"/>
                  <a:gd name="T19" fmla="*/ 3 h 40"/>
                  <a:gd name="T20" fmla="*/ 5 w 47"/>
                  <a:gd name="T21" fmla="*/ 0 h 40"/>
                  <a:gd name="T22" fmla="*/ 4 w 47"/>
                  <a:gd name="T23" fmla="*/ 0 h 40"/>
                  <a:gd name="T24" fmla="*/ 4 w 47"/>
                  <a:gd name="T25" fmla="*/ 0 h 40"/>
                  <a:gd name="T26" fmla="*/ 3 w 47"/>
                  <a:gd name="T27" fmla="*/ 0 h 40"/>
                  <a:gd name="T28" fmla="*/ 2 w 47"/>
                  <a:gd name="T29" fmla="*/ 1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US"/>
              </a:p>
            </p:txBody>
          </p:sp>
          <p:sp>
            <p:nvSpPr>
              <p:cNvPr id="478" name="Freeform 287">
                <a:extLst>
                  <a:ext uri="{FF2B5EF4-FFF2-40B4-BE49-F238E27FC236}">
                    <a16:creationId xmlns:a16="http://schemas.microsoft.com/office/drawing/2014/main" id="{48448D23-1D7C-4F53-8168-24645D1774FB}"/>
                  </a:ext>
                </a:extLst>
              </p:cNvPr>
              <p:cNvSpPr>
                <a:spLocks/>
              </p:cNvSpPr>
              <p:nvPr/>
            </p:nvSpPr>
            <p:spPr bwMode="auto">
              <a:xfrm>
                <a:off x="5184" y="2465"/>
                <a:ext cx="13" cy="10"/>
              </a:xfrm>
              <a:custGeom>
                <a:avLst/>
                <a:gdLst>
                  <a:gd name="T0" fmla="*/ 0 w 39"/>
                  <a:gd name="T1" fmla="*/ 0 h 31"/>
                  <a:gd name="T2" fmla="*/ 0 w 39"/>
                  <a:gd name="T3" fmla="*/ 1 h 31"/>
                  <a:gd name="T4" fmla="*/ 1 w 39"/>
                  <a:gd name="T5" fmla="*/ 1 h 31"/>
                  <a:gd name="T6" fmla="*/ 1 w 39"/>
                  <a:gd name="T7" fmla="*/ 2 h 31"/>
                  <a:gd name="T8" fmla="*/ 2 w 39"/>
                  <a:gd name="T9" fmla="*/ 2 h 31"/>
                  <a:gd name="T10" fmla="*/ 3 w 39"/>
                  <a:gd name="T11" fmla="*/ 3 h 31"/>
                  <a:gd name="T12" fmla="*/ 3 w 39"/>
                  <a:gd name="T13" fmla="*/ 3 h 31"/>
                  <a:gd name="T14" fmla="*/ 4 w 39"/>
                  <a:gd name="T15" fmla="*/ 3 h 31"/>
                  <a:gd name="T16" fmla="*/ 4 w 39"/>
                  <a:gd name="T17" fmla="*/ 3 h 31"/>
                  <a:gd name="T18" fmla="*/ 4 w 39"/>
                  <a:gd name="T19" fmla="*/ 2 h 31"/>
                  <a:gd name="T20" fmla="*/ 3 w 39"/>
                  <a:gd name="T21" fmla="*/ 2 h 31"/>
                  <a:gd name="T22" fmla="*/ 2 w 39"/>
                  <a:gd name="T23" fmla="*/ 1 h 31"/>
                  <a:gd name="T24" fmla="*/ 1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US"/>
              </a:p>
            </p:txBody>
          </p:sp>
          <p:sp>
            <p:nvSpPr>
              <p:cNvPr id="479" name="Freeform 288">
                <a:extLst>
                  <a:ext uri="{FF2B5EF4-FFF2-40B4-BE49-F238E27FC236}">
                    <a16:creationId xmlns:a16="http://schemas.microsoft.com/office/drawing/2014/main" id="{FAEE533D-6158-4055-B233-CFA0FA78F9E1}"/>
                  </a:ext>
                </a:extLst>
              </p:cNvPr>
              <p:cNvSpPr>
                <a:spLocks/>
              </p:cNvSpPr>
              <p:nvPr/>
            </p:nvSpPr>
            <p:spPr bwMode="auto">
              <a:xfrm>
                <a:off x="5172" y="2410"/>
                <a:ext cx="10" cy="6"/>
              </a:xfrm>
              <a:custGeom>
                <a:avLst/>
                <a:gdLst>
                  <a:gd name="T0" fmla="*/ 0 w 34"/>
                  <a:gd name="T1" fmla="*/ 0 h 19"/>
                  <a:gd name="T2" fmla="*/ 3 w 34"/>
                  <a:gd name="T3" fmla="*/ 2 h 19"/>
                  <a:gd name="T4" fmla="*/ 3 w 34"/>
                  <a:gd name="T5" fmla="*/ 0 h 19"/>
                  <a:gd name="T6" fmla="*/ 2 w 34"/>
                  <a:gd name="T7" fmla="*/ 0 h 19"/>
                  <a:gd name="T8" fmla="*/ 1 w 34"/>
                  <a:gd name="T9" fmla="*/ 0 h 19"/>
                  <a:gd name="T10" fmla="*/ 1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80" name="Freeform 289">
                <a:extLst>
                  <a:ext uri="{FF2B5EF4-FFF2-40B4-BE49-F238E27FC236}">
                    <a16:creationId xmlns:a16="http://schemas.microsoft.com/office/drawing/2014/main" id="{4E16D85D-22DD-4DAE-B2B0-28BE63E80692}"/>
                  </a:ext>
                </a:extLst>
              </p:cNvPr>
              <p:cNvSpPr>
                <a:spLocks/>
              </p:cNvSpPr>
              <p:nvPr/>
            </p:nvSpPr>
            <p:spPr bwMode="auto">
              <a:xfrm>
                <a:off x="5180" y="2471"/>
                <a:ext cx="6" cy="4"/>
              </a:xfrm>
              <a:custGeom>
                <a:avLst/>
                <a:gdLst>
                  <a:gd name="T0" fmla="*/ 0 w 19"/>
                  <a:gd name="T1" fmla="*/ 0 h 12"/>
                  <a:gd name="T2" fmla="*/ 2 w 19"/>
                  <a:gd name="T3" fmla="*/ 1 h 12"/>
                  <a:gd name="T4" fmla="*/ 1 w 19"/>
                  <a:gd name="T5" fmla="*/ 1 h 12"/>
                  <a:gd name="T6" fmla="*/ 1 w 19"/>
                  <a:gd name="T7" fmla="*/ 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481" name="Freeform 290">
                <a:extLst>
                  <a:ext uri="{FF2B5EF4-FFF2-40B4-BE49-F238E27FC236}">
                    <a16:creationId xmlns:a16="http://schemas.microsoft.com/office/drawing/2014/main" id="{E56FC3C5-AB65-4594-98DD-1BD099FFA66C}"/>
                  </a:ext>
                </a:extLst>
              </p:cNvPr>
              <p:cNvSpPr>
                <a:spLocks/>
              </p:cNvSpPr>
              <p:nvPr/>
            </p:nvSpPr>
            <p:spPr bwMode="auto">
              <a:xfrm>
                <a:off x="5062" y="2447"/>
                <a:ext cx="42" cy="55"/>
              </a:xfrm>
              <a:custGeom>
                <a:avLst/>
                <a:gdLst>
                  <a:gd name="T0" fmla="*/ 13 w 126"/>
                  <a:gd name="T1" fmla="*/ 0 h 166"/>
                  <a:gd name="T2" fmla="*/ 13 w 126"/>
                  <a:gd name="T3" fmla="*/ 1 h 166"/>
                  <a:gd name="T4" fmla="*/ 13 w 126"/>
                  <a:gd name="T5" fmla="*/ 1 h 166"/>
                  <a:gd name="T6" fmla="*/ 14 w 126"/>
                  <a:gd name="T7" fmla="*/ 1 h 166"/>
                  <a:gd name="T8" fmla="*/ 14 w 126"/>
                  <a:gd name="T9" fmla="*/ 2 h 166"/>
                  <a:gd name="T10" fmla="*/ 14 w 126"/>
                  <a:gd name="T11" fmla="*/ 2 h 166"/>
                  <a:gd name="T12" fmla="*/ 14 w 126"/>
                  <a:gd name="T13" fmla="*/ 3 h 166"/>
                  <a:gd name="T14" fmla="*/ 14 w 126"/>
                  <a:gd name="T15" fmla="*/ 4 h 166"/>
                  <a:gd name="T16" fmla="*/ 13 w 126"/>
                  <a:gd name="T17" fmla="*/ 5 h 166"/>
                  <a:gd name="T18" fmla="*/ 13 w 126"/>
                  <a:gd name="T19" fmla="*/ 6 h 166"/>
                  <a:gd name="T20" fmla="*/ 12 w 126"/>
                  <a:gd name="T21" fmla="*/ 7 h 166"/>
                  <a:gd name="T22" fmla="*/ 10 w 126"/>
                  <a:gd name="T23" fmla="*/ 9 h 166"/>
                  <a:gd name="T24" fmla="*/ 8 w 126"/>
                  <a:gd name="T25" fmla="*/ 11 h 166"/>
                  <a:gd name="T26" fmla="*/ 6 w 126"/>
                  <a:gd name="T27" fmla="*/ 14 h 166"/>
                  <a:gd name="T28" fmla="*/ 4 w 126"/>
                  <a:gd name="T29" fmla="*/ 16 h 166"/>
                  <a:gd name="T30" fmla="*/ 3 w 126"/>
                  <a:gd name="T31" fmla="*/ 17 h 166"/>
                  <a:gd name="T32" fmla="*/ 2 w 126"/>
                  <a:gd name="T33" fmla="*/ 17 h 166"/>
                  <a:gd name="T34" fmla="*/ 1 w 126"/>
                  <a:gd name="T35" fmla="*/ 18 h 166"/>
                  <a:gd name="T36" fmla="*/ 0 w 126"/>
                  <a:gd name="T37" fmla="*/ 18 h 166"/>
                  <a:gd name="T38" fmla="*/ 0 w 126"/>
                  <a:gd name="T39" fmla="*/ 18 h 166"/>
                  <a:gd name="T40" fmla="*/ 0 w 126"/>
                  <a:gd name="T41" fmla="*/ 17 h 166"/>
                  <a:gd name="T42" fmla="*/ 0 w 126"/>
                  <a:gd name="T43" fmla="*/ 16 h 166"/>
                  <a:gd name="T44" fmla="*/ 0 w 126"/>
                  <a:gd name="T45" fmla="*/ 15 h 166"/>
                  <a:gd name="T46" fmla="*/ 0 w 126"/>
                  <a:gd name="T47" fmla="*/ 14 h 166"/>
                  <a:gd name="T48" fmla="*/ 1 w 126"/>
                  <a:gd name="T49" fmla="*/ 14 h 166"/>
                  <a:gd name="T50" fmla="*/ 1 w 126"/>
                  <a:gd name="T51" fmla="*/ 14 h 166"/>
                  <a:gd name="T52" fmla="*/ 2 w 126"/>
                  <a:gd name="T53" fmla="*/ 13 h 166"/>
                  <a:gd name="T54" fmla="*/ 3 w 126"/>
                  <a:gd name="T55" fmla="*/ 13 h 166"/>
                  <a:gd name="T56" fmla="*/ 4 w 126"/>
                  <a:gd name="T57" fmla="*/ 12 h 166"/>
                  <a:gd name="T58" fmla="*/ 4 w 126"/>
                  <a:gd name="T59" fmla="*/ 11 h 166"/>
                  <a:gd name="T60" fmla="*/ 5 w 126"/>
                  <a:gd name="T61" fmla="*/ 11 h 166"/>
                  <a:gd name="T62" fmla="*/ 6 w 126"/>
                  <a:gd name="T63" fmla="*/ 10 h 166"/>
                  <a:gd name="T64" fmla="*/ 6 w 126"/>
                  <a:gd name="T65" fmla="*/ 9 h 166"/>
                  <a:gd name="T66" fmla="*/ 7 w 126"/>
                  <a:gd name="T67" fmla="*/ 7 h 166"/>
                  <a:gd name="T68" fmla="*/ 8 w 126"/>
                  <a:gd name="T69" fmla="*/ 6 h 166"/>
                  <a:gd name="T70" fmla="*/ 9 w 126"/>
                  <a:gd name="T71" fmla="*/ 4 h 166"/>
                  <a:gd name="T72" fmla="*/ 10 w 126"/>
                  <a:gd name="T73" fmla="*/ 3 h 166"/>
                  <a:gd name="T74" fmla="*/ 10 w 126"/>
                  <a:gd name="T75" fmla="*/ 2 h 166"/>
                  <a:gd name="T76" fmla="*/ 11 w 126"/>
                  <a:gd name="T77" fmla="*/ 1 h 166"/>
                  <a:gd name="T78" fmla="*/ 12 w 126"/>
                  <a:gd name="T79" fmla="*/ 1 h 166"/>
                  <a:gd name="T80" fmla="*/ 13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482" name="Freeform 291">
                <a:extLst>
                  <a:ext uri="{FF2B5EF4-FFF2-40B4-BE49-F238E27FC236}">
                    <a16:creationId xmlns:a16="http://schemas.microsoft.com/office/drawing/2014/main" id="{7C0D4265-02D4-4C68-ABB9-0366E77A680F}"/>
                  </a:ext>
                </a:extLst>
              </p:cNvPr>
              <p:cNvSpPr>
                <a:spLocks/>
              </p:cNvSpPr>
              <p:nvPr/>
            </p:nvSpPr>
            <p:spPr bwMode="auto">
              <a:xfrm>
                <a:off x="5154" y="2465"/>
                <a:ext cx="85" cy="86"/>
              </a:xfrm>
              <a:custGeom>
                <a:avLst/>
                <a:gdLst>
                  <a:gd name="T0" fmla="*/ 1 w 259"/>
                  <a:gd name="T1" fmla="*/ 20 h 259"/>
                  <a:gd name="T2" fmla="*/ 0 w 259"/>
                  <a:gd name="T3" fmla="*/ 18 h 259"/>
                  <a:gd name="T4" fmla="*/ 0 w 259"/>
                  <a:gd name="T5" fmla="*/ 16 h 259"/>
                  <a:gd name="T6" fmla="*/ 1 w 259"/>
                  <a:gd name="T7" fmla="*/ 14 h 259"/>
                  <a:gd name="T8" fmla="*/ 2 w 259"/>
                  <a:gd name="T9" fmla="*/ 14 h 259"/>
                  <a:gd name="T10" fmla="*/ 4 w 259"/>
                  <a:gd name="T11" fmla="*/ 13 h 259"/>
                  <a:gd name="T12" fmla="*/ 5 w 259"/>
                  <a:gd name="T13" fmla="*/ 11 h 259"/>
                  <a:gd name="T14" fmla="*/ 7 w 259"/>
                  <a:gd name="T15" fmla="*/ 10 h 259"/>
                  <a:gd name="T16" fmla="*/ 7 w 259"/>
                  <a:gd name="T17" fmla="*/ 10 h 259"/>
                  <a:gd name="T18" fmla="*/ 9 w 259"/>
                  <a:gd name="T19" fmla="*/ 10 h 259"/>
                  <a:gd name="T20" fmla="*/ 10 w 259"/>
                  <a:gd name="T21" fmla="*/ 10 h 259"/>
                  <a:gd name="T22" fmla="*/ 11 w 259"/>
                  <a:gd name="T23" fmla="*/ 12 h 259"/>
                  <a:gd name="T24" fmla="*/ 11 w 259"/>
                  <a:gd name="T25" fmla="*/ 12 h 259"/>
                  <a:gd name="T26" fmla="*/ 13 w 259"/>
                  <a:gd name="T27" fmla="*/ 12 h 259"/>
                  <a:gd name="T28" fmla="*/ 14 w 259"/>
                  <a:gd name="T29" fmla="*/ 12 h 259"/>
                  <a:gd name="T30" fmla="*/ 16 w 259"/>
                  <a:gd name="T31" fmla="*/ 10 h 259"/>
                  <a:gd name="T32" fmla="*/ 17 w 259"/>
                  <a:gd name="T33" fmla="*/ 9 h 259"/>
                  <a:gd name="T34" fmla="*/ 19 w 259"/>
                  <a:gd name="T35" fmla="*/ 6 h 259"/>
                  <a:gd name="T36" fmla="*/ 20 w 259"/>
                  <a:gd name="T37" fmla="*/ 2 h 259"/>
                  <a:gd name="T38" fmla="*/ 21 w 259"/>
                  <a:gd name="T39" fmla="*/ 0 h 259"/>
                  <a:gd name="T40" fmla="*/ 22 w 259"/>
                  <a:gd name="T41" fmla="*/ 1 h 259"/>
                  <a:gd name="T42" fmla="*/ 23 w 259"/>
                  <a:gd name="T43" fmla="*/ 2 h 259"/>
                  <a:gd name="T44" fmla="*/ 24 w 259"/>
                  <a:gd name="T45" fmla="*/ 4 h 259"/>
                  <a:gd name="T46" fmla="*/ 24 w 259"/>
                  <a:gd name="T47" fmla="*/ 6 h 259"/>
                  <a:gd name="T48" fmla="*/ 24 w 259"/>
                  <a:gd name="T49" fmla="*/ 7 h 259"/>
                  <a:gd name="T50" fmla="*/ 25 w 259"/>
                  <a:gd name="T51" fmla="*/ 8 h 259"/>
                  <a:gd name="T52" fmla="*/ 25 w 259"/>
                  <a:gd name="T53" fmla="*/ 10 h 259"/>
                  <a:gd name="T54" fmla="*/ 25 w 259"/>
                  <a:gd name="T55" fmla="*/ 12 h 259"/>
                  <a:gd name="T56" fmla="*/ 26 w 259"/>
                  <a:gd name="T57" fmla="*/ 12 h 259"/>
                  <a:gd name="T58" fmla="*/ 26 w 259"/>
                  <a:gd name="T59" fmla="*/ 13 h 259"/>
                  <a:gd name="T60" fmla="*/ 27 w 259"/>
                  <a:gd name="T61" fmla="*/ 15 h 259"/>
                  <a:gd name="T62" fmla="*/ 27 w 259"/>
                  <a:gd name="T63" fmla="*/ 18 h 259"/>
                  <a:gd name="T64" fmla="*/ 26 w 259"/>
                  <a:gd name="T65" fmla="*/ 26 h 259"/>
                  <a:gd name="T66" fmla="*/ 26 w 259"/>
                  <a:gd name="T67" fmla="*/ 25 h 259"/>
                  <a:gd name="T68" fmla="*/ 26 w 259"/>
                  <a:gd name="T69" fmla="*/ 23 h 259"/>
                  <a:gd name="T70" fmla="*/ 26 w 259"/>
                  <a:gd name="T71" fmla="*/ 21 h 259"/>
                  <a:gd name="T72" fmla="*/ 24 w 259"/>
                  <a:gd name="T73" fmla="*/ 21 h 259"/>
                  <a:gd name="T74" fmla="*/ 22 w 259"/>
                  <a:gd name="T75" fmla="*/ 20 h 259"/>
                  <a:gd name="T76" fmla="*/ 21 w 259"/>
                  <a:gd name="T77" fmla="*/ 22 h 259"/>
                  <a:gd name="T78" fmla="*/ 20 w 259"/>
                  <a:gd name="T79" fmla="*/ 24 h 259"/>
                  <a:gd name="T80" fmla="*/ 20 w 259"/>
                  <a:gd name="T81" fmla="*/ 29 h 259"/>
                  <a:gd name="T82" fmla="*/ 13 w 259"/>
                  <a:gd name="T83" fmla="*/ 27 h 259"/>
                  <a:gd name="T84" fmla="*/ 12 w 259"/>
                  <a:gd name="T85" fmla="*/ 24 h 259"/>
                  <a:gd name="T86" fmla="*/ 11 w 259"/>
                  <a:gd name="T87" fmla="*/ 23 h 259"/>
                  <a:gd name="T88" fmla="*/ 11 w 259"/>
                  <a:gd name="T89" fmla="*/ 22 h 259"/>
                  <a:gd name="T90" fmla="*/ 11 w 259"/>
                  <a:gd name="T91" fmla="*/ 21 h 259"/>
                  <a:gd name="T92" fmla="*/ 12 w 259"/>
                  <a:gd name="T93" fmla="*/ 20 h 259"/>
                  <a:gd name="T94" fmla="*/ 12 w 259"/>
                  <a:gd name="T95" fmla="*/ 19 h 259"/>
                  <a:gd name="T96" fmla="*/ 10 w 259"/>
                  <a:gd name="T97" fmla="*/ 17 h 259"/>
                  <a:gd name="T98" fmla="*/ 3 w 259"/>
                  <a:gd name="T99" fmla="*/ 17 h 259"/>
                  <a:gd name="T100" fmla="*/ 2 w 259"/>
                  <a:gd name="T101" fmla="*/ 18 h 259"/>
                  <a:gd name="T102" fmla="*/ 2 w 259"/>
                  <a:gd name="T103" fmla="*/ 19 h 259"/>
                  <a:gd name="T104" fmla="*/ 1 w 259"/>
                  <a:gd name="T105" fmla="*/ 21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US"/>
              </a:p>
            </p:txBody>
          </p:sp>
          <p:sp>
            <p:nvSpPr>
              <p:cNvPr id="483" name="Freeform 292">
                <a:extLst>
                  <a:ext uri="{FF2B5EF4-FFF2-40B4-BE49-F238E27FC236}">
                    <a16:creationId xmlns:a16="http://schemas.microsoft.com/office/drawing/2014/main" id="{E2DF75D1-6AED-457C-9F84-0B955ED3A57D}"/>
                  </a:ext>
                </a:extLst>
              </p:cNvPr>
              <p:cNvSpPr>
                <a:spLocks/>
              </p:cNvSpPr>
              <p:nvPr/>
            </p:nvSpPr>
            <p:spPr bwMode="auto">
              <a:xfrm>
                <a:off x="5104" y="2395"/>
                <a:ext cx="23" cy="31"/>
              </a:xfrm>
              <a:custGeom>
                <a:avLst/>
                <a:gdLst>
                  <a:gd name="T0" fmla="*/ 7 w 72"/>
                  <a:gd name="T1" fmla="*/ 5 h 92"/>
                  <a:gd name="T2" fmla="*/ 7 w 72"/>
                  <a:gd name="T3" fmla="*/ 10 h 92"/>
                  <a:gd name="T4" fmla="*/ 7 w 72"/>
                  <a:gd name="T5" fmla="*/ 10 h 92"/>
                  <a:gd name="T6" fmla="*/ 6 w 72"/>
                  <a:gd name="T7" fmla="*/ 9 h 92"/>
                  <a:gd name="T8" fmla="*/ 5 w 72"/>
                  <a:gd name="T9" fmla="*/ 8 h 92"/>
                  <a:gd name="T10" fmla="*/ 5 w 72"/>
                  <a:gd name="T11" fmla="*/ 8 h 92"/>
                  <a:gd name="T12" fmla="*/ 4 w 72"/>
                  <a:gd name="T13" fmla="*/ 7 h 92"/>
                  <a:gd name="T14" fmla="*/ 3 w 72"/>
                  <a:gd name="T15" fmla="*/ 5 h 92"/>
                  <a:gd name="T16" fmla="*/ 3 w 72"/>
                  <a:gd name="T17" fmla="*/ 4 h 92"/>
                  <a:gd name="T18" fmla="*/ 2 w 72"/>
                  <a:gd name="T19" fmla="*/ 3 h 92"/>
                  <a:gd name="T20" fmla="*/ 1 w 72"/>
                  <a:gd name="T21" fmla="*/ 1 h 92"/>
                  <a:gd name="T22" fmla="*/ 0 w 72"/>
                  <a:gd name="T23" fmla="*/ 0 h 92"/>
                  <a:gd name="T24" fmla="*/ 3 w 72"/>
                  <a:gd name="T25" fmla="*/ 1 h 92"/>
                  <a:gd name="T26" fmla="*/ 4 w 72"/>
                  <a:gd name="T27" fmla="*/ 2 h 92"/>
                  <a:gd name="T28" fmla="*/ 5 w 72"/>
                  <a:gd name="T29" fmla="*/ 3 h 92"/>
                  <a:gd name="T30" fmla="*/ 6 w 72"/>
                  <a:gd name="T31" fmla="*/ 3 h 92"/>
                  <a:gd name="T32" fmla="*/ 7 w 72"/>
                  <a:gd name="T33" fmla="*/ 4 h 92"/>
                  <a:gd name="T34" fmla="*/ 7 w 72"/>
                  <a:gd name="T35" fmla="*/ 5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US"/>
              </a:p>
            </p:txBody>
          </p:sp>
          <p:sp>
            <p:nvSpPr>
              <p:cNvPr id="484" name="Freeform 293">
                <a:extLst>
                  <a:ext uri="{FF2B5EF4-FFF2-40B4-BE49-F238E27FC236}">
                    <a16:creationId xmlns:a16="http://schemas.microsoft.com/office/drawing/2014/main" id="{DE646A10-9C16-4244-AA60-666288D1AFA7}"/>
                  </a:ext>
                </a:extLst>
              </p:cNvPr>
              <p:cNvSpPr>
                <a:spLocks/>
              </p:cNvSpPr>
              <p:nvPr/>
            </p:nvSpPr>
            <p:spPr bwMode="auto">
              <a:xfrm>
                <a:off x="5143" y="2436"/>
                <a:ext cx="16" cy="21"/>
              </a:xfrm>
              <a:custGeom>
                <a:avLst/>
                <a:gdLst>
                  <a:gd name="T0" fmla="*/ 1 w 46"/>
                  <a:gd name="T1" fmla="*/ 1 h 62"/>
                  <a:gd name="T2" fmla="*/ 2 w 46"/>
                  <a:gd name="T3" fmla="*/ 1 h 62"/>
                  <a:gd name="T4" fmla="*/ 4 w 46"/>
                  <a:gd name="T5" fmla="*/ 0 h 62"/>
                  <a:gd name="T6" fmla="*/ 5 w 46"/>
                  <a:gd name="T7" fmla="*/ 0 h 62"/>
                  <a:gd name="T8" fmla="*/ 6 w 46"/>
                  <a:gd name="T9" fmla="*/ 0 h 62"/>
                  <a:gd name="T10" fmla="*/ 6 w 46"/>
                  <a:gd name="T11" fmla="*/ 1 h 62"/>
                  <a:gd name="T12" fmla="*/ 6 w 46"/>
                  <a:gd name="T13" fmla="*/ 2 h 62"/>
                  <a:gd name="T14" fmla="*/ 6 w 46"/>
                  <a:gd name="T15" fmla="*/ 3 h 62"/>
                  <a:gd name="T16" fmla="*/ 6 w 46"/>
                  <a:gd name="T17" fmla="*/ 4 h 62"/>
                  <a:gd name="T18" fmla="*/ 6 w 46"/>
                  <a:gd name="T19" fmla="*/ 5 h 62"/>
                  <a:gd name="T20" fmla="*/ 5 w 46"/>
                  <a:gd name="T21" fmla="*/ 6 h 62"/>
                  <a:gd name="T22" fmla="*/ 5 w 46"/>
                  <a:gd name="T23" fmla="*/ 6 h 62"/>
                  <a:gd name="T24" fmla="*/ 5 w 46"/>
                  <a:gd name="T25" fmla="*/ 7 h 62"/>
                  <a:gd name="T26" fmla="*/ 4 w 46"/>
                  <a:gd name="T27" fmla="*/ 7 h 62"/>
                  <a:gd name="T28" fmla="*/ 4 w 46"/>
                  <a:gd name="T29" fmla="*/ 7 h 62"/>
                  <a:gd name="T30" fmla="*/ 3 w 46"/>
                  <a:gd name="T31" fmla="*/ 7 h 62"/>
                  <a:gd name="T32" fmla="*/ 3 w 46"/>
                  <a:gd name="T33" fmla="*/ 7 h 62"/>
                  <a:gd name="T34" fmla="*/ 2 w 46"/>
                  <a:gd name="T35" fmla="*/ 7 h 62"/>
                  <a:gd name="T36" fmla="*/ 2 w 46"/>
                  <a:gd name="T37" fmla="*/ 6 h 62"/>
                  <a:gd name="T38" fmla="*/ 1 w 46"/>
                  <a:gd name="T39" fmla="*/ 6 h 62"/>
                  <a:gd name="T40" fmla="*/ 1 w 46"/>
                  <a:gd name="T41" fmla="*/ 6 h 62"/>
                  <a:gd name="T42" fmla="*/ 1 w 46"/>
                  <a:gd name="T43" fmla="*/ 5 h 62"/>
                  <a:gd name="T44" fmla="*/ 0 w 46"/>
                  <a:gd name="T45" fmla="*/ 5 h 62"/>
                  <a:gd name="T46" fmla="*/ 0 w 46"/>
                  <a:gd name="T47" fmla="*/ 4 h 62"/>
                  <a:gd name="T48" fmla="*/ 0 w 46"/>
                  <a:gd name="T49" fmla="*/ 3 h 62"/>
                  <a:gd name="T50" fmla="*/ 0 w 46"/>
                  <a:gd name="T51" fmla="*/ 2 h 62"/>
                  <a:gd name="T52" fmla="*/ 0 w 46"/>
                  <a:gd name="T53" fmla="*/ 1 h 62"/>
                  <a:gd name="T54" fmla="*/ 1 w 46"/>
                  <a:gd name="T55" fmla="*/ 1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485" name="Freeform 294">
                <a:extLst>
                  <a:ext uri="{FF2B5EF4-FFF2-40B4-BE49-F238E27FC236}">
                    <a16:creationId xmlns:a16="http://schemas.microsoft.com/office/drawing/2014/main" id="{1AA3271E-C565-48A2-BD74-34E0ED05FAC4}"/>
                  </a:ext>
                </a:extLst>
              </p:cNvPr>
              <p:cNvSpPr>
                <a:spLocks/>
              </p:cNvSpPr>
              <p:nvPr/>
            </p:nvSpPr>
            <p:spPr bwMode="auto">
              <a:xfrm>
                <a:off x="5089" y="2295"/>
                <a:ext cx="50" cy="98"/>
              </a:xfrm>
              <a:custGeom>
                <a:avLst/>
                <a:gdLst>
                  <a:gd name="T0" fmla="*/ 6 w 152"/>
                  <a:gd name="T1" fmla="*/ 0 h 296"/>
                  <a:gd name="T2" fmla="*/ 7 w 152"/>
                  <a:gd name="T3" fmla="*/ 1 h 296"/>
                  <a:gd name="T4" fmla="*/ 8 w 152"/>
                  <a:gd name="T5" fmla="*/ 2 h 296"/>
                  <a:gd name="T6" fmla="*/ 10 w 152"/>
                  <a:gd name="T7" fmla="*/ 3 h 296"/>
                  <a:gd name="T8" fmla="*/ 11 w 152"/>
                  <a:gd name="T9" fmla="*/ 3 h 296"/>
                  <a:gd name="T10" fmla="*/ 12 w 152"/>
                  <a:gd name="T11" fmla="*/ 2 h 296"/>
                  <a:gd name="T12" fmla="*/ 13 w 152"/>
                  <a:gd name="T13" fmla="*/ 1 h 296"/>
                  <a:gd name="T14" fmla="*/ 13 w 152"/>
                  <a:gd name="T15" fmla="*/ 4 h 296"/>
                  <a:gd name="T16" fmla="*/ 14 w 152"/>
                  <a:gd name="T17" fmla="*/ 7 h 296"/>
                  <a:gd name="T18" fmla="*/ 15 w 152"/>
                  <a:gd name="T19" fmla="*/ 9 h 296"/>
                  <a:gd name="T20" fmla="*/ 16 w 152"/>
                  <a:gd name="T21" fmla="*/ 10 h 296"/>
                  <a:gd name="T22" fmla="*/ 16 w 152"/>
                  <a:gd name="T23" fmla="*/ 11 h 296"/>
                  <a:gd name="T24" fmla="*/ 15 w 152"/>
                  <a:gd name="T25" fmla="*/ 13 h 296"/>
                  <a:gd name="T26" fmla="*/ 14 w 152"/>
                  <a:gd name="T27" fmla="*/ 15 h 296"/>
                  <a:gd name="T28" fmla="*/ 13 w 152"/>
                  <a:gd name="T29" fmla="*/ 17 h 296"/>
                  <a:gd name="T30" fmla="*/ 12 w 152"/>
                  <a:gd name="T31" fmla="*/ 19 h 296"/>
                  <a:gd name="T32" fmla="*/ 13 w 152"/>
                  <a:gd name="T33" fmla="*/ 22 h 296"/>
                  <a:gd name="T34" fmla="*/ 13 w 152"/>
                  <a:gd name="T35" fmla="*/ 23 h 296"/>
                  <a:gd name="T36" fmla="*/ 12 w 152"/>
                  <a:gd name="T37" fmla="*/ 24 h 296"/>
                  <a:gd name="T38" fmla="*/ 13 w 152"/>
                  <a:gd name="T39" fmla="*/ 24 h 296"/>
                  <a:gd name="T40" fmla="*/ 16 w 152"/>
                  <a:gd name="T41" fmla="*/ 24 h 296"/>
                  <a:gd name="T42" fmla="*/ 15 w 152"/>
                  <a:gd name="T43" fmla="*/ 27 h 296"/>
                  <a:gd name="T44" fmla="*/ 15 w 152"/>
                  <a:gd name="T45" fmla="*/ 29 h 296"/>
                  <a:gd name="T46" fmla="*/ 16 w 152"/>
                  <a:gd name="T47" fmla="*/ 31 h 296"/>
                  <a:gd name="T48" fmla="*/ 13 w 152"/>
                  <a:gd name="T49" fmla="*/ 32 h 296"/>
                  <a:gd name="T50" fmla="*/ 12 w 152"/>
                  <a:gd name="T51" fmla="*/ 32 h 296"/>
                  <a:gd name="T52" fmla="*/ 9 w 152"/>
                  <a:gd name="T53" fmla="*/ 32 h 296"/>
                  <a:gd name="T54" fmla="*/ 8 w 152"/>
                  <a:gd name="T55" fmla="*/ 31 h 296"/>
                  <a:gd name="T56" fmla="*/ 7 w 152"/>
                  <a:gd name="T57" fmla="*/ 31 h 296"/>
                  <a:gd name="T58" fmla="*/ 7 w 152"/>
                  <a:gd name="T59" fmla="*/ 30 h 296"/>
                  <a:gd name="T60" fmla="*/ 9 w 152"/>
                  <a:gd name="T61" fmla="*/ 28 h 296"/>
                  <a:gd name="T62" fmla="*/ 8 w 152"/>
                  <a:gd name="T63" fmla="*/ 27 h 296"/>
                  <a:gd name="T64" fmla="*/ 6 w 152"/>
                  <a:gd name="T65" fmla="*/ 26 h 296"/>
                  <a:gd name="T66" fmla="*/ 4 w 152"/>
                  <a:gd name="T67" fmla="*/ 25 h 296"/>
                  <a:gd name="T68" fmla="*/ 3 w 152"/>
                  <a:gd name="T69" fmla="*/ 24 h 296"/>
                  <a:gd name="T70" fmla="*/ 2 w 152"/>
                  <a:gd name="T71" fmla="*/ 23 h 296"/>
                  <a:gd name="T72" fmla="*/ 1 w 152"/>
                  <a:gd name="T73" fmla="*/ 21 h 296"/>
                  <a:gd name="T74" fmla="*/ 0 w 152"/>
                  <a:gd name="T75" fmla="*/ 19 h 296"/>
                  <a:gd name="T76" fmla="*/ 0 w 152"/>
                  <a:gd name="T77" fmla="*/ 17 h 296"/>
                  <a:gd name="T78" fmla="*/ 0 w 152"/>
                  <a:gd name="T79" fmla="*/ 14 h 296"/>
                  <a:gd name="T80" fmla="*/ 3 w 152"/>
                  <a:gd name="T81" fmla="*/ 12 h 296"/>
                  <a:gd name="T82" fmla="*/ 4 w 152"/>
                  <a:gd name="T83" fmla="*/ 5 h 296"/>
                  <a:gd name="T84" fmla="*/ 3 w 152"/>
                  <a:gd name="T85" fmla="*/ 2 h 296"/>
                  <a:gd name="T86" fmla="*/ 3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US"/>
              </a:p>
            </p:txBody>
          </p:sp>
          <p:sp>
            <p:nvSpPr>
              <p:cNvPr id="486" name="Freeform 295">
                <a:extLst>
                  <a:ext uri="{FF2B5EF4-FFF2-40B4-BE49-F238E27FC236}">
                    <a16:creationId xmlns:a16="http://schemas.microsoft.com/office/drawing/2014/main" id="{BF627039-DA29-4D29-84EE-99B1B2372C2A}"/>
                  </a:ext>
                </a:extLst>
              </p:cNvPr>
              <p:cNvSpPr>
                <a:spLocks/>
              </p:cNvSpPr>
              <p:nvPr/>
            </p:nvSpPr>
            <p:spPr bwMode="auto">
              <a:xfrm>
                <a:off x="5189" y="2442"/>
                <a:ext cx="8" cy="13"/>
              </a:xfrm>
              <a:custGeom>
                <a:avLst/>
                <a:gdLst>
                  <a:gd name="T0" fmla="*/ 2 w 26"/>
                  <a:gd name="T1" fmla="*/ 4 h 38"/>
                  <a:gd name="T2" fmla="*/ 2 w 26"/>
                  <a:gd name="T3" fmla="*/ 0 h 38"/>
                  <a:gd name="T4" fmla="*/ 2 w 26"/>
                  <a:gd name="T5" fmla="*/ 0 h 38"/>
                  <a:gd name="T6" fmla="*/ 1 w 26"/>
                  <a:gd name="T7" fmla="*/ 0 h 38"/>
                  <a:gd name="T8" fmla="*/ 1 w 26"/>
                  <a:gd name="T9" fmla="*/ 1 h 38"/>
                  <a:gd name="T10" fmla="*/ 0 w 26"/>
                  <a:gd name="T11" fmla="*/ 1 h 38"/>
                  <a:gd name="T12" fmla="*/ 2 w 26"/>
                  <a:gd name="T13" fmla="*/ 3 h 38"/>
                  <a:gd name="T14" fmla="*/ 2 w 26"/>
                  <a:gd name="T15" fmla="*/ 4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US"/>
              </a:p>
            </p:txBody>
          </p:sp>
          <p:sp>
            <p:nvSpPr>
              <p:cNvPr id="487" name="Freeform 296">
                <a:extLst>
                  <a:ext uri="{FF2B5EF4-FFF2-40B4-BE49-F238E27FC236}">
                    <a16:creationId xmlns:a16="http://schemas.microsoft.com/office/drawing/2014/main" id="{1BE45553-B877-492C-8B56-B5062D20D9BF}"/>
                  </a:ext>
                </a:extLst>
              </p:cNvPr>
              <p:cNvSpPr>
                <a:spLocks/>
              </p:cNvSpPr>
              <p:nvPr/>
            </p:nvSpPr>
            <p:spPr bwMode="auto">
              <a:xfrm>
                <a:off x="5165" y="2420"/>
                <a:ext cx="10" cy="10"/>
              </a:xfrm>
              <a:custGeom>
                <a:avLst/>
                <a:gdLst>
                  <a:gd name="T0" fmla="*/ 0 w 34"/>
                  <a:gd name="T1" fmla="*/ 2 h 31"/>
                  <a:gd name="T2" fmla="*/ 1 w 34"/>
                  <a:gd name="T3" fmla="*/ 2 h 31"/>
                  <a:gd name="T4" fmla="*/ 1 w 34"/>
                  <a:gd name="T5" fmla="*/ 3 h 31"/>
                  <a:gd name="T6" fmla="*/ 2 w 34"/>
                  <a:gd name="T7" fmla="*/ 3 h 31"/>
                  <a:gd name="T8" fmla="*/ 3 w 34"/>
                  <a:gd name="T9" fmla="*/ 3 h 31"/>
                  <a:gd name="T10" fmla="*/ 3 w 34"/>
                  <a:gd name="T11" fmla="*/ 3 h 31"/>
                  <a:gd name="T12" fmla="*/ 3 w 34"/>
                  <a:gd name="T13" fmla="*/ 2 h 31"/>
                  <a:gd name="T14" fmla="*/ 2 w 34"/>
                  <a:gd name="T15" fmla="*/ 1 h 31"/>
                  <a:gd name="T16" fmla="*/ 2 w 34"/>
                  <a:gd name="T17" fmla="*/ 0 h 31"/>
                  <a:gd name="T18" fmla="*/ 1 w 34"/>
                  <a:gd name="T19" fmla="*/ 1 h 31"/>
                  <a:gd name="T20" fmla="*/ 1 w 34"/>
                  <a:gd name="T21" fmla="*/ 1 h 31"/>
                  <a:gd name="T22" fmla="*/ 1 w 34"/>
                  <a:gd name="T23" fmla="*/ 2 h 31"/>
                  <a:gd name="T24" fmla="*/ 1 w 34"/>
                  <a:gd name="T25" fmla="*/ 2 h 31"/>
                  <a:gd name="T26" fmla="*/ 0 w 34"/>
                  <a:gd name="T27" fmla="*/ 2 h 31"/>
                  <a:gd name="T28" fmla="*/ 0 w 34"/>
                  <a:gd name="T29" fmla="*/ 2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488" name="Freeform 297">
                <a:extLst>
                  <a:ext uri="{FF2B5EF4-FFF2-40B4-BE49-F238E27FC236}">
                    <a16:creationId xmlns:a16="http://schemas.microsoft.com/office/drawing/2014/main" id="{85947425-241F-42B8-8B73-28C0C7143118}"/>
                  </a:ext>
                </a:extLst>
              </p:cNvPr>
              <p:cNvSpPr>
                <a:spLocks/>
              </p:cNvSpPr>
              <p:nvPr/>
            </p:nvSpPr>
            <p:spPr bwMode="auto">
              <a:xfrm>
                <a:off x="5139" y="2418"/>
                <a:ext cx="6" cy="12"/>
              </a:xfrm>
              <a:custGeom>
                <a:avLst/>
                <a:gdLst>
                  <a:gd name="T0" fmla="*/ 0 w 20"/>
                  <a:gd name="T1" fmla="*/ 1 h 37"/>
                  <a:gd name="T2" fmla="*/ 0 w 20"/>
                  <a:gd name="T3" fmla="*/ 4 h 37"/>
                  <a:gd name="T4" fmla="*/ 1 w 20"/>
                  <a:gd name="T5" fmla="*/ 4 h 37"/>
                  <a:gd name="T6" fmla="*/ 2 w 20"/>
                  <a:gd name="T7" fmla="*/ 3 h 37"/>
                  <a:gd name="T8" fmla="*/ 2 w 20"/>
                  <a:gd name="T9" fmla="*/ 0 h 37"/>
                  <a:gd name="T10" fmla="*/ 0 w 20"/>
                  <a:gd name="T11" fmla="*/ 1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489" name="Line 298">
                <a:extLst>
                  <a:ext uri="{FF2B5EF4-FFF2-40B4-BE49-F238E27FC236}">
                    <a16:creationId xmlns:a16="http://schemas.microsoft.com/office/drawing/2014/main" id="{C60D3FE4-0F16-484B-84C6-64D6682311D6}"/>
                  </a:ext>
                </a:extLst>
              </p:cNvPr>
              <p:cNvSpPr>
                <a:spLocks noChangeShapeType="1"/>
              </p:cNvSpPr>
              <p:nvPr/>
            </p:nvSpPr>
            <p:spPr bwMode="auto">
              <a:xfrm>
                <a:off x="5180" y="2449"/>
                <a:ext cx="1" cy="1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90" name="Freeform 299">
                <a:extLst>
                  <a:ext uri="{FF2B5EF4-FFF2-40B4-BE49-F238E27FC236}">
                    <a16:creationId xmlns:a16="http://schemas.microsoft.com/office/drawing/2014/main" id="{7EBE07B9-267D-4F81-960A-68839A259381}"/>
                  </a:ext>
                </a:extLst>
              </p:cNvPr>
              <p:cNvSpPr>
                <a:spLocks/>
              </p:cNvSpPr>
              <p:nvPr/>
            </p:nvSpPr>
            <p:spPr bwMode="auto">
              <a:xfrm>
                <a:off x="5180" y="2453"/>
                <a:ext cx="4" cy="6"/>
              </a:xfrm>
              <a:custGeom>
                <a:avLst/>
                <a:gdLst>
                  <a:gd name="T0" fmla="*/ 0 w 13"/>
                  <a:gd name="T1" fmla="*/ 2 h 18"/>
                  <a:gd name="T2" fmla="*/ 0 w 13"/>
                  <a:gd name="T3" fmla="*/ 1 h 18"/>
                  <a:gd name="T4" fmla="*/ 0 w 13"/>
                  <a:gd name="T5" fmla="*/ 1 h 18"/>
                  <a:gd name="T6" fmla="*/ 1 w 13"/>
                  <a:gd name="T7" fmla="*/ 0 h 18"/>
                  <a:gd name="T8" fmla="*/ 1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491" name="Line 300">
                <a:extLst>
                  <a:ext uri="{FF2B5EF4-FFF2-40B4-BE49-F238E27FC236}">
                    <a16:creationId xmlns:a16="http://schemas.microsoft.com/office/drawing/2014/main" id="{B1D0E7BC-C468-48D1-8AF3-A15E9AE64209}"/>
                  </a:ext>
                </a:extLst>
              </p:cNvPr>
              <p:cNvSpPr>
                <a:spLocks noChangeShapeType="1"/>
              </p:cNvSpPr>
              <p:nvPr/>
            </p:nvSpPr>
            <p:spPr bwMode="auto">
              <a:xfrm flipH="1" flipV="1">
                <a:off x="5178" y="2447"/>
                <a:ext cx="6" cy="6"/>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92" name="Freeform 301">
                <a:extLst>
                  <a:ext uri="{FF2B5EF4-FFF2-40B4-BE49-F238E27FC236}">
                    <a16:creationId xmlns:a16="http://schemas.microsoft.com/office/drawing/2014/main" id="{1EF23302-D9AC-4C0A-A6EC-F5713D144949}"/>
                  </a:ext>
                </a:extLst>
              </p:cNvPr>
              <p:cNvSpPr>
                <a:spLocks/>
              </p:cNvSpPr>
              <p:nvPr/>
            </p:nvSpPr>
            <p:spPr bwMode="auto">
              <a:xfrm>
                <a:off x="5116" y="2564"/>
                <a:ext cx="9" cy="10"/>
              </a:xfrm>
              <a:custGeom>
                <a:avLst/>
                <a:gdLst>
                  <a:gd name="T0" fmla="*/ 0 w 27"/>
                  <a:gd name="T1" fmla="*/ 0 h 31"/>
                  <a:gd name="T2" fmla="*/ 2 w 27"/>
                  <a:gd name="T3" fmla="*/ 3 h 31"/>
                  <a:gd name="T4" fmla="*/ 3 w 27"/>
                  <a:gd name="T5" fmla="*/ 1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US"/>
              </a:p>
            </p:txBody>
          </p:sp>
          <p:sp>
            <p:nvSpPr>
              <p:cNvPr id="493" name="Freeform 302">
                <a:extLst>
                  <a:ext uri="{FF2B5EF4-FFF2-40B4-BE49-F238E27FC236}">
                    <a16:creationId xmlns:a16="http://schemas.microsoft.com/office/drawing/2014/main" id="{E3821C5E-2909-4839-B5D1-AF3189C78C4C}"/>
                  </a:ext>
                </a:extLst>
              </p:cNvPr>
              <p:cNvSpPr>
                <a:spLocks/>
              </p:cNvSpPr>
              <p:nvPr/>
            </p:nvSpPr>
            <p:spPr bwMode="auto">
              <a:xfrm>
                <a:off x="5119" y="2568"/>
                <a:ext cx="6" cy="1"/>
              </a:xfrm>
              <a:custGeom>
                <a:avLst/>
                <a:gdLst>
                  <a:gd name="T0" fmla="*/ 2 w 20"/>
                  <a:gd name="T1" fmla="*/ 0 h 1"/>
                  <a:gd name="T2" fmla="*/ 1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94" name="Freeform 303">
                <a:extLst>
                  <a:ext uri="{FF2B5EF4-FFF2-40B4-BE49-F238E27FC236}">
                    <a16:creationId xmlns:a16="http://schemas.microsoft.com/office/drawing/2014/main" id="{7BC02786-4614-4763-B62B-26B183A13577}"/>
                  </a:ext>
                </a:extLst>
              </p:cNvPr>
              <p:cNvSpPr>
                <a:spLocks/>
              </p:cNvSpPr>
              <p:nvPr/>
            </p:nvSpPr>
            <p:spPr bwMode="auto">
              <a:xfrm>
                <a:off x="5127" y="2557"/>
                <a:ext cx="12" cy="5"/>
              </a:xfrm>
              <a:custGeom>
                <a:avLst/>
                <a:gdLst>
                  <a:gd name="T0" fmla="*/ 0 w 34"/>
                  <a:gd name="T1" fmla="*/ 2 h 13"/>
                  <a:gd name="T2" fmla="*/ 1 w 34"/>
                  <a:gd name="T3" fmla="*/ 2 h 13"/>
                  <a:gd name="T4" fmla="*/ 1 w 34"/>
                  <a:gd name="T5" fmla="*/ 2 h 13"/>
                  <a:gd name="T6" fmla="*/ 2 w 34"/>
                  <a:gd name="T7" fmla="*/ 2 h 13"/>
                  <a:gd name="T8" fmla="*/ 2 w 34"/>
                  <a:gd name="T9" fmla="*/ 1 h 13"/>
                  <a:gd name="T10" fmla="*/ 4 w 34"/>
                  <a:gd name="T11" fmla="*/ 0 h 13"/>
                  <a:gd name="T12" fmla="*/ 4 w 34"/>
                  <a:gd name="T13" fmla="*/ 0 h 13"/>
                  <a:gd name="T14" fmla="*/ 3 w 34"/>
                  <a:gd name="T15" fmla="*/ 0 h 13"/>
                  <a:gd name="T16" fmla="*/ 2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US"/>
              </a:p>
            </p:txBody>
          </p:sp>
          <p:sp>
            <p:nvSpPr>
              <p:cNvPr id="495" name="Freeform 304">
                <a:extLst>
                  <a:ext uri="{FF2B5EF4-FFF2-40B4-BE49-F238E27FC236}">
                    <a16:creationId xmlns:a16="http://schemas.microsoft.com/office/drawing/2014/main" id="{28BB59A8-90C6-43D2-A722-0A385340C20C}"/>
                  </a:ext>
                </a:extLst>
              </p:cNvPr>
              <p:cNvSpPr>
                <a:spLocks/>
              </p:cNvSpPr>
              <p:nvPr/>
            </p:nvSpPr>
            <p:spPr bwMode="auto">
              <a:xfrm>
                <a:off x="5127" y="2547"/>
                <a:ext cx="12" cy="6"/>
              </a:xfrm>
              <a:custGeom>
                <a:avLst/>
                <a:gdLst>
                  <a:gd name="T0" fmla="*/ 4 w 34"/>
                  <a:gd name="T1" fmla="*/ 2 h 18"/>
                  <a:gd name="T2" fmla="*/ 4 w 34"/>
                  <a:gd name="T3" fmla="*/ 0 h 18"/>
                  <a:gd name="T4" fmla="*/ 4 w 34"/>
                  <a:gd name="T5" fmla="*/ 0 h 18"/>
                  <a:gd name="T6" fmla="*/ 2 w 34"/>
                  <a:gd name="T7" fmla="*/ 0 h 18"/>
                  <a:gd name="T8" fmla="*/ 1 w 34"/>
                  <a:gd name="T9" fmla="*/ 0 h 18"/>
                  <a:gd name="T10" fmla="*/ 0 w 34"/>
                  <a:gd name="T11" fmla="*/ 0 h 18"/>
                  <a:gd name="T12" fmla="*/ 4 w 34"/>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US"/>
              </a:p>
            </p:txBody>
          </p:sp>
          <p:sp>
            <p:nvSpPr>
              <p:cNvPr id="496" name="Freeform 305">
                <a:extLst>
                  <a:ext uri="{FF2B5EF4-FFF2-40B4-BE49-F238E27FC236}">
                    <a16:creationId xmlns:a16="http://schemas.microsoft.com/office/drawing/2014/main" id="{4AFF0B0C-F441-4949-BB0D-ED452EF891C2}"/>
                  </a:ext>
                </a:extLst>
              </p:cNvPr>
              <p:cNvSpPr>
                <a:spLocks/>
              </p:cNvSpPr>
              <p:nvPr/>
            </p:nvSpPr>
            <p:spPr bwMode="auto">
              <a:xfrm>
                <a:off x="5141" y="2535"/>
                <a:ext cx="20" cy="8"/>
              </a:xfrm>
              <a:custGeom>
                <a:avLst/>
                <a:gdLst>
                  <a:gd name="T0" fmla="*/ 6 w 59"/>
                  <a:gd name="T1" fmla="*/ 3 h 25"/>
                  <a:gd name="T2" fmla="*/ 6 w 59"/>
                  <a:gd name="T3" fmla="*/ 1 h 25"/>
                  <a:gd name="T4" fmla="*/ 7 w 59"/>
                  <a:gd name="T5" fmla="*/ 0 h 25"/>
                  <a:gd name="T6" fmla="*/ 5 w 59"/>
                  <a:gd name="T7" fmla="*/ 0 h 25"/>
                  <a:gd name="T8" fmla="*/ 3 w 59"/>
                  <a:gd name="T9" fmla="*/ 0 h 25"/>
                  <a:gd name="T10" fmla="*/ 2 w 59"/>
                  <a:gd name="T11" fmla="*/ 0 h 25"/>
                  <a:gd name="T12" fmla="*/ 1 w 59"/>
                  <a:gd name="T13" fmla="*/ 0 h 25"/>
                  <a:gd name="T14" fmla="*/ 1 w 59"/>
                  <a:gd name="T15" fmla="*/ 0 h 25"/>
                  <a:gd name="T16" fmla="*/ 0 w 59"/>
                  <a:gd name="T17" fmla="*/ 1 h 25"/>
                  <a:gd name="T18" fmla="*/ 1 w 59"/>
                  <a:gd name="T19" fmla="*/ 1 h 25"/>
                  <a:gd name="T20" fmla="*/ 3 w 59"/>
                  <a:gd name="T21" fmla="*/ 2 h 25"/>
                  <a:gd name="T22" fmla="*/ 4 w 59"/>
                  <a:gd name="T23" fmla="*/ 2 h 25"/>
                  <a:gd name="T24" fmla="*/ 4 w 59"/>
                  <a:gd name="T25" fmla="*/ 3 h 25"/>
                  <a:gd name="T26" fmla="*/ 5 w 59"/>
                  <a:gd name="T27" fmla="*/ 3 h 25"/>
                  <a:gd name="T28" fmla="*/ 6 w 59"/>
                  <a:gd name="T29" fmla="*/ 3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US"/>
              </a:p>
            </p:txBody>
          </p:sp>
          <p:sp>
            <p:nvSpPr>
              <p:cNvPr id="497" name="Line 306">
                <a:extLst>
                  <a:ext uri="{FF2B5EF4-FFF2-40B4-BE49-F238E27FC236}">
                    <a16:creationId xmlns:a16="http://schemas.microsoft.com/office/drawing/2014/main" id="{7E2407E1-C84B-4433-BE43-F212D364D6DC}"/>
                  </a:ext>
                </a:extLst>
              </p:cNvPr>
              <p:cNvSpPr>
                <a:spLocks noChangeShapeType="1"/>
              </p:cNvSpPr>
              <p:nvPr/>
            </p:nvSpPr>
            <p:spPr bwMode="auto">
              <a:xfrm flipV="1">
                <a:off x="5191" y="2516"/>
                <a:ext cx="6"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222" name="Freeform 307">
              <a:extLst>
                <a:ext uri="{FF2B5EF4-FFF2-40B4-BE49-F238E27FC236}">
                  <a16:creationId xmlns:a16="http://schemas.microsoft.com/office/drawing/2014/main" id="{75B8D9F1-5D6A-496D-B83F-C13BFE7C3160}"/>
                </a:ext>
              </a:extLst>
            </p:cNvPr>
            <p:cNvSpPr>
              <a:spLocks/>
            </p:cNvSpPr>
            <p:nvPr>
              <p:custDataLst>
                <p:tags r:id="rId210"/>
              </p:custDataLst>
            </p:nvPr>
          </p:nvSpPr>
          <p:spPr bwMode="auto">
            <a:xfrm>
              <a:off x="7280275" y="4227513"/>
              <a:ext cx="14288" cy="55562"/>
            </a:xfrm>
            <a:custGeom>
              <a:avLst/>
              <a:gdLst>
                <a:gd name="T0" fmla="*/ 0 w 33"/>
                <a:gd name="T1" fmla="*/ 71796441 h 43"/>
                <a:gd name="T2" fmla="*/ 187476 w 33"/>
                <a:gd name="T3" fmla="*/ 56769880 h 43"/>
                <a:gd name="T4" fmla="*/ 374952 w 33"/>
                <a:gd name="T5" fmla="*/ 45080975 h 43"/>
                <a:gd name="T6" fmla="*/ 937379 w 33"/>
                <a:gd name="T7" fmla="*/ 35062837 h 43"/>
                <a:gd name="T8" fmla="*/ 1687283 w 33"/>
                <a:gd name="T9" fmla="*/ 25044699 h 43"/>
                <a:gd name="T10" fmla="*/ 2624662 w 33"/>
                <a:gd name="T11" fmla="*/ 15026561 h 43"/>
                <a:gd name="T12" fmla="*/ 3749085 w 33"/>
                <a:gd name="T13" fmla="*/ 8348664 h 43"/>
                <a:gd name="T14" fmla="*/ 4873940 w 33"/>
                <a:gd name="T15" fmla="*/ 3338949 h 43"/>
                <a:gd name="T16" fmla="*/ 6186271 w 33"/>
                <a:gd name="T17" fmla="*/ 0 h 43"/>
                <a:gd name="T18" fmla="*/ 6186271 w 33"/>
                <a:gd name="T19" fmla="*/ 41742027 h 43"/>
                <a:gd name="T20" fmla="*/ 4311512 w 33"/>
                <a:gd name="T21" fmla="*/ 45080975 h 43"/>
                <a:gd name="T22" fmla="*/ 3374133 w 33"/>
                <a:gd name="T23" fmla="*/ 48421216 h 43"/>
                <a:gd name="T24" fmla="*/ 2999614 w 33"/>
                <a:gd name="T25" fmla="*/ 53429639 h 43"/>
                <a:gd name="T26" fmla="*/ 2999614 w 33"/>
                <a:gd name="T27" fmla="*/ 56769880 h 43"/>
                <a:gd name="T28" fmla="*/ 2999614 w 33"/>
                <a:gd name="T29" fmla="*/ 60108829 h 43"/>
                <a:gd name="T30" fmla="*/ 2624662 w 33"/>
                <a:gd name="T31" fmla="*/ 63447777 h 43"/>
                <a:gd name="T32" fmla="*/ 1874759 w 33"/>
                <a:gd name="T33" fmla="*/ 68457492 h 43"/>
                <a:gd name="T34" fmla="*/ 0 w 33"/>
                <a:gd name="T35" fmla="*/ 71796441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3" name="Freeform 308">
              <a:extLst>
                <a:ext uri="{FF2B5EF4-FFF2-40B4-BE49-F238E27FC236}">
                  <a16:creationId xmlns:a16="http://schemas.microsoft.com/office/drawing/2014/main" id="{B2E7EEC3-4F51-4709-BEC4-82ACEF655A45}"/>
                </a:ext>
              </a:extLst>
            </p:cNvPr>
            <p:cNvSpPr>
              <a:spLocks/>
            </p:cNvSpPr>
            <p:nvPr>
              <p:custDataLst>
                <p:tags r:id="rId211"/>
              </p:custDataLst>
            </p:nvPr>
          </p:nvSpPr>
          <p:spPr bwMode="auto">
            <a:xfrm>
              <a:off x="7356475" y="4167188"/>
              <a:ext cx="22225" cy="58737"/>
            </a:xfrm>
            <a:custGeom>
              <a:avLst/>
              <a:gdLst>
                <a:gd name="T0" fmla="*/ 0 w 54"/>
                <a:gd name="T1" fmla="*/ 22419401 h 92"/>
                <a:gd name="T2" fmla="*/ 169569 w 54"/>
                <a:gd name="T3" fmla="*/ 20788783 h 92"/>
                <a:gd name="T4" fmla="*/ 338725 w 54"/>
                <a:gd name="T5" fmla="*/ 18750830 h 92"/>
                <a:gd name="T6" fmla="*/ 508294 w 54"/>
                <a:gd name="T7" fmla="*/ 17120212 h 92"/>
                <a:gd name="T8" fmla="*/ 1016176 w 54"/>
                <a:gd name="T9" fmla="*/ 15082258 h 92"/>
                <a:gd name="T10" fmla="*/ 1863196 w 54"/>
                <a:gd name="T11" fmla="*/ 11821022 h 92"/>
                <a:gd name="T12" fmla="*/ 3048941 w 54"/>
                <a:gd name="T13" fmla="*/ 8560425 h 92"/>
                <a:gd name="T14" fmla="*/ 5251274 w 54"/>
                <a:gd name="T15" fmla="*/ 2853262 h 92"/>
                <a:gd name="T16" fmla="*/ 6945313 w 54"/>
                <a:gd name="T17" fmla="*/ 0 h 92"/>
                <a:gd name="T18" fmla="*/ 9147234 w 54"/>
                <a:gd name="T19" fmla="*/ 4891215 h 92"/>
                <a:gd name="T20" fmla="*/ 8638940 w 54"/>
                <a:gd name="T21" fmla="*/ 8560425 h 92"/>
                <a:gd name="T22" fmla="*/ 7961489 w 54"/>
                <a:gd name="T23" fmla="*/ 11821022 h 92"/>
                <a:gd name="T24" fmla="*/ 7453195 w 54"/>
                <a:gd name="T25" fmla="*/ 14266949 h 92"/>
                <a:gd name="T26" fmla="*/ 6945313 w 54"/>
                <a:gd name="T27" fmla="*/ 16712876 h 92"/>
                <a:gd name="T28" fmla="*/ 5589999 w 54"/>
                <a:gd name="T29" fmla="*/ 19973474 h 92"/>
                <a:gd name="T30" fmla="*/ 4742980 w 54"/>
                <a:gd name="T31" fmla="*/ 22419401 h 92"/>
                <a:gd name="T32" fmla="*/ 4404254 w 54"/>
                <a:gd name="T33" fmla="*/ 26087972 h 92"/>
                <a:gd name="T34" fmla="*/ 4404254 w 54"/>
                <a:gd name="T35" fmla="*/ 30164517 h 92"/>
                <a:gd name="T36" fmla="*/ 4065529 w 54"/>
                <a:gd name="T37" fmla="*/ 33833088 h 92"/>
                <a:gd name="T38" fmla="*/ 3387666 w 54"/>
                <a:gd name="T39" fmla="*/ 37501659 h 92"/>
                <a:gd name="T40" fmla="*/ 2371490 w 54"/>
                <a:gd name="T41" fmla="*/ 33833088 h 92"/>
                <a:gd name="T42" fmla="*/ 1355313 w 54"/>
                <a:gd name="T43" fmla="*/ 30164517 h 92"/>
                <a:gd name="T44" fmla="*/ 847019 w 54"/>
                <a:gd name="T45" fmla="*/ 28533899 h 92"/>
                <a:gd name="T46" fmla="*/ 338725 w 54"/>
                <a:gd name="T47" fmla="*/ 26087972 h 92"/>
                <a:gd name="T48" fmla="*/ 169569 w 54"/>
                <a:gd name="T49" fmla="*/ 24457354 h 92"/>
                <a:gd name="T50" fmla="*/ 0 w 54"/>
                <a:gd name="T51" fmla="*/ 22419401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4" name="Freeform 309">
              <a:extLst>
                <a:ext uri="{FF2B5EF4-FFF2-40B4-BE49-F238E27FC236}">
                  <a16:creationId xmlns:a16="http://schemas.microsoft.com/office/drawing/2014/main" id="{7DF13396-DB46-44D9-B0AC-0156A0EAEDF6}"/>
                </a:ext>
              </a:extLst>
            </p:cNvPr>
            <p:cNvSpPr>
              <a:spLocks/>
            </p:cNvSpPr>
            <p:nvPr>
              <p:custDataLst>
                <p:tags r:id="rId212"/>
              </p:custDataLst>
            </p:nvPr>
          </p:nvSpPr>
          <p:spPr bwMode="auto">
            <a:xfrm>
              <a:off x="7404100" y="4046538"/>
              <a:ext cx="23813" cy="57150"/>
            </a:xfrm>
            <a:custGeom>
              <a:avLst/>
              <a:gdLst>
                <a:gd name="T0" fmla="*/ 0 w 60"/>
                <a:gd name="T1" fmla="*/ 0 h 18"/>
                <a:gd name="T2" fmla="*/ 2992897 w 60"/>
                <a:gd name="T3" fmla="*/ 40322500 h 18"/>
                <a:gd name="T4" fmla="*/ 5828232 w 60"/>
                <a:gd name="T5" fmla="*/ 90725625 h 18"/>
                <a:gd name="T6" fmla="*/ 7088336 w 60"/>
                <a:gd name="T7" fmla="*/ 110886875 h 18"/>
                <a:gd name="T8" fmla="*/ 8033316 w 60"/>
                <a:gd name="T9" fmla="*/ 131048125 h 18"/>
                <a:gd name="T10" fmla="*/ 8820732 w 60"/>
                <a:gd name="T11" fmla="*/ 161290000 h 18"/>
                <a:gd name="T12" fmla="*/ 9450983 w 60"/>
                <a:gd name="T13" fmla="*/ 181451250 h 18"/>
                <a:gd name="T14" fmla="*/ 5985794 w 60"/>
                <a:gd name="T15" fmla="*/ 181451250 h 18"/>
                <a:gd name="T16" fmla="*/ 3622751 w 60"/>
                <a:gd name="T17" fmla="*/ 181451250 h 18"/>
                <a:gd name="T18" fmla="*/ 1575230 w 60"/>
                <a:gd name="T19" fmla="*/ 181451250 h 18"/>
                <a:gd name="T20" fmla="*/ 0 w 60"/>
                <a:gd name="T21" fmla="*/ 1814512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5" name="Freeform 310">
              <a:extLst>
                <a:ext uri="{FF2B5EF4-FFF2-40B4-BE49-F238E27FC236}">
                  <a16:creationId xmlns:a16="http://schemas.microsoft.com/office/drawing/2014/main" id="{9A0C3A8D-9E35-4F5C-AA60-EA2B69790982}"/>
                </a:ext>
              </a:extLst>
            </p:cNvPr>
            <p:cNvSpPr>
              <a:spLocks/>
            </p:cNvSpPr>
            <p:nvPr>
              <p:custDataLst>
                <p:tags r:id="rId213"/>
              </p:custDataLst>
            </p:nvPr>
          </p:nvSpPr>
          <p:spPr bwMode="auto">
            <a:xfrm>
              <a:off x="7388225" y="4016375"/>
              <a:ext cx="25400" cy="57150"/>
            </a:xfrm>
            <a:custGeom>
              <a:avLst/>
              <a:gdLst>
                <a:gd name="T0" fmla="*/ 0 w 66"/>
                <a:gd name="T1" fmla="*/ 181451250 h 18"/>
                <a:gd name="T2" fmla="*/ 9775152 w 66"/>
                <a:gd name="T3" fmla="*/ 181451250 h 18"/>
                <a:gd name="T4" fmla="*/ 7701588 w 66"/>
                <a:gd name="T5" fmla="*/ 131048125 h 18"/>
                <a:gd name="T6" fmla="*/ 5924358 w 66"/>
                <a:gd name="T7" fmla="*/ 70564375 h 18"/>
                <a:gd name="T8" fmla="*/ 5183909 w 66"/>
                <a:gd name="T9" fmla="*/ 40322500 h 18"/>
                <a:gd name="T10" fmla="*/ 4295294 w 66"/>
                <a:gd name="T11" fmla="*/ 20161250 h 18"/>
                <a:gd name="T12" fmla="*/ 3702627 w 66"/>
                <a:gd name="T13" fmla="*/ 10080625 h 18"/>
                <a:gd name="T14" fmla="*/ 2814012 w 66"/>
                <a:gd name="T15" fmla="*/ 0 h 18"/>
                <a:gd name="T16" fmla="*/ 0 w 66"/>
                <a:gd name="T17" fmla="*/ 1814512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 name="Freeform 311">
              <a:extLst>
                <a:ext uri="{FF2B5EF4-FFF2-40B4-BE49-F238E27FC236}">
                  <a16:creationId xmlns:a16="http://schemas.microsoft.com/office/drawing/2014/main" id="{8FDEF61B-6191-46CE-84B2-E4FE76CB0222}"/>
                </a:ext>
              </a:extLst>
            </p:cNvPr>
            <p:cNvSpPr>
              <a:spLocks/>
            </p:cNvSpPr>
            <p:nvPr>
              <p:custDataLst>
                <p:tags r:id="rId214"/>
              </p:custDataLst>
            </p:nvPr>
          </p:nvSpPr>
          <p:spPr bwMode="auto">
            <a:xfrm>
              <a:off x="7213600" y="3913188"/>
              <a:ext cx="7938" cy="57150"/>
            </a:xfrm>
            <a:custGeom>
              <a:avLst/>
              <a:gdLst>
                <a:gd name="T0" fmla="*/ 0 w 17"/>
                <a:gd name="T1" fmla="*/ 66655950 h 42"/>
                <a:gd name="T2" fmla="*/ 2834333 w 17"/>
                <a:gd name="T3" fmla="*/ 77764821 h 42"/>
                <a:gd name="T4" fmla="*/ 3052394 w 17"/>
                <a:gd name="T5" fmla="*/ 61101514 h 42"/>
                <a:gd name="T6" fmla="*/ 3488518 w 17"/>
                <a:gd name="T7" fmla="*/ 42584914 h 42"/>
                <a:gd name="T8" fmla="*/ 3706579 w 17"/>
                <a:gd name="T9" fmla="*/ 33327975 h 42"/>
                <a:gd name="T10" fmla="*/ 3488518 w 17"/>
                <a:gd name="T11" fmla="*/ 22219104 h 42"/>
                <a:gd name="T12" fmla="*/ 3488518 w 17"/>
                <a:gd name="T13" fmla="*/ 11108871 h 42"/>
                <a:gd name="T14" fmla="*/ 2834333 w 17"/>
                <a:gd name="T15" fmla="*/ 0 h 42"/>
                <a:gd name="T16" fmla="*/ 0 w 17"/>
                <a:gd name="T17" fmla="*/ 6665595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 name="Freeform 312">
              <a:extLst>
                <a:ext uri="{FF2B5EF4-FFF2-40B4-BE49-F238E27FC236}">
                  <a16:creationId xmlns:a16="http://schemas.microsoft.com/office/drawing/2014/main" id="{AFB9E01F-309D-496A-812C-81C9A83699B0}"/>
                </a:ext>
              </a:extLst>
            </p:cNvPr>
            <p:cNvSpPr>
              <a:spLocks/>
            </p:cNvSpPr>
            <p:nvPr>
              <p:custDataLst>
                <p:tags r:id="rId215"/>
              </p:custDataLst>
            </p:nvPr>
          </p:nvSpPr>
          <p:spPr bwMode="auto">
            <a:xfrm>
              <a:off x="7140575" y="4048125"/>
              <a:ext cx="30163" cy="58738"/>
            </a:xfrm>
            <a:custGeom>
              <a:avLst/>
              <a:gdLst>
                <a:gd name="T0" fmla="*/ 1053191 w 72"/>
                <a:gd name="T1" fmla="*/ 118966730 h 29"/>
                <a:gd name="T2" fmla="*/ 2632560 w 72"/>
                <a:gd name="T3" fmla="*/ 106660316 h 29"/>
                <a:gd name="T4" fmla="*/ 4211928 w 72"/>
                <a:gd name="T5" fmla="*/ 98455364 h 29"/>
                <a:gd name="T6" fmla="*/ 5616183 w 72"/>
                <a:gd name="T7" fmla="*/ 98455364 h 29"/>
                <a:gd name="T8" fmla="*/ 6844487 w 72"/>
                <a:gd name="T9" fmla="*/ 98455364 h 29"/>
                <a:gd name="T10" fmla="*/ 9652579 w 72"/>
                <a:gd name="T11" fmla="*/ 110761779 h 29"/>
                <a:gd name="T12" fmla="*/ 12636202 w 72"/>
                <a:gd name="T13" fmla="*/ 118966730 h 29"/>
                <a:gd name="T14" fmla="*/ 12636202 w 72"/>
                <a:gd name="T15" fmla="*/ 16409903 h 29"/>
                <a:gd name="T16" fmla="*/ 10179175 w 72"/>
                <a:gd name="T17" fmla="*/ 4101463 h 29"/>
                <a:gd name="T18" fmla="*/ 8248743 w 72"/>
                <a:gd name="T19" fmla="*/ 0 h 29"/>
                <a:gd name="T20" fmla="*/ 6844487 w 72"/>
                <a:gd name="T21" fmla="*/ 0 h 29"/>
                <a:gd name="T22" fmla="*/ 5967247 w 72"/>
                <a:gd name="T23" fmla="*/ 8204951 h 29"/>
                <a:gd name="T24" fmla="*/ 4738524 w 72"/>
                <a:gd name="T25" fmla="*/ 12306414 h 29"/>
                <a:gd name="T26" fmla="*/ 3685751 w 72"/>
                <a:gd name="T27" fmla="*/ 20511365 h 29"/>
                <a:gd name="T28" fmla="*/ 2105964 w 72"/>
                <a:gd name="T29" fmla="*/ 20511365 h 29"/>
                <a:gd name="T30" fmla="*/ 0 w 72"/>
                <a:gd name="T31" fmla="*/ 16409903 h 29"/>
                <a:gd name="T32" fmla="*/ 526596 w 72"/>
                <a:gd name="T33" fmla="*/ 65637585 h 29"/>
                <a:gd name="T34" fmla="*/ 1053191 w 72"/>
                <a:gd name="T35" fmla="*/ 118966730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 name="Freeform 313">
              <a:extLst>
                <a:ext uri="{FF2B5EF4-FFF2-40B4-BE49-F238E27FC236}">
                  <a16:creationId xmlns:a16="http://schemas.microsoft.com/office/drawing/2014/main" id="{ED23B0B2-86BC-442B-BA16-B9CCF3B9E631}"/>
                </a:ext>
              </a:extLst>
            </p:cNvPr>
            <p:cNvSpPr>
              <a:spLocks/>
            </p:cNvSpPr>
            <p:nvPr>
              <p:custDataLst>
                <p:tags r:id="rId216"/>
              </p:custDataLst>
            </p:nvPr>
          </p:nvSpPr>
          <p:spPr bwMode="auto">
            <a:xfrm>
              <a:off x="7148513" y="4233863"/>
              <a:ext cx="19050" cy="55562"/>
            </a:xfrm>
            <a:custGeom>
              <a:avLst/>
              <a:gdLst>
                <a:gd name="T0" fmla="*/ 0 w 46"/>
                <a:gd name="T1" fmla="*/ 0 h 37"/>
                <a:gd name="T2" fmla="*/ 1543464 w 46"/>
                <a:gd name="T3" fmla="*/ 20295512 h 37"/>
                <a:gd name="T4" fmla="*/ 3430242 w 46"/>
                <a:gd name="T5" fmla="*/ 33827355 h 37"/>
                <a:gd name="T6" fmla="*/ 5316607 w 46"/>
                <a:gd name="T7" fmla="*/ 45102139 h 37"/>
                <a:gd name="T8" fmla="*/ 7889185 w 46"/>
                <a:gd name="T9" fmla="*/ 56378425 h 37"/>
                <a:gd name="T10" fmla="*/ 6345721 w 46"/>
                <a:gd name="T11" fmla="*/ 65397651 h 37"/>
                <a:gd name="T12" fmla="*/ 4973707 w 46"/>
                <a:gd name="T13" fmla="*/ 74418379 h 37"/>
                <a:gd name="T14" fmla="*/ 3601692 w 46"/>
                <a:gd name="T15" fmla="*/ 81183550 h 37"/>
                <a:gd name="T16" fmla="*/ 2229678 w 46"/>
                <a:gd name="T17" fmla="*/ 83439107 h 37"/>
                <a:gd name="T18" fmla="*/ 1543464 w 46"/>
                <a:gd name="T19" fmla="*/ 81183550 h 37"/>
                <a:gd name="T20" fmla="*/ 1200564 w 46"/>
                <a:gd name="T21" fmla="*/ 74418379 h 37"/>
                <a:gd name="T22" fmla="*/ 857664 w 46"/>
                <a:gd name="T23" fmla="*/ 65397651 h 37"/>
                <a:gd name="T24" fmla="*/ 514350 w 46"/>
                <a:gd name="T25" fmla="*/ 51867310 h 37"/>
                <a:gd name="T26" fmla="*/ 171450 w 46"/>
                <a:gd name="T27" fmla="*/ 27060683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9" name="Freeform 314">
              <a:extLst>
                <a:ext uri="{FF2B5EF4-FFF2-40B4-BE49-F238E27FC236}">
                  <a16:creationId xmlns:a16="http://schemas.microsoft.com/office/drawing/2014/main" id="{7BFB2584-FF0C-4808-A52D-C0E9E4B211D3}"/>
                </a:ext>
              </a:extLst>
            </p:cNvPr>
            <p:cNvSpPr>
              <a:spLocks/>
            </p:cNvSpPr>
            <p:nvPr>
              <p:custDataLst>
                <p:tags r:id="rId217"/>
              </p:custDataLst>
            </p:nvPr>
          </p:nvSpPr>
          <p:spPr bwMode="auto">
            <a:xfrm>
              <a:off x="7261225" y="4052888"/>
              <a:ext cx="11113" cy="57150"/>
            </a:xfrm>
            <a:custGeom>
              <a:avLst/>
              <a:gdLst>
                <a:gd name="T0" fmla="*/ 0 w 26"/>
                <a:gd name="T1" fmla="*/ 0 h 19"/>
                <a:gd name="T2" fmla="*/ 4749953 w 26"/>
                <a:gd name="T3" fmla="*/ 171901184 h 19"/>
                <a:gd name="T4" fmla="*/ 4749953 w 26"/>
                <a:gd name="T5" fmla="*/ 81426718 h 19"/>
                <a:gd name="T6" fmla="*/ 4749953 w 26"/>
                <a:gd name="T7" fmla="*/ 0 h 19"/>
                <a:gd name="T8" fmla="*/ 2740209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0" name="Freeform 315">
              <a:extLst>
                <a:ext uri="{FF2B5EF4-FFF2-40B4-BE49-F238E27FC236}">
                  <a16:creationId xmlns:a16="http://schemas.microsoft.com/office/drawing/2014/main" id="{F37E6501-D46C-49D0-8305-F600E1EF07E7}"/>
                </a:ext>
              </a:extLst>
            </p:cNvPr>
            <p:cNvSpPr>
              <a:spLocks/>
            </p:cNvSpPr>
            <p:nvPr>
              <p:custDataLst>
                <p:tags r:id="rId218"/>
              </p:custDataLst>
            </p:nvPr>
          </p:nvSpPr>
          <p:spPr bwMode="auto">
            <a:xfrm>
              <a:off x="7121525" y="4048125"/>
              <a:ext cx="19050" cy="58738"/>
            </a:xfrm>
            <a:custGeom>
              <a:avLst/>
              <a:gdLst>
                <a:gd name="T0" fmla="*/ 392519 w 43"/>
                <a:gd name="T1" fmla="*/ 0 h 31"/>
                <a:gd name="T2" fmla="*/ 196259 w 43"/>
                <a:gd name="T3" fmla="*/ 43080747 h 31"/>
                <a:gd name="T4" fmla="*/ 0 w 43"/>
                <a:gd name="T5" fmla="*/ 82570959 h 31"/>
                <a:gd name="T6" fmla="*/ 0 w 43"/>
                <a:gd name="T7" fmla="*/ 93340672 h 31"/>
                <a:gd name="T8" fmla="*/ 0 w 43"/>
                <a:gd name="T9" fmla="*/ 104112280 h 31"/>
                <a:gd name="T10" fmla="*/ 0 w 43"/>
                <a:gd name="T11" fmla="*/ 111291457 h 31"/>
                <a:gd name="T12" fmla="*/ 392519 w 43"/>
                <a:gd name="T13" fmla="*/ 111291457 h 31"/>
                <a:gd name="T14" fmla="*/ 2551371 w 43"/>
                <a:gd name="T15" fmla="*/ 78980423 h 31"/>
                <a:gd name="T16" fmla="*/ 4906926 w 43"/>
                <a:gd name="T17" fmla="*/ 46671283 h 31"/>
                <a:gd name="T18" fmla="*/ 6869519 w 43"/>
                <a:gd name="T19" fmla="*/ 17950785 h 31"/>
                <a:gd name="T20" fmla="*/ 8439593 w 43"/>
                <a:gd name="T21" fmla="*/ 0 h 31"/>
                <a:gd name="T22" fmla="*/ 392519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1" name="Freeform 316">
              <a:extLst>
                <a:ext uri="{FF2B5EF4-FFF2-40B4-BE49-F238E27FC236}">
                  <a16:creationId xmlns:a16="http://schemas.microsoft.com/office/drawing/2014/main" id="{1EDC213E-98ED-4685-BFE9-B8F5A7F0CCC8}"/>
                </a:ext>
              </a:extLst>
            </p:cNvPr>
            <p:cNvSpPr>
              <a:spLocks/>
            </p:cNvSpPr>
            <p:nvPr>
              <p:custDataLst>
                <p:tags r:id="rId219"/>
              </p:custDataLst>
            </p:nvPr>
          </p:nvSpPr>
          <p:spPr bwMode="auto">
            <a:xfrm>
              <a:off x="7165975" y="4095750"/>
              <a:ext cx="30163" cy="57150"/>
            </a:xfrm>
            <a:custGeom>
              <a:avLst/>
              <a:gdLst>
                <a:gd name="T0" fmla="*/ 721788 w 71"/>
                <a:gd name="T1" fmla="*/ 16323906 h 49"/>
                <a:gd name="T2" fmla="*/ 721788 w 71"/>
                <a:gd name="T3" fmla="*/ 24485859 h 49"/>
                <a:gd name="T4" fmla="*/ 902341 w 71"/>
                <a:gd name="T5" fmla="*/ 34007749 h 49"/>
                <a:gd name="T6" fmla="*/ 1263447 w 71"/>
                <a:gd name="T7" fmla="*/ 42169702 h 49"/>
                <a:gd name="T8" fmla="*/ 1624129 w 71"/>
                <a:gd name="T9" fmla="*/ 50331655 h 49"/>
                <a:gd name="T10" fmla="*/ 2526895 w 71"/>
                <a:gd name="T11" fmla="*/ 55772568 h 49"/>
                <a:gd name="T12" fmla="*/ 3248683 w 71"/>
                <a:gd name="T13" fmla="*/ 62574585 h 49"/>
                <a:gd name="T14" fmla="*/ 4151024 w 71"/>
                <a:gd name="T15" fmla="*/ 65295624 h 49"/>
                <a:gd name="T16" fmla="*/ 5414471 w 71"/>
                <a:gd name="T17" fmla="*/ 66655561 h 49"/>
                <a:gd name="T18" fmla="*/ 6316812 w 71"/>
                <a:gd name="T19" fmla="*/ 65295624 h 49"/>
                <a:gd name="T20" fmla="*/ 7219153 w 71"/>
                <a:gd name="T21" fmla="*/ 62574585 h 49"/>
                <a:gd name="T22" fmla="*/ 8121494 w 71"/>
                <a:gd name="T23" fmla="*/ 57133671 h 49"/>
                <a:gd name="T24" fmla="*/ 9024260 w 71"/>
                <a:gd name="T25" fmla="*/ 50331655 h 49"/>
                <a:gd name="T26" fmla="*/ 10828942 w 71"/>
                <a:gd name="T27" fmla="*/ 38088726 h 49"/>
                <a:gd name="T28" fmla="*/ 12814177 w 71"/>
                <a:gd name="T29" fmla="*/ 24485859 h 49"/>
                <a:gd name="T30" fmla="*/ 11009495 w 71"/>
                <a:gd name="T31" fmla="*/ 16323906 h 49"/>
                <a:gd name="T32" fmla="*/ 9384941 w 71"/>
                <a:gd name="T33" fmla="*/ 12242930 h 49"/>
                <a:gd name="T34" fmla="*/ 7941366 w 71"/>
                <a:gd name="T35" fmla="*/ 9521890 h 49"/>
                <a:gd name="T36" fmla="*/ 6677918 w 71"/>
                <a:gd name="T37" fmla="*/ 8161953 h 49"/>
                <a:gd name="T38" fmla="*/ 5233918 w 71"/>
                <a:gd name="T39" fmla="*/ 8161953 h 49"/>
                <a:gd name="T40" fmla="*/ 3789917 w 71"/>
                <a:gd name="T41" fmla="*/ 6802016 h 49"/>
                <a:gd name="T42" fmla="*/ 2526895 w 71"/>
                <a:gd name="T43" fmla="*/ 4080977 h 49"/>
                <a:gd name="T44" fmla="*/ 721788 w 71"/>
                <a:gd name="T45" fmla="*/ 0 h 49"/>
                <a:gd name="T46" fmla="*/ 541235 w 71"/>
                <a:gd name="T47" fmla="*/ 1359937 h 49"/>
                <a:gd name="T48" fmla="*/ 180553 w 71"/>
                <a:gd name="T49" fmla="*/ 8161953 h 49"/>
                <a:gd name="T50" fmla="*/ 0 w 71"/>
                <a:gd name="T51" fmla="*/ 10882993 h 49"/>
                <a:gd name="T52" fmla="*/ 0 w 71"/>
                <a:gd name="T53" fmla="*/ 13602866 h 49"/>
                <a:gd name="T54" fmla="*/ 180553 w 71"/>
                <a:gd name="T55" fmla="*/ 14963969 h 49"/>
                <a:gd name="T56" fmla="*/ 721788 w 71"/>
                <a:gd name="T57" fmla="*/ 1632390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2" name="Freeform 317">
              <a:extLst>
                <a:ext uri="{FF2B5EF4-FFF2-40B4-BE49-F238E27FC236}">
                  <a16:creationId xmlns:a16="http://schemas.microsoft.com/office/drawing/2014/main" id="{E2F1B506-8D4C-4510-B0EC-8F86530EE444}"/>
                </a:ext>
              </a:extLst>
            </p:cNvPr>
            <p:cNvSpPr>
              <a:spLocks/>
            </p:cNvSpPr>
            <p:nvPr>
              <p:custDataLst>
                <p:tags r:id="rId220"/>
              </p:custDataLst>
            </p:nvPr>
          </p:nvSpPr>
          <p:spPr bwMode="auto">
            <a:xfrm>
              <a:off x="6967538" y="4298950"/>
              <a:ext cx="46037" cy="58738"/>
            </a:xfrm>
            <a:custGeom>
              <a:avLst/>
              <a:gdLst>
                <a:gd name="T0" fmla="*/ 7772032 w 112"/>
                <a:gd name="T1" fmla="*/ 10206683 h 26"/>
                <a:gd name="T2" fmla="*/ 9461837 w 112"/>
                <a:gd name="T3" fmla="*/ 10206683 h 26"/>
                <a:gd name="T4" fmla="*/ 11151230 w 112"/>
                <a:gd name="T5" fmla="*/ 15310025 h 26"/>
                <a:gd name="T6" fmla="*/ 12502745 w 112"/>
                <a:gd name="T7" fmla="*/ 20413367 h 26"/>
                <a:gd name="T8" fmla="*/ 14192549 w 112"/>
                <a:gd name="T9" fmla="*/ 30622309 h 26"/>
                <a:gd name="T10" fmla="*/ 15544064 w 112"/>
                <a:gd name="T11" fmla="*/ 45932334 h 26"/>
                <a:gd name="T12" fmla="*/ 16895579 w 112"/>
                <a:gd name="T13" fmla="*/ 61242359 h 26"/>
                <a:gd name="T14" fmla="*/ 17909626 w 112"/>
                <a:gd name="T15" fmla="*/ 81657985 h 26"/>
                <a:gd name="T16" fmla="*/ 18923262 w 112"/>
                <a:gd name="T17" fmla="*/ 102071351 h 26"/>
                <a:gd name="T18" fmla="*/ 18585384 w 112"/>
                <a:gd name="T19" fmla="*/ 112280294 h 26"/>
                <a:gd name="T20" fmla="*/ 17740687 w 112"/>
                <a:gd name="T21" fmla="*/ 117383635 h 26"/>
                <a:gd name="T22" fmla="*/ 17064929 w 112"/>
                <a:gd name="T23" fmla="*/ 127590319 h 26"/>
                <a:gd name="T24" fmla="*/ 16050882 w 112"/>
                <a:gd name="T25" fmla="*/ 127590319 h 26"/>
                <a:gd name="T26" fmla="*/ 14699367 w 112"/>
                <a:gd name="T27" fmla="*/ 132693660 h 26"/>
                <a:gd name="T28" fmla="*/ 13347853 w 112"/>
                <a:gd name="T29" fmla="*/ 132693660 h 26"/>
                <a:gd name="T30" fmla="*/ 11151230 w 112"/>
                <a:gd name="T31" fmla="*/ 122486977 h 26"/>
                <a:gd name="T32" fmla="*/ 6927335 w 112"/>
                <a:gd name="T33" fmla="*/ 96968010 h 26"/>
                <a:gd name="T34" fmla="*/ 2703441 w 112"/>
                <a:gd name="T35" fmla="*/ 66347960 h 26"/>
                <a:gd name="T36" fmla="*/ 0 w 112"/>
                <a:gd name="T37" fmla="*/ 40828992 h 26"/>
                <a:gd name="T38" fmla="*/ 844697 w 112"/>
                <a:gd name="T39" fmla="*/ 20413367 h 26"/>
                <a:gd name="T40" fmla="*/ 1858333 w 112"/>
                <a:gd name="T41" fmla="*/ 10206683 h 26"/>
                <a:gd name="T42" fmla="*/ 3041319 w 112"/>
                <a:gd name="T43" fmla="*/ 5103342 h 26"/>
                <a:gd name="T44" fmla="*/ 4223895 w 112"/>
                <a:gd name="T45" fmla="*/ 0 h 26"/>
                <a:gd name="T46" fmla="*/ 6251578 w 112"/>
                <a:gd name="T47" fmla="*/ 5103342 h 26"/>
                <a:gd name="T48" fmla="*/ 7772032 w 112"/>
                <a:gd name="T49" fmla="*/ 10206683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3" name="Freeform 318">
              <a:extLst>
                <a:ext uri="{FF2B5EF4-FFF2-40B4-BE49-F238E27FC236}">
                  <a16:creationId xmlns:a16="http://schemas.microsoft.com/office/drawing/2014/main" id="{E4B13B1E-4662-462E-AFB8-87F80AB9320A}"/>
                </a:ext>
              </a:extLst>
            </p:cNvPr>
            <p:cNvSpPr>
              <a:spLocks/>
            </p:cNvSpPr>
            <p:nvPr>
              <p:custDataLst>
                <p:tags r:id="rId221"/>
              </p:custDataLst>
            </p:nvPr>
          </p:nvSpPr>
          <p:spPr bwMode="auto">
            <a:xfrm>
              <a:off x="7065963" y="4337050"/>
              <a:ext cx="14287" cy="58738"/>
            </a:xfrm>
            <a:custGeom>
              <a:avLst/>
              <a:gdLst>
                <a:gd name="T0" fmla="*/ 0 w 41"/>
                <a:gd name="T1" fmla="*/ 0 h 25"/>
                <a:gd name="T2" fmla="*/ 4978497 w 41"/>
                <a:gd name="T3" fmla="*/ 0 h 25"/>
                <a:gd name="T4" fmla="*/ 3399958 w 41"/>
                <a:gd name="T5" fmla="*/ 44160826 h 25"/>
                <a:gd name="T6" fmla="*/ 2185563 w 41"/>
                <a:gd name="T7" fmla="*/ 82800374 h 25"/>
                <a:gd name="T8" fmla="*/ 1092781 w 41"/>
                <a:gd name="T9" fmla="*/ 110402065 h 25"/>
                <a:gd name="T10" fmla="*/ 0 w 41"/>
                <a:gd name="T11" fmla="*/ 13800140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4" name="Freeform 319">
              <a:extLst>
                <a:ext uri="{FF2B5EF4-FFF2-40B4-BE49-F238E27FC236}">
                  <a16:creationId xmlns:a16="http://schemas.microsoft.com/office/drawing/2014/main" id="{FDDC817F-58F0-4BF9-82C9-E29B094B1803}"/>
                </a:ext>
              </a:extLst>
            </p:cNvPr>
            <p:cNvSpPr>
              <a:spLocks/>
            </p:cNvSpPr>
            <p:nvPr>
              <p:custDataLst>
                <p:tags r:id="rId222"/>
              </p:custDataLst>
            </p:nvPr>
          </p:nvSpPr>
          <p:spPr bwMode="auto">
            <a:xfrm>
              <a:off x="6899275" y="4268788"/>
              <a:ext cx="36513" cy="55562"/>
            </a:xfrm>
            <a:custGeom>
              <a:avLst/>
              <a:gdLst>
                <a:gd name="T0" fmla="*/ 0 w 81"/>
                <a:gd name="T1" fmla="*/ 99588612 h 31"/>
                <a:gd name="T2" fmla="*/ 0 w 81"/>
                <a:gd name="T3" fmla="*/ 70676136 h 31"/>
                <a:gd name="T4" fmla="*/ 0 w 81"/>
                <a:gd name="T5" fmla="*/ 41763660 h 31"/>
                <a:gd name="T6" fmla="*/ 0 w 81"/>
                <a:gd name="T7" fmla="*/ 32126168 h 31"/>
                <a:gd name="T8" fmla="*/ 406602 w 81"/>
                <a:gd name="T9" fmla="*/ 25700576 h 31"/>
                <a:gd name="T10" fmla="*/ 609452 w 81"/>
                <a:gd name="T11" fmla="*/ 19274984 h 31"/>
                <a:gd name="T12" fmla="*/ 812752 w 81"/>
                <a:gd name="T13" fmla="*/ 12849392 h 31"/>
                <a:gd name="T14" fmla="*/ 1625505 w 81"/>
                <a:gd name="T15" fmla="*/ 6425592 h 31"/>
                <a:gd name="T16" fmla="*/ 2844859 w 81"/>
                <a:gd name="T17" fmla="*/ 0 h 31"/>
                <a:gd name="T18" fmla="*/ 5283116 w 81"/>
                <a:gd name="T19" fmla="*/ 3211900 h 31"/>
                <a:gd name="T20" fmla="*/ 8331275 w 81"/>
                <a:gd name="T21" fmla="*/ 3211900 h 31"/>
                <a:gd name="T22" fmla="*/ 11379434 w 81"/>
                <a:gd name="T23" fmla="*/ 3211900 h 31"/>
                <a:gd name="T24" fmla="*/ 13208240 w 81"/>
                <a:gd name="T25" fmla="*/ 3211900 h 31"/>
                <a:gd name="T26" fmla="*/ 14833744 w 81"/>
                <a:gd name="T27" fmla="*/ 3211900 h 31"/>
                <a:gd name="T28" fmla="*/ 16459249 w 81"/>
                <a:gd name="T29" fmla="*/ 3211900 h 31"/>
                <a:gd name="T30" fmla="*/ 14833744 w 81"/>
                <a:gd name="T31" fmla="*/ 19274984 h 31"/>
                <a:gd name="T32" fmla="*/ 13614390 w 81"/>
                <a:gd name="T33" fmla="*/ 32126168 h 31"/>
                <a:gd name="T34" fmla="*/ 13004939 w 81"/>
                <a:gd name="T35" fmla="*/ 44975560 h 31"/>
                <a:gd name="T36" fmla="*/ 12598337 w 81"/>
                <a:gd name="T37" fmla="*/ 57824952 h 31"/>
                <a:gd name="T38" fmla="*/ 11988886 w 81"/>
                <a:gd name="T39" fmla="*/ 67462444 h 31"/>
                <a:gd name="T40" fmla="*/ 10972833 w 81"/>
                <a:gd name="T41" fmla="*/ 73888036 h 31"/>
                <a:gd name="T42" fmla="*/ 9550629 w 81"/>
                <a:gd name="T43" fmla="*/ 80313628 h 31"/>
                <a:gd name="T44" fmla="*/ 6908620 w 81"/>
                <a:gd name="T45" fmla="*/ 80313628 h 31"/>
                <a:gd name="T46" fmla="*/ 0 w 81"/>
                <a:gd name="T47" fmla="*/ 99588612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5" name="Freeform 320">
              <a:extLst>
                <a:ext uri="{FF2B5EF4-FFF2-40B4-BE49-F238E27FC236}">
                  <a16:creationId xmlns:a16="http://schemas.microsoft.com/office/drawing/2014/main" id="{63080392-D9CD-4B6D-B5B7-2F1273BE2525}"/>
                </a:ext>
              </a:extLst>
            </p:cNvPr>
            <p:cNvSpPr>
              <a:spLocks/>
            </p:cNvSpPr>
            <p:nvPr>
              <p:custDataLst>
                <p:tags r:id="rId223"/>
              </p:custDataLst>
            </p:nvPr>
          </p:nvSpPr>
          <p:spPr bwMode="auto">
            <a:xfrm>
              <a:off x="6943725" y="4254500"/>
              <a:ext cx="39688" cy="55563"/>
            </a:xfrm>
            <a:custGeom>
              <a:avLst/>
              <a:gdLst>
                <a:gd name="T0" fmla="*/ 397772 w 89"/>
                <a:gd name="T1" fmla="*/ 63002772 h 49"/>
                <a:gd name="T2" fmla="*/ 17698172 w 89"/>
                <a:gd name="T3" fmla="*/ 63002772 h 49"/>
                <a:gd name="T4" fmla="*/ 15510873 w 89"/>
                <a:gd name="T5" fmla="*/ 52716999 h 49"/>
                <a:gd name="T6" fmla="*/ 13522014 w 89"/>
                <a:gd name="T7" fmla="*/ 45001818 h 49"/>
                <a:gd name="T8" fmla="*/ 11334714 w 89"/>
                <a:gd name="T9" fmla="*/ 38573635 h 49"/>
                <a:gd name="T10" fmla="*/ 9147415 w 89"/>
                <a:gd name="T11" fmla="*/ 32144318 h 49"/>
                <a:gd name="T12" fmla="*/ 7159002 w 89"/>
                <a:gd name="T13" fmla="*/ 27000864 h 49"/>
                <a:gd name="T14" fmla="*/ 5170142 w 89"/>
                <a:gd name="T15" fmla="*/ 18000954 h 49"/>
                <a:gd name="T16" fmla="*/ 3181729 w 89"/>
                <a:gd name="T17" fmla="*/ 10285774 h 49"/>
                <a:gd name="T18" fmla="*/ 1789527 w 89"/>
                <a:gd name="T19" fmla="*/ 0 h 49"/>
                <a:gd name="T20" fmla="*/ 795544 w 89"/>
                <a:gd name="T21" fmla="*/ 12857500 h 49"/>
                <a:gd name="T22" fmla="*/ 198886 w 89"/>
                <a:gd name="T23" fmla="*/ 29572591 h 49"/>
                <a:gd name="T24" fmla="*/ 0 w 89"/>
                <a:gd name="T25" fmla="*/ 37287772 h 49"/>
                <a:gd name="T26" fmla="*/ 0 w 89"/>
                <a:gd name="T27" fmla="*/ 46287682 h 49"/>
                <a:gd name="T28" fmla="*/ 0 w 89"/>
                <a:gd name="T29" fmla="*/ 55287592 h 49"/>
                <a:gd name="T30" fmla="*/ 397772 w 89"/>
                <a:gd name="T31" fmla="*/ 6300277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6" name="Freeform 321">
              <a:extLst>
                <a:ext uri="{FF2B5EF4-FFF2-40B4-BE49-F238E27FC236}">
                  <a16:creationId xmlns:a16="http://schemas.microsoft.com/office/drawing/2014/main" id="{02FDEA4F-2F47-4BC9-BD53-502488A53A48}"/>
                </a:ext>
              </a:extLst>
            </p:cNvPr>
            <p:cNvSpPr>
              <a:spLocks/>
            </p:cNvSpPr>
            <p:nvPr>
              <p:custDataLst>
                <p:tags r:id="rId224"/>
              </p:custDataLst>
            </p:nvPr>
          </p:nvSpPr>
          <p:spPr bwMode="auto">
            <a:xfrm>
              <a:off x="6996113" y="4264025"/>
              <a:ext cx="36512" cy="58738"/>
            </a:xfrm>
            <a:custGeom>
              <a:avLst/>
              <a:gdLst>
                <a:gd name="T0" fmla="*/ 0 w 86"/>
                <a:gd name="T1" fmla="*/ 34239840 h 46"/>
                <a:gd name="T2" fmla="*/ 2523574 w 86"/>
                <a:gd name="T3" fmla="*/ 42391514 h 46"/>
                <a:gd name="T4" fmla="*/ 4506260 w 86"/>
                <a:gd name="T5" fmla="*/ 47283285 h 46"/>
                <a:gd name="T6" fmla="*/ 5407597 w 86"/>
                <a:gd name="T7" fmla="*/ 48913875 h 46"/>
                <a:gd name="T8" fmla="*/ 6488947 w 86"/>
                <a:gd name="T9" fmla="*/ 48913875 h 46"/>
                <a:gd name="T10" fmla="*/ 7390284 w 86"/>
                <a:gd name="T11" fmla="*/ 47283285 h 46"/>
                <a:gd name="T12" fmla="*/ 8291620 w 86"/>
                <a:gd name="T13" fmla="*/ 44022105 h 46"/>
                <a:gd name="T14" fmla="*/ 8291620 w 86"/>
                <a:gd name="T15" fmla="*/ 58696139 h 46"/>
                <a:gd name="T16" fmla="*/ 8291620 w 86"/>
                <a:gd name="T17" fmla="*/ 75000765 h 46"/>
                <a:gd name="T18" fmla="*/ 10093870 w 86"/>
                <a:gd name="T19" fmla="*/ 73370174 h 46"/>
                <a:gd name="T20" fmla="*/ 12076556 w 86"/>
                <a:gd name="T21" fmla="*/ 70108994 h 46"/>
                <a:gd name="T22" fmla="*/ 13879230 w 86"/>
                <a:gd name="T23" fmla="*/ 65218500 h 46"/>
                <a:gd name="T24" fmla="*/ 15501467 w 86"/>
                <a:gd name="T25" fmla="*/ 65218500 h 46"/>
                <a:gd name="T26" fmla="*/ 14960580 w 86"/>
                <a:gd name="T27" fmla="*/ 52175056 h 46"/>
                <a:gd name="T28" fmla="*/ 14420117 w 86"/>
                <a:gd name="T29" fmla="*/ 40760924 h 46"/>
                <a:gd name="T30" fmla="*/ 13338343 w 86"/>
                <a:gd name="T31" fmla="*/ 30978660 h 46"/>
                <a:gd name="T32" fmla="*/ 12617443 w 86"/>
                <a:gd name="T33" fmla="*/ 22825709 h 46"/>
                <a:gd name="T34" fmla="*/ 11536094 w 86"/>
                <a:gd name="T35" fmla="*/ 14674035 h 46"/>
                <a:gd name="T36" fmla="*/ 10454320 w 86"/>
                <a:gd name="T37" fmla="*/ 9782264 h 46"/>
                <a:gd name="T38" fmla="*/ 9192533 w 86"/>
                <a:gd name="T39" fmla="*/ 4891771 h 46"/>
                <a:gd name="T40" fmla="*/ 8291620 w 86"/>
                <a:gd name="T41" fmla="*/ 1630590 h 46"/>
                <a:gd name="T42" fmla="*/ 7029834 w 86"/>
                <a:gd name="T43" fmla="*/ 0 h 46"/>
                <a:gd name="T44" fmla="*/ 5948060 w 86"/>
                <a:gd name="T45" fmla="*/ 0 h 46"/>
                <a:gd name="T46" fmla="*/ 4686697 w 86"/>
                <a:gd name="T47" fmla="*/ 1630590 h 46"/>
                <a:gd name="T48" fmla="*/ 3424911 w 86"/>
                <a:gd name="T49" fmla="*/ 4891771 h 46"/>
                <a:gd name="T50" fmla="*/ 2523574 w 86"/>
                <a:gd name="T51" fmla="*/ 9782264 h 46"/>
                <a:gd name="T52" fmla="*/ 1441799 w 86"/>
                <a:gd name="T53" fmla="*/ 16304625 h 46"/>
                <a:gd name="T54" fmla="*/ 720900 w 86"/>
                <a:gd name="T55" fmla="*/ 24456299 h 46"/>
                <a:gd name="T56" fmla="*/ 0 w 86"/>
                <a:gd name="T57" fmla="*/ 34239840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 name="Freeform 322">
              <a:extLst>
                <a:ext uri="{FF2B5EF4-FFF2-40B4-BE49-F238E27FC236}">
                  <a16:creationId xmlns:a16="http://schemas.microsoft.com/office/drawing/2014/main" id="{58A8F2A1-7F68-4549-80A2-B039E198C69E}"/>
                </a:ext>
              </a:extLst>
            </p:cNvPr>
            <p:cNvSpPr>
              <a:spLocks/>
            </p:cNvSpPr>
            <p:nvPr>
              <p:custDataLst>
                <p:tags r:id="rId225"/>
              </p:custDataLst>
            </p:nvPr>
          </p:nvSpPr>
          <p:spPr bwMode="auto">
            <a:xfrm>
              <a:off x="7048500" y="4268788"/>
              <a:ext cx="25400" cy="55562"/>
            </a:xfrm>
            <a:custGeom>
              <a:avLst/>
              <a:gdLst>
                <a:gd name="T0" fmla="*/ 0 w 59"/>
                <a:gd name="T1" fmla="*/ 0 h 18"/>
                <a:gd name="T2" fmla="*/ 0 w 59"/>
                <a:gd name="T3" fmla="*/ 171513721 h 18"/>
                <a:gd name="T4" fmla="*/ 7228237 w 59"/>
                <a:gd name="T5" fmla="*/ 171513721 h 18"/>
                <a:gd name="T6" fmla="*/ 10934915 w 59"/>
                <a:gd name="T7" fmla="*/ 57171240 h 18"/>
                <a:gd name="T8" fmla="*/ 9452244 w 59"/>
                <a:gd name="T9" fmla="*/ 47642186 h 18"/>
                <a:gd name="T10" fmla="*/ 8340241 w 59"/>
                <a:gd name="T11" fmla="*/ 38113131 h 18"/>
                <a:gd name="T12" fmla="*/ 6857569 w 59"/>
                <a:gd name="T13" fmla="*/ 47642186 h 18"/>
                <a:gd name="T14" fmla="*/ 5374898 w 59"/>
                <a:gd name="T15" fmla="*/ 57171240 h 18"/>
                <a:gd name="T16" fmla="*/ 4077346 w 59"/>
                <a:gd name="T17" fmla="*/ 57171240 h 18"/>
                <a:gd name="T18" fmla="*/ 2594675 w 59"/>
                <a:gd name="T19" fmla="*/ 47642186 h 18"/>
                <a:gd name="T20" fmla="*/ 1297553 w 59"/>
                <a:gd name="T21" fmla="*/ 38113131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 name="Freeform 323">
              <a:extLst>
                <a:ext uri="{FF2B5EF4-FFF2-40B4-BE49-F238E27FC236}">
                  <a16:creationId xmlns:a16="http://schemas.microsoft.com/office/drawing/2014/main" id="{5D0D18BB-2F9D-485C-B907-0D307D644955}"/>
                </a:ext>
              </a:extLst>
            </p:cNvPr>
            <p:cNvSpPr>
              <a:spLocks/>
            </p:cNvSpPr>
            <p:nvPr>
              <p:custDataLst>
                <p:tags r:id="rId226"/>
              </p:custDataLst>
            </p:nvPr>
          </p:nvSpPr>
          <p:spPr bwMode="auto">
            <a:xfrm>
              <a:off x="7121525" y="4260850"/>
              <a:ext cx="1588" cy="55563"/>
            </a:xfrm>
            <a:custGeom>
              <a:avLst/>
              <a:gdLst>
                <a:gd name="T0" fmla="*/ 630436 w 4"/>
                <a:gd name="T1" fmla="*/ 162480834 h 19"/>
                <a:gd name="T2" fmla="*/ 630436 w 4"/>
                <a:gd name="T3" fmla="*/ 0 h 19"/>
                <a:gd name="T4" fmla="*/ 315218 w 4"/>
                <a:gd name="T5" fmla="*/ 8550699 h 19"/>
                <a:gd name="T6" fmla="*/ 157609 w 4"/>
                <a:gd name="T7" fmla="*/ 25655022 h 19"/>
                <a:gd name="T8" fmla="*/ 0 w 4"/>
                <a:gd name="T9" fmla="*/ 51310045 h 19"/>
                <a:gd name="T10" fmla="*/ 0 w 4"/>
                <a:gd name="T11" fmla="*/ 85515767 h 19"/>
                <a:gd name="T12" fmla="*/ 0 w 4"/>
                <a:gd name="T13" fmla="*/ 119721488 h 19"/>
                <a:gd name="T14" fmla="*/ 157609 w 4"/>
                <a:gd name="T15" fmla="*/ 136825811 h 19"/>
                <a:gd name="T16" fmla="*/ 315218 w 4"/>
                <a:gd name="T17" fmla="*/ 162480834 h 19"/>
                <a:gd name="T18" fmla="*/ 630436 w 4"/>
                <a:gd name="T19" fmla="*/ 162480834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 name="Freeform 324">
              <a:extLst>
                <a:ext uri="{FF2B5EF4-FFF2-40B4-BE49-F238E27FC236}">
                  <a16:creationId xmlns:a16="http://schemas.microsoft.com/office/drawing/2014/main" id="{193F6D1C-EF03-4339-A1A4-0E1E6F61D0E6}"/>
                </a:ext>
              </a:extLst>
            </p:cNvPr>
            <p:cNvSpPr>
              <a:spLocks/>
            </p:cNvSpPr>
            <p:nvPr>
              <p:custDataLst>
                <p:tags r:id="rId227"/>
              </p:custDataLst>
            </p:nvPr>
          </p:nvSpPr>
          <p:spPr bwMode="auto">
            <a:xfrm>
              <a:off x="6696075" y="4075113"/>
              <a:ext cx="20638" cy="58737"/>
            </a:xfrm>
            <a:custGeom>
              <a:avLst/>
              <a:gdLst>
                <a:gd name="T0" fmla="*/ 0 w 46"/>
                <a:gd name="T1" fmla="*/ 69003053 h 50"/>
                <a:gd name="T2" fmla="*/ 1409216 w 46"/>
                <a:gd name="T3" fmla="*/ 0 h 50"/>
                <a:gd name="T4" fmla="*/ 4629642 w 46"/>
                <a:gd name="T5" fmla="*/ 11040394 h 50"/>
                <a:gd name="T6" fmla="*/ 6843740 w 46"/>
                <a:gd name="T7" fmla="*/ 19321278 h 50"/>
                <a:gd name="T8" fmla="*/ 7447626 w 46"/>
                <a:gd name="T9" fmla="*/ 24841475 h 50"/>
                <a:gd name="T10" fmla="*/ 8252957 w 46"/>
                <a:gd name="T11" fmla="*/ 30361672 h 50"/>
                <a:gd name="T12" fmla="*/ 8856843 w 46"/>
                <a:gd name="T13" fmla="*/ 41402067 h 50"/>
                <a:gd name="T14" fmla="*/ 9259284 w 46"/>
                <a:gd name="T15" fmla="*/ 52442461 h 50"/>
                <a:gd name="T16" fmla="*/ 6843740 w 46"/>
                <a:gd name="T17" fmla="*/ 57962658 h 50"/>
                <a:gd name="T18" fmla="*/ 4227201 w 46"/>
                <a:gd name="T19" fmla="*/ 63482856 h 50"/>
                <a:gd name="T20" fmla="*/ 1610213 w 46"/>
                <a:gd name="T21" fmla="*/ 67622710 h 50"/>
                <a:gd name="T22" fmla="*/ 0 w 46"/>
                <a:gd name="T23" fmla="*/ 69003053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 name="Freeform 325">
              <a:extLst>
                <a:ext uri="{FF2B5EF4-FFF2-40B4-BE49-F238E27FC236}">
                  <a16:creationId xmlns:a16="http://schemas.microsoft.com/office/drawing/2014/main" id="{7FCE3DDC-91BE-496F-87A2-EAFE340D64DF}"/>
                </a:ext>
              </a:extLst>
            </p:cNvPr>
            <p:cNvSpPr>
              <a:spLocks/>
            </p:cNvSpPr>
            <p:nvPr>
              <p:custDataLst>
                <p:tags r:id="rId228"/>
              </p:custDataLst>
            </p:nvPr>
          </p:nvSpPr>
          <p:spPr bwMode="auto">
            <a:xfrm>
              <a:off x="6642100" y="4048125"/>
              <a:ext cx="30163" cy="58738"/>
            </a:xfrm>
            <a:custGeom>
              <a:avLst/>
              <a:gdLst>
                <a:gd name="T0" fmla="*/ 0 w 66"/>
                <a:gd name="T1" fmla="*/ 0 h 80"/>
                <a:gd name="T2" fmla="*/ 2088559 w 66"/>
                <a:gd name="T3" fmla="*/ 0 h 80"/>
                <a:gd name="T4" fmla="*/ 3759407 w 66"/>
                <a:gd name="T5" fmla="*/ 0 h 80"/>
                <a:gd name="T6" fmla="*/ 5430254 w 66"/>
                <a:gd name="T7" fmla="*/ 0 h 80"/>
                <a:gd name="T8" fmla="*/ 6892703 w 66"/>
                <a:gd name="T9" fmla="*/ 0 h 80"/>
                <a:gd name="T10" fmla="*/ 6892703 w 66"/>
                <a:gd name="T11" fmla="*/ 3773118 h 80"/>
                <a:gd name="T12" fmla="*/ 7101558 w 66"/>
                <a:gd name="T13" fmla="*/ 7546970 h 80"/>
                <a:gd name="T14" fmla="*/ 7519270 w 66"/>
                <a:gd name="T15" fmla="*/ 11320088 h 80"/>
                <a:gd name="T16" fmla="*/ 7936982 w 66"/>
                <a:gd name="T17" fmla="*/ 14555029 h 80"/>
                <a:gd name="T18" fmla="*/ 9190118 w 66"/>
                <a:gd name="T19" fmla="*/ 19406705 h 80"/>
                <a:gd name="T20" fmla="*/ 10234397 w 66"/>
                <a:gd name="T21" fmla="*/ 24258381 h 80"/>
                <a:gd name="T22" fmla="*/ 11696389 w 66"/>
                <a:gd name="T23" fmla="*/ 28031499 h 80"/>
                <a:gd name="T24" fmla="*/ 12740668 w 66"/>
                <a:gd name="T25" fmla="*/ 32344263 h 80"/>
                <a:gd name="T26" fmla="*/ 12949524 w 66"/>
                <a:gd name="T27" fmla="*/ 35039557 h 80"/>
                <a:gd name="T28" fmla="*/ 13576092 w 66"/>
                <a:gd name="T29" fmla="*/ 37195939 h 80"/>
                <a:gd name="T30" fmla="*/ 13784948 w 66"/>
                <a:gd name="T31" fmla="*/ 40430146 h 80"/>
                <a:gd name="T32" fmla="*/ 13784948 w 66"/>
                <a:gd name="T33" fmla="*/ 43125440 h 80"/>
                <a:gd name="T34" fmla="*/ 0 w 66"/>
                <a:gd name="T35" fmla="*/ 9703352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1" name="Freeform 326">
              <a:extLst>
                <a:ext uri="{FF2B5EF4-FFF2-40B4-BE49-F238E27FC236}">
                  <a16:creationId xmlns:a16="http://schemas.microsoft.com/office/drawing/2014/main" id="{61AB719A-175C-4242-98F8-70792B11EE52}"/>
                </a:ext>
              </a:extLst>
            </p:cNvPr>
            <p:cNvSpPr>
              <a:spLocks/>
            </p:cNvSpPr>
            <p:nvPr>
              <p:custDataLst>
                <p:tags r:id="rId229"/>
              </p:custDataLst>
            </p:nvPr>
          </p:nvSpPr>
          <p:spPr bwMode="auto">
            <a:xfrm>
              <a:off x="6477000" y="4032250"/>
              <a:ext cx="7938" cy="57150"/>
            </a:xfrm>
            <a:custGeom>
              <a:avLst/>
              <a:gdLst>
                <a:gd name="T0" fmla="*/ 3150592 w 20"/>
                <a:gd name="T1" fmla="*/ 68044219 h 48"/>
                <a:gd name="T2" fmla="*/ 3150592 w 20"/>
                <a:gd name="T3" fmla="*/ 55285481 h 48"/>
                <a:gd name="T4" fmla="*/ 2993023 w 20"/>
                <a:gd name="T5" fmla="*/ 45362813 h 48"/>
                <a:gd name="T6" fmla="*/ 2520315 w 20"/>
                <a:gd name="T7" fmla="*/ 35440144 h 48"/>
                <a:gd name="T8" fmla="*/ 2205573 w 20"/>
                <a:gd name="T9" fmla="*/ 26934319 h 48"/>
                <a:gd name="T10" fmla="*/ 1890435 w 20"/>
                <a:gd name="T11" fmla="*/ 19846528 h 48"/>
                <a:gd name="T12" fmla="*/ 1417727 w 20"/>
                <a:gd name="T13" fmla="*/ 12758738 h 48"/>
                <a:gd name="T14" fmla="*/ 630277 w 20"/>
                <a:gd name="T15" fmla="*/ 5670947 h 48"/>
                <a:gd name="T16" fmla="*/ 0 w 20"/>
                <a:gd name="T17" fmla="*/ 0 h 48"/>
                <a:gd name="T18" fmla="*/ 0 w 20"/>
                <a:gd name="T19" fmla="*/ 11340703 h 48"/>
                <a:gd name="T20" fmla="*/ 315139 w 20"/>
                <a:gd name="T21" fmla="*/ 24099441 h 48"/>
                <a:gd name="T22" fmla="*/ 630277 w 20"/>
                <a:gd name="T23" fmla="*/ 34022109 h 48"/>
                <a:gd name="T24" fmla="*/ 1260158 w 20"/>
                <a:gd name="T25" fmla="*/ 43944778 h 48"/>
                <a:gd name="T26" fmla="*/ 2205573 w 20"/>
                <a:gd name="T27" fmla="*/ 58121550 h 48"/>
                <a:gd name="T28" fmla="*/ 3150592 w 20"/>
                <a:gd name="T29" fmla="*/ 68044219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2" name="Line 327" descr="Horizontal dunkel">
              <a:extLst>
                <a:ext uri="{FF2B5EF4-FFF2-40B4-BE49-F238E27FC236}">
                  <a16:creationId xmlns:a16="http://schemas.microsoft.com/office/drawing/2014/main" id="{708D80D6-9A06-4148-AA28-9FD9813D9383}"/>
                </a:ext>
              </a:extLst>
            </p:cNvPr>
            <p:cNvSpPr>
              <a:spLocks noChangeShapeType="1"/>
            </p:cNvSpPr>
            <p:nvPr>
              <p:custDataLst>
                <p:tags r:id="rId230"/>
              </p:custDataLst>
            </p:nvPr>
          </p:nvSpPr>
          <p:spPr bwMode="auto">
            <a:xfrm>
              <a:off x="6502400" y="4068763"/>
              <a:ext cx="4763" cy="635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3" name="Freeform 328">
              <a:extLst>
                <a:ext uri="{FF2B5EF4-FFF2-40B4-BE49-F238E27FC236}">
                  <a16:creationId xmlns:a16="http://schemas.microsoft.com/office/drawing/2014/main" id="{41D2CF3B-341B-448C-AA36-A3FBC1A7BBC8}"/>
                </a:ext>
              </a:extLst>
            </p:cNvPr>
            <p:cNvSpPr>
              <a:spLocks/>
            </p:cNvSpPr>
            <p:nvPr>
              <p:custDataLst>
                <p:tags r:id="rId231"/>
              </p:custDataLst>
            </p:nvPr>
          </p:nvSpPr>
          <p:spPr bwMode="auto">
            <a:xfrm>
              <a:off x="6499225" y="4068763"/>
              <a:ext cx="7938" cy="57150"/>
            </a:xfrm>
            <a:custGeom>
              <a:avLst/>
              <a:gdLst>
                <a:gd name="T0" fmla="*/ 3150592 w 20"/>
                <a:gd name="T1" fmla="*/ 272176875 h 12"/>
                <a:gd name="T2" fmla="*/ 3150592 w 20"/>
                <a:gd name="T3" fmla="*/ 181451250 h 12"/>
                <a:gd name="T4" fmla="*/ 2835454 w 20"/>
                <a:gd name="T5" fmla="*/ 113409413 h 12"/>
                <a:gd name="T6" fmla="*/ 2363143 w 20"/>
                <a:gd name="T7" fmla="*/ 68046600 h 12"/>
                <a:gd name="T8" fmla="*/ 2048004 w 20"/>
                <a:gd name="T9" fmla="*/ 45362813 h 12"/>
                <a:gd name="T10" fmla="*/ 110258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 name="Freeform 329">
              <a:extLst>
                <a:ext uri="{FF2B5EF4-FFF2-40B4-BE49-F238E27FC236}">
                  <a16:creationId xmlns:a16="http://schemas.microsoft.com/office/drawing/2014/main" id="{20791AE3-499E-4152-A491-4589C6FCC61A}"/>
                </a:ext>
              </a:extLst>
            </p:cNvPr>
            <p:cNvSpPr>
              <a:spLocks/>
            </p:cNvSpPr>
            <p:nvPr>
              <p:custDataLst>
                <p:tags r:id="rId232"/>
              </p:custDataLst>
            </p:nvPr>
          </p:nvSpPr>
          <p:spPr bwMode="auto">
            <a:xfrm>
              <a:off x="6400800" y="3913188"/>
              <a:ext cx="22225" cy="57150"/>
            </a:xfrm>
            <a:custGeom>
              <a:avLst/>
              <a:gdLst>
                <a:gd name="T0" fmla="*/ 1230762 w 53"/>
                <a:gd name="T1" fmla="*/ 0 h 30"/>
                <a:gd name="T2" fmla="*/ 1934414 w 53"/>
                <a:gd name="T3" fmla="*/ 14516100 h 30"/>
                <a:gd name="T4" fmla="*/ 4044531 w 53"/>
                <a:gd name="T5" fmla="*/ 47177325 h 30"/>
                <a:gd name="T6" fmla="*/ 6506474 w 53"/>
                <a:gd name="T7" fmla="*/ 83467575 h 30"/>
                <a:gd name="T8" fmla="*/ 8089061 w 53"/>
                <a:gd name="T9" fmla="*/ 108870750 h 30"/>
                <a:gd name="T10" fmla="*/ 8616591 w 53"/>
                <a:gd name="T11" fmla="*/ 65322450 h 30"/>
                <a:gd name="T12" fmla="*/ 9319823 w 53"/>
                <a:gd name="T13" fmla="*/ 21774150 h 30"/>
                <a:gd name="T14" fmla="*/ 6506474 w 53"/>
                <a:gd name="T15" fmla="*/ 18145125 h 30"/>
                <a:gd name="T16" fmla="*/ 4572060 w 53"/>
                <a:gd name="T17" fmla="*/ 10887075 h 30"/>
                <a:gd name="T18" fmla="*/ 3692705 w 53"/>
                <a:gd name="T19" fmla="*/ 10887075 h 30"/>
                <a:gd name="T20" fmla="*/ 2637646 w 53"/>
                <a:gd name="T21" fmla="*/ 10887075 h 30"/>
                <a:gd name="T22" fmla="*/ 1582588 w 53"/>
                <a:gd name="T23" fmla="*/ 14516100 h 30"/>
                <a:gd name="T24" fmla="*/ 0 w 53"/>
                <a:gd name="T25" fmla="*/ 21774150 h 30"/>
                <a:gd name="T26" fmla="*/ 1230762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 name="Freeform 330">
              <a:extLst>
                <a:ext uri="{FF2B5EF4-FFF2-40B4-BE49-F238E27FC236}">
                  <a16:creationId xmlns:a16="http://schemas.microsoft.com/office/drawing/2014/main" id="{E2891E14-8BA3-4D85-99DB-322F46153BD8}"/>
                </a:ext>
              </a:extLst>
            </p:cNvPr>
            <p:cNvSpPr>
              <a:spLocks/>
            </p:cNvSpPr>
            <p:nvPr>
              <p:custDataLst>
                <p:tags r:id="rId233"/>
              </p:custDataLst>
            </p:nvPr>
          </p:nvSpPr>
          <p:spPr bwMode="auto">
            <a:xfrm>
              <a:off x="6929438" y="4276725"/>
              <a:ext cx="11112" cy="57150"/>
            </a:xfrm>
            <a:custGeom>
              <a:avLst/>
              <a:gdLst>
                <a:gd name="T0" fmla="*/ 0 w 33"/>
                <a:gd name="T1" fmla="*/ 20391489 h 31"/>
                <a:gd name="T2" fmla="*/ 453572 w 33"/>
                <a:gd name="T3" fmla="*/ 71372976 h 31"/>
                <a:gd name="T4" fmla="*/ 793666 w 33"/>
                <a:gd name="T5" fmla="*/ 105358790 h 31"/>
                <a:gd name="T6" fmla="*/ 2494476 w 33"/>
                <a:gd name="T7" fmla="*/ 105358790 h 31"/>
                <a:gd name="T8" fmla="*/ 3741713 w 33"/>
                <a:gd name="T9" fmla="*/ 105358790 h 31"/>
                <a:gd name="T10" fmla="*/ 3741713 w 33"/>
                <a:gd name="T11" fmla="*/ 0 h 31"/>
                <a:gd name="T12" fmla="*/ 3061524 w 33"/>
                <a:gd name="T13" fmla="*/ 0 h 31"/>
                <a:gd name="T14" fmla="*/ 2154381 w 33"/>
                <a:gd name="T15" fmla="*/ 0 h 31"/>
                <a:gd name="T16" fmla="*/ 1133761 w 33"/>
                <a:gd name="T17" fmla="*/ 0 h 31"/>
                <a:gd name="T18" fmla="*/ 0 w 33"/>
                <a:gd name="T19" fmla="*/ 0 h 31"/>
                <a:gd name="T20" fmla="*/ 0 w 33"/>
                <a:gd name="T21" fmla="*/ 20391489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 name="Freeform 331">
              <a:extLst>
                <a:ext uri="{FF2B5EF4-FFF2-40B4-BE49-F238E27FC236}">
                  <a16:creationId xmlns:a16="http://schemas.microsoft.com/office/drawing/2014/main" id="{EC65FC4C-74E6-4EA5-BD69-F9DA1065EC44}"/>
                </a:ext>
              </a:extLst>
            </p:cNvPr>
            <p:cNvSpPr>
              <a:spLocks/>
            </p:cNvSpPr>
            <p:nvPr>
              <p:custDataLst>
                <p:tags r:id="rId234"/>
              </p:custDataLst>
            </p:nvPr>
          </p:nvSpPr>
          <p:spPr bwMode="auto">
            <a:xfrm>
              <a:off x="7445375" y="4233863"/>
              <a:ext cx="28575" cy="55562"/>
            </a:xfrm>
            <a:custGeom>
              <a:avLst/>
              <a:gdLst>
                <a:gd name="T0" fmla="*/ 3672107 w 65"/>
                <a:gd name="T1" fmla="*/ 45400691 h 68"/>
                <a:gd name="T2" fmla="*/ 3092255 w 65"/>
                <a:gd name="T3" fmla="*/ 45400691 h 68"/>
                <a:gd name="T4" fmla="*/ 2705833 w 65"/>
                <a:gd name="T5" fmla="*/ 44065545 h 68"/>
                <a:gd name="T6" fmla="*/ 2125980 w 65"/>
                <a:gd name="T7" fmla="*/ 42730398 h 68"/>
                <a:gd name="T8" fmla="*/ 1352697 w 65"/>
                <a:gd name="T9" fmla="*/ 40726862 h 68"/>
                <a:gd name="T10" fmla="*/ 772844 w 65"/>
                <a:gd name="T11" fmla="*/ 39391716 h 68"/>
                <a:gd name="T12" fmla="*/ 386422 w 65"/>
                <a:gd name="T13" fmla="*/ 36721423 h 68"/>
                <a:gd name="T14" fmla="*/ 0 w 65"/>
                <a:gd name="T15" fmla="*/ 34717887 h 68"/>
                <a:gd name="T16" fmla="*/ 0 w 65"/>
                <a:gd name="T17" fmla="*/ 32715168 h 68"/>
                <a:gd name="T18" fmla="*/ 0 w 65"/>
                <a:gd name="T19" fmla="*/ 25371046 h 68"/>
                <a:gd name="T20" fmla="*/ 386422 w 65"/>
                <a:gd name="T21" fmla="*/ 19362071 h 68"/>
                <a:gd name="T22" fmla="*/ 966275 w 65"/>
                <a:gd name="T23" fmla="*/ 14020669 h 68"/>
                <a:gd name="T24" fmla="*/ 1739558 w 65"/>
                <a:gd name="T25" fmla="*/ 9346841 h 68"/>
                <a:gd name="T26" fmla="*/ 2898824 w 65"/>
                <a:gd name="T27" fmla="*/ 5341402 h 68"/>
                <a:gd name="T28" fmla="*/ 4251960 w 65"/>
                <a:gd name="T29" fmla="*/ 2670292 h 68"/>
                <a:gd name="T30" fmla="*/ 5797648 w 65"/>
                <a:gd name="T31" fmla="*/ 1335146 h 68"/>
                <a:gd name="T32" fmla="*/ 7537206 w 65"/>
                <a:gd name="T33" fmla="*/ 0 h 68"/>
                <a:gd name="T34" fmla="*/ 10049608 w 65"/>
                <a:gd name="T35" fmla="*/ 0 h 68"/>
                <a:gd name="T36" fmla="*/ 12562010 w 65"/>
                <a:gd name="T37" fmla="*/ 0 h 68"/>
                <a:gd name="T38" fmla="*/ 12562010 w 65"/>
                <a:gd name="T39" fmla="*/ 28708912 h 68"/>
                <a:gd name="T40" fmla="*/ 10822452 w 65"/>
                <a:gd name="T41" fmla="*/ 34717887 h 68"/>
                <a:gd name="T42" fmla="*/ 8696911 w 65"/>
                <a:gd name="T43" fmla="*/ 40726862 h 68"/>
                <a:gd name="T44" fmla="*/ 7537206 w 65"/>
                <a:gd name="T45" fmla="*/ 42730398 h 68"/>
                <a:gd name="T46" fmla="*/ 6570931 w 65"/>
                <a:gd name="T47" fmla="*/ 44065545 h 68"/>
                <a:gd name="T48" fmla="*/ 5218235 w 65"/>
                <a:gd name="T49" fmla="*/ 45400691 h 68"/>
                <a:gd name="T50" fmla="*/ 3672107 w 65"/>
                <a:gd name="T51" fmla="*/ 45400691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 name="Freeform 332">
              <a:extLst>
                <a:ext uri="{FF2B5EF4-FFF2-40B4-BE49-F238E27FC236}">
                  <a16:creationId xmlns:a16="http://schemas.microsoft.com/office/drawing/2014/main" id="{C2DCCD86-06F5-4DCD-B65E-1138F2402400}"/>
                </a:ext>
              </a:extLst>
            </p:cNvPr>
            <p:cNvSpPr>
              <a:spLocks/>
            </p:cNvSpPr>
            <p:nvPr>
              <p:custDataLst>
                <p:tags r:id="rId235"/>
              </p:custDataLst>
            </p:nvPr>
          </p:nvSpPr>
          <p:spPr bwMode="auto">
            <a:xfrm>
              <a:off x="6383338" y="3816350"/>
              <a:ext cx="274637" cy="368300"/>
            </a:xfrm>
            <a:custGeom>
              <a:avLst/>
              <a:gdLst>
                <a:gd name="T0" fmla="*/ 96930602 w 625"/>
                <a:gd name="T1" fmla="*/ 94910485 h 694"/>
                <a:gd name="T2" fmla="*/ 93455236 w 625"/>
                <a:gd name="T3" fmla="*/ 96037144 h 694"/>
                <a:gd name="T4" fmla="*/ 92489832 w 625"/>
                <a:gd name="T5" fmla="*/ 107583933 h 694"/>
                <a:gd name="T6" fmla="*/ 99441004 w 625"/>
                <a:gd name="T7" fmla="*/ 113779757 h 694"/>
                <a:gd name="T8" fmla="*/ 103109715 w 625"/>
                <a:gd name="T9" fmla="*/ 114061555 h 694"/>
                <a:gd name="T10" fmla="*/ 106199272 w 625"/>
                <a:gd name="T11" fmla="*/ 119412519 h 694"/>
                <a:gd name="T12" fmla="*/ 108130080 w 625"/>
                <a:gd name="T13" fmla="*/ 129269585 h 694"/>
                <a:gd name="T14" fmla="*/ 110447137 w 625"/>
                <a:gd name="T15" fmla="*/ 133494421 h 694"/>
                <a:gd name="T16" fmla="*/ 113536254 w 625"/>
                <a:gd name="T17" fmla="*/ 136029005 h 694"/>
                <a:gd name="T18" fmla="*/ 118556618 w 625"/>
                <a:gd name="T19" fmla="*/ 137155663 h 694"/>
                <a:gd name="T20" fmla="*/ 120680771 w 625"/>
                <a:gd name="T21" fmla="*/ 142224830 h 694"/>
                <a:gd name="T22" fmla="*/ 120680771 w 625"/>
                <a:gd name="T23" fmla="*/ 151800630 h 694"/>
                <a:gd name="T24" fmla="*/ 119329117 w 625"/>
                <a:gd name="T25" fmla="*/ 169825040 h 694"/>
                <a:gd name="T26" fmla="*/ 117977464 w 625"/>
                <a:gd name="T27" fmla="*/ 189257907 h 694"/>
                <a:gd name="T28" fmla="*/ 108516329 w 625"/>
                <a:gd name="T29" fmla="*/ 195171935 h 694"/>
                <a:gd name="T30" fmla="*/ 104075119 w 625"/>
                <a:gd name="T31" fmla="*/ 195171935 h 694"/>
                <a:gd name="T32" fmla="*/ 76077086 w 625"/>
                <a:gd name="T33" fmla="*/ 158841316 h 694"/>
                <a:gd name="T34" fmla="*/ 76656240 w 625"/>
                <a:gd name="T35" fmla="*/ 155461871 h 694"/>
                <a:gd name="T36" fmla="*/ 76077086 w 625"/>
                <a:gd name="T37" fmla="*/ 151800630 h 694"/>
                <a:gd name="T38" fmla="*/ 65264297 w 625"/>
                <a:gd name="T39" fmla="*/ 137437460 h 694"/>
                <a:gd name="T40" fmla="*/ 58892279 w 625"/>
                <a:gd name="T41" fmla="*/ 127579863 h 694"/>
                <a:gd name="T42" fmla="*/ 56575222 w 625"/>
                <a:gd name="T43" fmla="*/ 118004594 h 694"/>
                <a:gd name="T44" fmla="*/ 56188973 w 625"/>
                <a:gd name="T45" fmla="*/ 107302666 h 694"/>
                <a:gd name="T46" fmla="*/ 55030224 w 625"/>
                <a:gd name="T47" fmla="*/ 101388108 h 694"/>
                <a:gd name="T48" fmla="*/ 51747763 w 625"/>
                <a:gd name="T49" fmla="*/ 96318941 h 694"/>
                <a:gd name="T50" fmla="*/ 46534493 w 625"/>
                <a:gd name="T51" fmla="*/ 87306205 h 694"/>
                <a:gd name="T52" fmla="*/ 43252032 w 625"/>
                <a:gd name="T53" fmla="*/ 75759416 h 694"/>
                <a:gd name="T54" fmla="*/ 41127879 w 625"/>
                <a:gd name="T55" fmla="*/ 67029008 h 694"/>
                <a:gd name="T56" fmla="*/ 36687109 w 625"/>
                <a:gd name="T57" fmla="*/ 59706525 h 694"/>
                <a:gd name="T58" fmla="*/ 28963438 w 625"/>
                <a:gd name="T59" fmla="*/ 48159205 h 694"/>
                <a:gd name="T60" fmla="*/ 26260131 w 625"/>
                <a:gd name="T61" fmla="*/ 41118519 h 694"/>
                <a:gd name="T62" fmla="*/ 21626016 w 625"/>
                <a:gd name="T63" fmla="*/ 37175480 h 694"/>
                <a:gd name="T64" fmla="*/ 15447343 w 625"/>
                <a:gd name="T65" fmla="*/ 31824516 h 694"/>
                <a:gd name="T66" fmla="*/ 9461574 w 625"/>
                <a:gd name="T67" fmla="*/ 23938969 h 694"/>
                <a:gd name="T68" fmla="*/ 4441210 w 625"/>
                <a:gd name="T69" fmla="*/ 14363169 h 694"/>
                <a:gd name="T70" fmla="*/ 965404 w 625"/>
                <a:gd name="T71" fmla="*/ 5350964 h 694"/>
                <a:gd name="T72" fmla="*/ 1930808 w 625"/>
                <a:gd name="T73" fmla="*/ 1126658 h 694"/>
                <a:gd name="T74" fmla="*/ 7144517 w 625"/>
                <a:gd name="T75" fmla="*/ 3661242 h 694"/>
                <a:gd name="T76" fmla="*/ 16219402 w 625"/>
                <a:gd name="T77" fmla="*/ 4506103 h 694"/>
                <a:gd name="T78" fmla="*/ 22398515 w 625"/>
                <a:gd name="T79" fmla="*/ 5632761 h 694"/>
                <a:gd name="T80" fmla="*/ 26646380 w 625"/>
                <a:gd name="T81" fmla="*/ 7604281 h 694"/>
                <a:gd name="T82" fmla="*/ 30121747 w 625"/>
                <a:gd name="T83" fmla="*/ 11828586 h 694"/>
                <a:gd name="T84" fmla="*/ 39390416 w 625"/>
                <a:gd name="T85" fmla="*/ 30697858 h 694"/>
                <a:gd name="T86" fmla="*/ 49044456 w 625"/>
                <a:gd name="T87" fmla="*/ 45906419 h 694"/>
                <a:gd name="T88" fmla="*/ 57733531 w 625"/>
                <a:gd name="T89" fmla="*/ 56890144 h 694"/>
                <a:gd name="T90" fmla="*/ 63526394 w 625"/>
                <a:gd name="T91" fmla="*/ 61677513 h 694"/>
                <a:gd name="T92" fmla="*/ 70670472 w 625"/>
                <a:gd name="T93" fmla="*/ 63930830 h 694"/>
                <a:gd name="T94" fmla="*/ 74918777 w 625"/>
                <a:gd name="T95" fmla="*/ 64775691 h 694"/>
                <a:gd name="T96" fmla="*/ 77428739 w 625"/>
                <a:gd name="T97" fmla="*/ 67873869 h 694"/>
                <a:gd name="T98" fmla="*/ 80324951 w 625"/>
                <a:gd name="T99" fmla="*/ 73224833 h 694"/>
                <a:gd name="T100" fmla="*/ 82449103 w 625"/>
                <a:gd name="T101" fmla="*/ 74632758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8" name="Freeform 333">
              <a:extLst>
                <a:ext uri="{FF2B5EF4-FFF2-40B4-BE49-F238E27FC236}">
                  <a16:creationId xmlns:a16="http://schemas.microsoft.com/office/drawing/2014/main" id="{A0037793-758B-4BD5-8265-3F10BF823805}"/>
                </a:ext>
              </a:extLst>
            </p:cNvPr>
            <p:cNvSpPr>
              <a:spLocks/>
            </p:cNvSpPr>
            <p:nvPr>
              <p:custDataLst>
                <p:tags r:id="rId236"/>
              </p:custDataLst>
            </p:nvPr>
          </p:nvSpPr>
          <p:spPr bwMode="auto">
            <a:xfrm>
              <a:off x="6724650" y="3865563"/>
              <a:ext cx="254000" cy="257175"/>
            </a:xfrm>
            <a:custGeom>
              <a:avLst/>
              <a:gdLst>
                <a:gd name="T0" fmla="*/ 97275921 w 585"/>
                <a:gd name="T1" fmla="*/ 7619266 h 493"/>
                <a:gd name="T2" fmla="*/ 93316995 w 585"/>
                <a:gd name="T3" fmla="*/ 14966750 h 493"/>
                <a:gd name="T4" fmla="*/ 96521737 w 585"/>
                <a:gd name="T5" fmla="*/ 25307481 h 493"/>
                <a:gd name="T6" fmla="*/ 100669101 w 585"/>
                <a:gd name="T7" fmla="*/ 35375908 h 493"/>
                <a:gd name="T8" fmla="*/ 108021641 w 585"/>
                <a:gd name="T9" fmla="*/ 48165800 h 493"/>
                <a:gd name="T10" fmla="*/ 109341138 w 585"/>
                <a:gd name="T11" fmla="*/ 55785066 h 493"/>
                <a:gd name="T12" fmla="*/ 103120092 w 585"/>
                <a:gd name="T13" fmla="*/ 55512763 h 493"/>
                <a:gd name="T14" fmla="*/ 97275921 w 585"/>
                <a:gd name="T15" fmla="*/ 63404331 h 493"/>
                <a:gd name="T16" fmla="*/ 95390677 w 585"/>
                <a:gd name="T17" fmla="*/ 66942183 h 493"/>
                <a:gd name="T18" fmla="*/ 97652797 w 585"/>
                <a:gd name="T19" fmla="*/ 73745062 h 493"/>
                <a:gd name="T20" fmla="*/ 98972728 w 585"/>
                <a:gd name="T21" fmla="*/ 80003856 h 493"/>
                <a:gd name="T22" fmla="*/ 95202239 w 585"/>
                <a:gd name="T23" fmla="*/ 83813489 h 493"/>
                <a:gd name="T24" fmla="*/ 86530202 w 585"/>
                <a:gd name="T25" fmla="*/ 87895425 h 493"/>
                <a:gd name="T26" fmla="*/ 83513897 w 585"/>
                <a:gd name="T27" fmla="*/ 96331078 h 493"/>
                <a:gd name="T28" fmla="*/ 83891207 w 585"/>
                <a:gd name="T29" fmla="*/ 112930603 h 493"/>
                <a:gd name="T30" fmla="*/ 81063340 w 585"/>
                <a:gd name="T31" fmla="*/ 123543636 h 493"/>
                <a:gd name="T32" fmla="*/ 75407607 w 585"/>
                <a:gd name="T33" fmla="*/ 128441437 h 493"/>
                <a:gd name="T34" fmla="*/ 69752308 w 585"/>
                <a:gd name="T35" fmla="*/ 132795676 h 493"/>
                <a:gd name="T36" fmla="*/ 64285012 w 585"/>
                <a:gd name="T37" fmla="*/ 134156147 h 493"/>
                <a:gd name="T38" fmla="*/ 62022892 w 585"/>
                <a:gd name="T39" fmla="*/ 132523373 h 493"/>
                <a:gd name="T40" fmla="*/ 61645583 w 585"/>
                <a:gd name="T41" fmla="*/ 128169656 h 493"/>
                <a:gd name="T42" fmla="*/ 57309781 w 585"/>
                <a:gd name="T43" fmla="*/ 122727249 h 493"/>
                <a:gd name="T44" fmla="*/ 47318246 w 585"/>
                <a:gd name="T45" fmla="*/ 123543636 h 493"/>
                <a:gd name="T46" fmla="*/ 41285638 w 585"/>
                <a:gd name="T47" fmla="*/ 125720494 h 493"/>
                <a:gd name="T48" fmla="*/ 33179347 w 585"/>
                <a:gd name="T49" fmla="*/ 119733481 h 493"/>
                <a:gd name="T50" fmla="*/ 22999374 w 585"/>
                <a:gd name="T51" fmla="*/ 118645313 h 493"/>
                <a:gd name="T52" fmla="*/ 17909388 w 585"/>
                <a:gd name="T53" fmla="*/ 116740235 h 493"/>
                <a:gd name="T54" fmla="*/ 15269959 w 585"/>
                <a:gd name="T55" fmla="*/ 99596627 h 493"/>
                <a:gd name="T56" fmla="*/ 10934157 w 585"/>
                <a:gd name="T57" fmla="*/ 84357573 h 493"/>
                <a:gd name="T58" fmla="*/ 6598356 w 585"/>
                <a:gd name="T59" fmla="*/ 79459772 h 493"/>
                <a:gd name="T60" fmla="*/ 2262120 w 585"/>
                <a:gd name="T61" fmla="*/ 70751816 h 493"/>
                <a:gd name="T62" fmla="*/ 942622 w 585"/>
                <a:gd name="T63" fmla="*/ 55512763 h 493"/>
                <a:gd name="T64" fmla="*/ 5844171 w 585"/>
                <a:gd name="T65" fmla="*/ 41634702 h 493"/>
                <a:gd name="T66" fmla="*/ 10179973 w 585"/>
                <a:gd name="T67" fmla="*/ 38369154 h 493"/>
                <a:gd name="T68" fmla="*/ 14138899 w 585"/>
                <a:gd name="T69" fmla="*/ 41362399 h 493"/>
                <a:gd name="T70" fmla="*/ 18286263 w 585"/>
                <a:gd name="T71" fmla="*/ 50886743 h 493"/>
                <a:gd name="T72" fmla="*/ 24318872 w 585"/>
                <a:gd name="T73" fmla="*/ 58234227 h 493"/>
                <a:gd name="T74" fmla="*/ 32048287 w 585"/>
                <a:gd name="T75" fmla="*/ 57961924 h 493"/>
                <a:gd name="T76" fmla="*/ 41662947 w 585"/>
                <a:gd name="T77" fmla="*/ 51430827 h 493"/>
                <a:gd name="T78" fmla="*/ 43925067 w 585"/>
                <a:gd name="T79" fmla="*/ 46804807 h 493"/>
                <a:gd name="T80" fmla="*/ 54293477 w 585"/>
                <a:gd name="T81" fmla="*/ 48437581 h 493"/>
                <a:gd name="T82" fmla="*/ 61457145 w 585"/>
                <a:gd name="T83" fmla="*/ 49253968 h 493"/>
                <a:gd name="T84" fmla="*/ 63530827 w 585"/>
                <a:gd name="T85" fmla="*/ 46260722 h 493"/>
                <a:gd name="T86" fmla="*/ 68243938 w 585"/>
                <a:gd name="T87" fmla="*/ 42995174 h 493"/>
                <a:gd name="T88" fmla="*/ 72202865 w 585"/>
                <a:gd name="T89" fmla="*/ 37008682 h 493"/>
                <a:gd name="T90" fmla="*/ 78235474 w 585"/>
                <a:gd name="T91" fmla="*/ 21497848 h 493"/>
                <a:gd name="T92" fmla="*/ 80497593 w 585"/>
                <a:gd name="T93" fmla="*/ 6802879 h 493"/>
                <a:gd name="T94" fmla="*/ 84268082 w 585"/>
                <a:gd name="T95" fmla="*/ 1632774 h 493"/>
                <a:gd name="T96" fmla="*/ 90300691 w 585"/>
                <a:gd name="T97" fmla="*/ 544084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9" name="Freeform 334">
              <a:extLst>
                <a:ext uri="{FF2B5EF4-FFF2-40B4-BE49-F238E27FC236}">
                  <a16:creationId xmlns:a16="http://schemas.microsoft.com/office/drawing/2014/main" id="{F8D30D17-E42D-4E90-BA9A-E4F711AA70F1}"/>
                </a:ext>
              </a:extLst>
            </p:cNvPr>
            <p:cNvSpPr>
              <a:spLocks/>
            </p:cNvSpPr>
            <p:nvPr>
              <p:custDataLst>
                <p:tags r:id="rId237"/>
              </p:custDataLst>
            </p:nvPr>
          </p:nvSpPr>
          <p:spPr bwMode="auto">
            <a:xfrm>
              <a:off x="7080250" y="4271963"/>
              <a:ext cx="92075" cy="57150"/>
            </a:xfrm>
            <a:custGeom>
              <a:avLst/>
              <a:gdLst>
                <a:gd name="T0" fmla="*/ 0 w 212"/>
                <a:gd name="T1" fmla="*/ 31105929 h 105"/>
                <a:gd name="T2" fmla="*/ 3018062 w 212"/>
                <a:gd name="T3" fmla="*/ 25180834 h 105"/>
                <a:gd name="T4" fmla="*/ 6602038 w 212"/>
                <a:gd name="T5" fmla="*/ 20144559 h 105"/>
                <a:gd name="T6" fmla="*/ 8299779 w 212"/>
                <a:gd name="T7" fmla="*/ 17774739 h 105"/>
                <a:gd name="T8" fmla="*/ 10186014 w 212"/>
                <a:gd name="T9" fmla="*/ 15701010 h 105"/>
                <a:gd name="T10" fmla="*/ 12072249 w 212"/>
                <a:gd name="T11" fmla="*/ 13627281 h 105"/>
                <a:gd name="T12" fmla="*/ 13769990 w 212"/>
                <a:gd name="T13" fmla="*/ 11257461 h 105"/>
                <a:gd name="T14" fmla="*/ 15656225 w 212"/>
                <a:gd name="T15" fmla="*/ 9479824 h 105"/>
                <a:gd name="T16" fmla="*/ 17731387 w 212"/>
                <a:gd name="T17" fmla="*/ 7998823 h 105"/>
                <a:gd name="T18" fmla="*/ 19995042 w 212"/>
                <a:gd name="T19" fmla="*/ 6221186 h 105"/>
                <a:gd name="T20" fmla="*/ 22258263 w 212"/>
                <a:gd name="T21" fmla="*/ 4740184 h 105"/>
                <a:gd name="T22" fmla="*/ 27162994 w 212"/>
                <a:gd name="T23" fmla="*/ 2369820 h 105"/>
                <a:gd name="T24" fmla="*/ 32444277 w 212"/>
                <a:gd name="T25" fmla="*/ 0 h 105"/>
                <a:gd name="T26" fmla="*/ 39989649 w 212"/>
                <a:gd name="T27" fmla="*/ 0 h 105"/>
                <a:gd name="T28" fmla="*/ 38103415 w 212"/>
                <a:gd name="T29" fmla="*/ 2666456 h 105"/>
                <a:gd name="T30" fmla="*/ 35839759 w 212"/>
                <a:gd name="T31" fmla="*/ 5332367 h 105"/>
                <a:gd name="T32" fmla="*/ 33576104 w 212"/>
                <a:gd name="T33" fmla="*/ 7998823 h 105"/>
                <a:gd name="T34" fmla="*/ 31123956 w 212"/>
                <a:gd name="T35" fmla="*/ 10368643 h 105"/>
                <a:gd name="T36" fmla="*/ 25842239 w 212"/>
                <a:gd name="T37" fmla="*/ 15404919 h 105"/>
                <a:gd name="T38" fmla="*/ 20560521 w 212"/>
                <a:gd name="T39" fmla="*/ 19552376 h 105"/>
                <a:gd name="T40" fmla="*/ 14901818 w 212"/>
                <a:gd name="T41" fmla="*/ 23403741 h 105"/>
                <a:gd name="T42" fmla="*/ 9431607 w 212"/>
                <a:gd name="T43" fmla="*/ 26662380 h 105"/>
                <a:gd name="T44" fmla="*/ 4338383 w 212"/>
                <a:gd name="T45" fmla="*/ 29328291 h 105"/>
                <a:gd name="T46" fmla="*/ 0 w 212"/>
                <a:gd name="T47" fmla="*/ 31105929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0" name="Freeform 335">
              <a:extLst>
                <a:ext uri="{FF2B5EF4-FFF2-40B4-BE49-F238E27FC236}">
                  <a16:creationId xmlns:a16="http://schemas.microsoft.com/office/drawing/2014/main" id="{4ED3010D-EA75-4B79-A4A7-EEEB9F0F2E28}"/>
                </a:ext>
              </a:extLst>
            </p:cNvPr>
            <p:cNvSpPr>
              <a:spLocks/>
            </p:cNvSpPr>
            <p:nvPr>
              <p:custDataLst>
                <p:tags r:id="rId238"/>
              </p:custDataLst>
            </p:nvPr>
          </p:nvSpPr>
          <p:spPr bwMode="auto">
            <a:xfrm>
              <a:off x="7196138" y="3938588"/>
              <a:ext cx="42862" cy="88900"/>
            </a:xfrm>
            <a:custGeom>
              <a:avLst/>
              <a:gdLst>
                <a:gd name="T0" fmla="*/ 0 w 92"/>
                <a:gd name="T1" fmla="*/ 23231284 h 166"/>
                <a:gd name="T2" fmla="*/ 0 w 92"/>
                <a:gd name="T3" fmla="*/ 42447072 h 166"/>
                <a:gd name="T4" fmla="*/ 1085061 w 92"/>
                <a:gd name="T5" fmla="*/ 41299941 h 166"/>
                <a:gd name="T6" fmla="*/ 2604798 w 92"/>
                <a:gd name="T7" fmla="*/ 39865759 h 166"/>
                <a:gd name="T8" fmla="*/ 3038543 w 92"/>
                <a:gd name="T9" fmla="*/ 39292193 h 166"/>
                <a:gd name="T10" fmla="*/ 3689859 w 92"/>
                <a:gd name="T11" fmla="*/ 38718628 h 166"/>
                <a:gd name="T12" fmla="*/ 3906964 w 92"/>
                <a:gd name="T13" fmla="*/ 37858547 h 166"/>
                <a:gd name="T14" fmla="*/ 4124070 w 92"/>
                <a:gd name="T15" fmla="*/ 37284446 h 166"/>
                <a:gd name="T16" fmla="*/ 4341175 w 92"/>
                <a:gd name="T17" fmla="*/ 39579244 h 166"/>
                <a:gd name="T18" fmla="*/ 5209131 w 92"/>
                <a:gd name="T19" fmla="*/ 42447072 h 166"/>
                <a:gd name="T20" fmla="*/ 5860447 w 92"/>
                <a:gd name="T21" fmla="*/ 44167769 h 166"/>
                <a:gd name="T22" fmla="*/ 6511763 w 92"/>
                <a:gd name="T23" fmla="*/ 45601951 h 166"/>
                <a:gd name="T24" fmla="*/ 7596824 w 92"/>
                <a:gd name="T25" fmla="*/ 46749083 h 166"/>
                <a:gd name="T26" fmla="*/ 8465245 w 92"/>
                <a:gd name="T27" fmla="*/ 47609699 h 166"/>
                <a:gd name="T28" fmla="*/ 8899456 w 92"/>
                <a:gd name="T29" fmla="*/ 45315436 h 166"/>
                <a:gd name="T30" fmla="*/ 8899456 w 92"/>
                <a:gd name="T31" fmla="*/ 42447072 h 166"/>
                <a:gd name="T32" fmla="*/ 8899456 w 92"/>
                <a:gd name="T33" fmla="*/ 39292193 h 166"/>
                <a:gd name="T34" fmla="*/ 8899456 w 92"/>
                <a:gd name="T35" fmla="*/ 36137314 h 166"/>
                <a:gd name="T36" fmla="*/ 8682350 w 92"/>
                <a:gd name="T37" fmla="*/ 30688173 h 166"/>
                <a:gd name="T38" fmla="*/ 8465245 w 92"/>
                <a:gd name="T39" fmla="*/ 28393910 h 166"/>
                <a:gd name="T40" fmla="*/ 10418727 w 92"/>
                <a:gd name="T41" fmla="*/ 28680425 h 166"/>
                <a:gd name="T42" fmla="*/ 12372209 w 92"/>
                <a:gd name="T43" fmla="*/ 29253991 h 166"/>
                <a:gd name="T44" fmla="*/ 13891481 w 92"/>
                <a:gd name="T45" fmla="*/ 30114607 h 166"/>
                <a:gd name="T46" fmla="*/ 15410753 w 92"/>
                <a:gd name="T47" fmla="*/ 30975223 h 166"/>
                <a:gd name="T48" fmla="*/ 16496279 w 92"/>
                <a:gd name="T49" fmla="*/ 31835304 h 166"/>
                <a:gd name="T50" fmla="*/ 17798446 w 92"/>
                <a:gd name="T51" fmla="*/ 32695920 h 166"/>
                <a:gd name="T52" fmla="*/ 18883972 w 92"/>
                <a:gd name="T53" fmla="*/ 33269486 h 166"/>
                <a:gd name="T54" fmla="*/ 19969033 w 92"/>
                <a:gd name="T55" fmla="*/ 33843052 h 166"/>
                <a:gd name="T56" fmla="*/ 18449762 w 92"/>
                <a:gd name="T57" fmla="*/ 29541042 h 166"/>
                <a:gd name="T58" fmla="*/ 17581340 w 92"/>
                <a:gd name="T59" fmla="*/ 25525546 h 166"/>
                <a:gd name="T60" fmla="*/ 16496279 w 92"/>
                <a:gd name="T61" fmla="*/ 21510587 h 166"/>
                <a:gd name="T62" fmla="*/ 15844963 w 92"/>
                <a:gd name="T63" fmla="*/ 17208577 h 166"/>
                <a:gd name="T64" fmla="*/ 15193647 w 92"/>
                <a:gd name="T65" fmla="*/ 13479596 h 166"/>
                <a:gd name="T66" fmla="*/ 14542797 w 92"/>
                <a:gd name="T67" fmla="*/ 9751152 h 166"/>
                <a:gd name="T68" fmla="*/ 13674376 w 92"/>
                <a:gd name="T69" fmla="*/ 6596273 h 166"/>
                <a:gd name="T70" fmla="*/ 12806420 w 92"/>
                <a:gd name="T71" fmla="*/ 3728445 h 166"/>
                <a:gd name="T72" fmla="*/ 12806420 w 92"/>
                <a:gd name="T73" fmla="*/ 5449142 h 166"/>
                <a:gd name="T74" fmla="*/ 12806420 w 92"/>
                <a:gd name="T75" fmla="*/ 7170374 h 166"/>
                <a:gd name="T76" fmla="*/ 10852938 w 92"/>
                <a:gd name="T77" fmla="*/ 6596273 h 166"/>
                <a:gd name="T78" fmla="*/ 9116095 w 92"/>
                <a:gd name="T79" fmla="*/ 5449142 h 166"/>
                <a:gd name="T80" fmla="*/ 7596824 w 92"/>
                <a:gd name="T81" fmla="*/ 4302010 h 166"/>
                <a:gd name="T82" fmla="*/ 6294657 w 92"/>
                <a:gd name="T83" fmla="*/ 3154879 h 166"/>
                <a:gd name="T84" fmla="*/ 4992491 w 92"/>
                <a:gd name="T85" fmla="*/ 2007748 h 166"/>
                <a:gd name="T86" fmla="*/ 3472754 w 92"/>
                <a:gd name="T87" fmla="*/ 860616 h 166"/>
                <a:gd name="T88" fmla="*/ 1736377 w 92"/>
                <a:gd name="T89" fmla="*/ 287051 h 166"/>
                <a:gd name="T90" fmla="*/ 0 w 92"/>
                <a:gd name="T91" fmla="*/ 0 h 166"/>
                <a:gd name="T92" fmla="*/ 0 w 92"/>
                <a:gd name="T93" fmla="*/ 2867828 h 166"/>
                <a:gd name="T94" fmla="*/ 0 w 92"/>
                <a:gd name="T95" fmla="*/ 5449142 h 166"/>
                <a:gd name="T96" fmla="*/ 0 w 92"/>
                <a:gd name="T97" fmla="*/ 9464637 h 166"/>
                <a:gd name="T98" fmla="*/ 0 w 92"/>
                <a:gd name="T99" fmla="*/ 14913778 h 166"/>
                <a:gd name="T100" fmla="*/ 0 w 92"/>
                <a:gd name="T101" fmla="*/ 20076405 h 166"/>
                <a:gd name="T102" fmla="*/ 0 w 92"/>
                <a:gd name="T103" fmla="*/ 23231284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1" name="Freeform 336">
              <a:extLst>
                <a:ext uri="{FF2B5EF4-FFF2-40B4-BE49-F238E27FC236}">
                  <a16:creationId xmlns:a16="http://schemas.microsoft.com/office/drawing/2014/main" id="{EECB7EDD-236F-4680-8464-5FB300AF4700}"/>
                </a:ext>
              </a:extLst>
            </p:cNvPr>
            <p:cNvSpPr>
              <a:spLocks/>
            </p:cNvSpPr>
            <p:nvPr>
              <p:custDataLst>
                <p:tags r:id="rId239"/>
              </p:custDataLst>
            </p:nvPr>
          </p:nvSpPr>
          <p:spPr bwMode="auto">
            <a:xfrm>
              <a:off x="7208838" y="4083050"/>
              <a:ext cx="71437" cy="55563"/>
            </a:xfrm>
            <a:custGeom>
              <a:avLst/>
              <a:gdLst>
                <a:gd name="T0" fmla="*/ 1296194 w 166"/>
                <a:gd name="T1" fmla="*/ 0 h 62"/>
                <a:gd name="T2" fmla="*/ 2592819 w 166"/>
                <a:gd name="T3" fmla="*/ 2408882 h 62"/>
                <a:gd name="T4" fmla="*/ 4074491 w 166"/>
                <a:gd name="T5" fmla="*/ 4818659 h 62"/>
                <a:gd name="T6" fmla="*/ 5555733 w 166"/>
                <a:gd name="T7" fmla="*/ 5621620 h 62"/>
                <a:gd name="T8" fmla="*/ 6666880 w 166"/>
                <a:gd name="T9" fmla="*/ 6424580 h 62"/>
                <a:gd name="T10" fmla="*/ 8889173 w 166"/>
                <a:gd name="T11" fmla="*/ 6424580 h 62"/>
                <a:gd name="T12" fmla="*/ 10741371 w 166"/>
                <a:gd name="T13" fmla="*/ 5621620 h 62"/>
                <a:gd name="T14" fmla="*/ 12778616 w 166"/>
                <a:gd name="T15" fmla="*/ 4015699 h 62"/>
                <a:gd name="T16" fmla="*/ 14815431 w 166"/>
                <a:gd name="T17" fmla="*/ 2408882 h 62"/>
                <a:gd name="T18" fmla="*/ 17038155 w 166"/>
                <a:gd name="T19" fmla="*/ 802961 h 62"/>
                <a:gd name="T20" fmla="*/ 19630543 w 166"/>
                <a:gd name="T21" fmla="*/ 0 h 62"/>
                <a:gd name="T22" fmla="*/ 20556642 w 166"/>
                <a:gd name="T23" fmla="*/ 802961 h 62"/>
                <a:gd name="T24" fmla="*/ 21297263 w 166"/>
                <a:gd name="T25" fmla="*/ 1605921 h 62"/>
                <a:gd name="T26" fmla="*/ 22223362 w 166"/>
                <a:gd name="T27" fmla="*/ 4015699 h 62"/>
                <a:gd name="T28" fmla="*/ 22964413 w 166"/>
                <a:gd name="T29" fmla="*/ 6424580 h 62"/>
                <a:gd name="T30" fmla="*/ 24445655 w 166"/>
                <a:gd name="T31" fmla="*/ 13653017 h 62"/>
                <a:gd name="T32" fmla="*/ 25556802 w 166"/>
                <a:gd name="T33" fmla="*/ 20880558 h 62"/>
                <a:gd name="T34" fmla="*/ 26853427 w 166"/>
                <a:gd name="T35" fmla="*/ 28911956 h 62"/>
                <a:gd name="T36" fmla="*/ 27964573 w 166"/>
                <a:gd name="T37" fmla="*/ 36139496 h 62"/>
                <a:gd name="T38" fmla="*/ 28705194 w 166"/>
                <a:gd name="T39" fmla="*/ 39352235 h 62"/>
                <a:gd name="T40" fmla="*/ 29260767 w 166"/>
                <a:gd name="T41" fmla="*/ 41761116 h 62"/>
                <a:gd name="T42" fmla="*/ 30001819 w 166"/>
                <a:gd name="T43" fmla="*/ 43367933 h 62"/>
                <a:gd name="T44" fmla="*/ 30742440 w 166"/>
                <a:gd name="T45" fmla="*/ 44973854 h 62"/>
                <a:gd name="T46" fmla="*/ 29446245 w 166"/>
                <a:gd name="T47" fmla="*/ 45776815 h 62"/>
                <a:gd name="T48" fmla="*/ 27964573 w 166"/>
                <a:gd name="T49" fmla="*/ 47383632 h 62"/>
                <a:gd name="T50" fmla="*/ 26482901 w 166"/>
                <a:gd name="T51" fmla="*/ 48989553 h 62"/>
                <a:gd name="T52" fmla="*/ 24631133 w 166"/>
                <a:gd name="T53" fmla="*/ 49792514 h 62"/>
                <a:gd name="T54" fmla="*/ 23149461 w 166"/>
                <a:gd name="T55" fmla="*/ 48989553 h 62"/>
                <a:gd name="T56" fmla="*/ 22038315 w 166"/>
                <a:gd name="T57" fmla="*/ 46579775 h 62"/>
                <a:gd name="T58" fmla="*/ 20741690 w 166"/>
                <a:gd name="T59" fmla="*/ 43367933 h 62"/>
                <a:gd name="T60" fmla="*/ 19630543 w 166"/>
                <a:gd name="T61" fmla="*/ 40155195 h 62"/>
                <a:gd name="T62" fmla="*/ 18519397 w 166"/>
                <a:gd name="T63" fmla="*/ 36139496 h 62"/>
                <a:gd name="T64" fmla="*/ 17223202 w 166"/>
                <a:gd name="T65" fmla="*/ 32927654 h 62"/>
                <a:gd name="T66" fmla="*/ 16112056 w 166"/>
                <a:gd name="T67" fmla="*/ 31320837 h 62"/>
                <a:gd name="T68" fmla="*/ 14630384 w 166"/>
                <a:gd name="T69" fmla="*/ 30517877 h 62"/>
                <a:gd name="T70" fmla="*/ 10370845 w 166"/>
                <a:gd name="T71" fmla="*/ 30517877 h 62"/>
                <a:gd name="T72" fmla="*/ 6481832 w 166"/>
                <a:gd name="T73" fmla="*/ 31320837 h 62"/>
                <a:gd name="T74" fmla="*/ 4815112 w 166"/>
                <a:gd name="T75" fmla="*/ 32927654 h 62"/>
                <a:gd name="T76" fmla="*/ 3518918 w 166"/>
                <a:gd name="T77" fmla="*/ 34533575 h 62"/>
                <a:gd name="T78" fmla="*/ 2222293 w 166"/>
                <a:gd name="T79" fmla="*/ 36942457 h 62"/>
                <a:gd name="T80" fmla="*/ 1296194 w 166"/>
                <a:gd name="T81" fmla="*/ 40155195 h 62"/>
                <a:gd name="T82" fmla="*/ 370526 w 166"/>
                <a:gd name="T83" fmla="*/ 36139496 h 62"/>
                <a:gd name="T84" fmla="*/ 185048 w 166"/>
                <a:gd name="T85" fmla="*/ 32123798 h 62"/>
                <a:gd name="T86" fmla="*/ 0 w 166"/>
                <a:gd name="T87" fmla="*/ 27305138 h 62"/>
                <a:gd name="T88" fmla="*/ 185048 w 166"/>
                <a:gd name="T89" fmla="*/ 22487375 h 62"/>
                <a:gd name="T90" fmla="*/ 740621 w 166"/>
                <a:gd name="T91" fmla="*/ 12046200 h 62"/>
                <a:gd name="T92" fmla="*/ 1296194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2" name="Freeform 337">
              <a:extLst>
                <a:ext uri="{FF2B5EF4-FFF2-40B4-BE49-F238E27FC236}">
                  <a16:creationId xmlns:a16="http://schemas.microsoft.com/office/drawing/2014/main" id="{824E78C9-6D08-458E-B78E-CED36A0478ED}"/>
                </a:ext>
              </a:extLst>
            </p:cNvPr>
            <p:cNvSpPr>
              <a:spLocks/>
            </p:cNvSpPr>
            <p:nvPr>
              <p:custDataLst>
                <p:tags r:id="rId240"/>
              </p:custDataLst>
            </p:nvPr>
          </p:nvSpPr>
          <p:spPr bwMode="auto">
            <a:xfrm>
              <a:off x="7285038" y="4006850"/>
              <a:ext cx="85725" cy="63500"/>
            </a:xfrm>
            <a:custGeom>
              <a:avLst/>
              <a:gdLst>
                <a:gd name="T0" fmla="*/ 6510658 w 193"/>
                <a:gd name="T1" fmla="*/ 9639405 h 121"/>
                <a:gd name="T2" fmla="*/ 9469725 w 193"/>
                <a:gd name="T3" fmla="*/ 6885289 h 121"/>
                <a:gd name="T4" fmla="*/ 13415740 w 193"/>
                <a:gd name="T5" fmla="*/ 3305149 h 121"/>
                <a:gd name="T6" fmla="*/ 16572019 w 193"/>
                <a:gd name="T7" fmla="*/ 1101541 h 121"/>
                <a:gd name="T8" fmla="*/ 18545027 w 193"/>
                <a:gd name="T9" fmla="*/ 275517 h 121"/>
                <a:gd name="T10" fmla="*/ 20715246 w 193"/>
                <a:gd name="T11" fmla="*/ 275517 h 121"/>
                <a:gd name="T12" fmla="*/ 22885466 w 193"/>
                <a:gd name="T13" fmla="*/ 826025 h 121"/>
                <a:gd name="T14" fmla="*/ 25844533 w 193"/>
                <a:gd name="T15" fmla="*/ 2754116 h 121"/>
                <a:gd name="T16" fmla="*/ 29198468 w 193"/>
                <a:gd name="T17" fmla="*/ 5783748 h 121"/>
                <a:gd name="T18" fmla="*/ 31960767 w 193"/>
                <a:gd name="T19" fmla="*/ 7711314 h 121"/>
                <a:gd name="T20" fmla="*/ 34130987 w 193"/>
                <a:gd name="T21" fmla="*/ 8262347 h 121"/>
                <a:gd name="T22" fmla="*/ 35314702 w 193"/>
                <a:gd name="T23" fmla="*/ 13219545 h 121"/>
                <a:gd name="T24" fmla="*/ 35117046 w 193"/>
                <a:gd name="T25" fmla="*/ 18176744 h 121"/>
                <a:gd name="T26" fmla="*/ 35906338 w 193"/>
                <a:gd name="T27" fmla="*/ 20655868 h 121"/>
                <a:gd name="T28" fmla="*/ 36892842 w 193"/>
                <a:gd name="T29" fmla="*/ 24511525 h 121"/>
                <a:gd name="T30" fmla="*/ 37090054 w 193"/>
                <a:gd name="T31" fmla="*/ 28091665 h 121"/>
                <a:gd name="T32" fmla="*/ 37682134 w 193"/>
                <a:gd name="T33" fmla="*/ 30019231 h 121"/>
                <a:gd name="T34" fmla="*/ 37090054 w 193"/>
                <a:gd name="T35" fmla="*/ 31396289 h 121"/>
                <a:gd name="T36" fmla="*/ 34919834 w 193"/>
                <a:gd name="T37" fmla="*/ 32498355 h 121"/>
                <a:gd name="T38" fmla="*/ 31368687 w 193"/>
                <a:gd name="T39" fmla="*/ 33324380 h 121"/>
                <a:gd name="T40" fmla="*/ 22885466 w 193"/>
                <a:gd name="T41" fmla="*/ 32773347 h 121"/>
                <a:gd name="T42" fmla="*/ 14204588 w 193"/>
                <a:gd name="T43" fmla="*/ 31947322 h 121"/>
                <a:gd name="T44" fmla="*/ 12429237 w 193"/>
                <a:gd name="T45" fmla="*/ 30294748 h 121"/>
                <a:gd name="T46" fmla="*/ 11048309 w 193"/>
                <a:gd name="T47" fmla="*/ 27540632 h 121"/>
                <a:gd name="T48" fmla="*/ 10653441 w 193"/>
                <a:gd name="T49" fmla="*/ 23960492 h 121"/>
                <a:gd name="T50" fmla="*/ 9272513 w 193"/>
                <a:gd name="T51" fmla="*/ 21757409 h 121"/>
                <a:gd name="T52" fmla="*/ 6115790 w 193"/>
                <a:gd name="T53" fmla="*/ 20655868 h 121"/>
                <a:gd name="T54" fmla="*/ 2564643 w 193"/>
                <a:gd name="T55" fmla="*/ 19003293 h 121"/>
                <a:gd name="T56" fmla="*/ 592080 w 193"/>
                <a:gd name="T57" fmla="*/ 17075202 h 121"/>
                <a:gd name="T58" fmla="*/ 0 w 193"/>
                <a:gd name="T59" fmla="*/ 15973661 h 121"/>
                <a:gd name="T60" fmla="*/ 197212 w 193"/>
                <a:gd name="T61" fmla="*/ 14045570 h 121"/>
                <a:gd name="T62" fmla="*/ 1380928 w 193"/>
                <a:gd name="T63" fmla="*/ 12393521 h 121"/>
                <a:gd name="T64" fmla="*/ 3945571 w 193"/>
                <a:gd name="T65" fmla="*/ 10465430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3" name="Freeform 338">
              <a:extLst>
                <a:ext uri="{FF2B5EF4-FFF2-40B4-BE49-F238E27FC236}">
                  <a16:creationId xmlns:a16="http://schemas.microsoft.com/office/drawing/2014/main" id="{FAA247F2-294B-4002-B3A5-CEE43F88C03B}"/>
                </a:ext>
              </a:extLst>
            </p:cNvPr>
            <p:cNvSpPr>
              <a:spLocks/>
            </p:cNvSpPr>
            <p:nvPr>
              <p:custDataLst>
                <p:tags r:id="rId241"/>
              </p:custDataLst>
            </p:nvPr>
          </p:nvSpPr>
          <p:spPr bwMode="auto">
            <a:xfrm>
              <a:off x="6973888" y="3944938"/>
              <a:ext cx="166687" cy="230187"/>
            </a:xfrm>
            <a:custGeom>
              <a:avLst/>
              <a:gdLst>
                <a:gd name="T0" fmla="*/ 7156986 w 379"/>
                <a:gd name="T1" fmla="*/ 116256528 h 437"/>
                <a:gd name="T2" fmla="*/ 8897743 w 379"/>
                <a:gd name="T3" fmla="*/ 112926967 h 437"/>
                <a:gd name="T4" fmla="*/ 4642167 w 379"/>
                <a:gd name="T5" fmla="*/ 86290475 h 437"/>
                <a:gd name="T6" fmla="*/ 387031 w 379"/>
                <a:gd name="T7" fmla="*/ 81573465 h 437"/>
                <a:gd name="T8" fmla="*/ 2901409 w 379"/>
                <a:gd name="T9" fmla="*/ 74914342 h 437"/>
                <a:gd name="T10" fmla="*/ 5996334 w 379"/>
                <a:gd name="T11" fmla="*/ 61319028 h 437"/>
                <a:gd name="T12" fmla="*/ 7543576 w 379"/>
                <a:gd name="T13" fmla="*/ 47723187 h 437"/>
                <a:gd name="T14" fmla="*/ 11025531 w 379"/>
                <a:gd name="T15" fmla="*/ 44116557 h 437"/>
                <a:gd name="T16" fmla="*/ 12572774 w 379"/>
                <a:gd name="T17" fmla="*/ 36069986 h 437"/>
                <a:gd name="T18" fmla="*/ 14700562 w 379"/>
                <a:gd name="T19" fmla="*/ 21641886 h 437"/>
                <a:gd name="T20" fmla="*/ 17408896 w 379"/>
                <a:gd name="T21" fmla="*/ 14150504 h 437"/>
                <a:gd name="T22" fmla="*/ 22244578 w 379"/>
                <a:gd name="T23" fmla="*/ 8601235 h 437"/>
                <a:gd name="T24" fmla="*/ 29595079 w 379"/>
                <a:gd name="T25" fmla="*/ 6936718 h 437"/>
                <a:gd name="T26" fmla="*/ 41974337 w 379"/>
                <a:gd name="T27" fmla="*/ 10543348 h 437"/>
                <a:gd name="T28" fmla="*/ 50679005 w 379"/>
                <a:gd name="T29" fmla="*/ 13318246 h 437"/>
                <a:gd name="T30" fmla="*/ 58609612 w 379"/>
                <a:gd name="T31" fmla="*/ 12485987 h 437"/>
                <a:gd name="T32" fmla="*/ 63638810 w 379"/>
                <a:gd name="T33" fmla="*/ 8601235 h 437"/>
                <a:gd name="T34" fmla="*/ 68861083 w 379"/>
                <a:gd name="T35" fmla="*/ 1942112 h 437"/>
                <a:gd name="T36" fmla="*/ 72343038 w 379"/>
                <a:gd name="T37" fmla="*/ 2497303 h 437"/>
                <a:gd name="T38" fmla="*/ 71956007 w 379"/>
                <a:gd name="T39" fmla="*/ 9711089 h 437"/>
                <a:gd name="T40" fmla="*/ 63638810 w 379"/>
                <a:gd name="T41" fmla="*/ 22197076 h 437"/>
                <a:gd name="T42" fmla="*/ 56481824 w 379"/>
                <a:gd name="T43" fmla="*/ 26913560 h 437"/>
                <a:gd name="T44" fmla="*/ 52419763 w 379"/>
                <a:gd name="T45" fmla="*/ 26081301 h 437"/>
                <a:gd name="T46" fmla="*/ 46036399 w 379"/>
                <a:gd name="T47" fmla="*/ 19144583 h 437"/>
                <a:gd name="T48" fmla="*/ 41007201 w 379"/>
                <a:gd name="T49" fmla="*/ 15537953 h 437"/>
                <a:gd name="T50" fmla="*/ 34237246 w 379"/>
                <a:gd name="T51" fmla="*/ 15537953 h 437"/>
                <a:gd name="T52" fmla="*/ 26693230 w 379"/>
                <a:gd name="T53" fmla="*/ 16925402 h 437"/>
                <a:gd name="T54" fmla="*/ 22051063 w 379"/>
                <a:gd name="T55" fmla="*/ 21919481 h 437"/>
                <a:gd name="T56" fmla="*/ 15281108 w 379"/>
                <a:gd name="T57" fmla="*/ 44671221 h 437"/>
                <a:gd name="T58" fmla="*/ 23018199 w 379"/>
                <a:gd name="T59" fmla="*/ 46890929 h 437"/>
                <a:gd name="T60" fmla="*/ 25726093 w 379"/>
                <a:gd name="T61" fmla="*/ 52994861 h 437"/>
                <a:gd name="T62" fmla="*/ 29981670 w 379"/>
                <a:gd name="T63" fmla="*/ 46613333 h 437"/>
                <a:gd name="T64" fmla="*/ 33270109 w 379"/>
                <a:gd name="T65" fmla="*/ 42451513 h 437"/>
                <a:gd name="T66" fmla="*/ 42747959 w 379"/>
                <a:gd name="T67" fmla="*/ 41619255 h 437"/>
                <a:gd name="T68" fmla="*/ 48357702 w 379"/>
                <a:gd name="T69" fmla="*/ 40786996 h 437"/>
                <a:gd name="T70" fmla="*/ 52806354 w 379"/>
                <a:gd name="T71" fmla="*/ 48000782 h 437"/>
                <a:gd name="T72" fmla="*/ 53967005 w 379"/>
                <a:gd name="T73" fmla="*/ 56324423 h 437"/>
                <a:gd name="T74" fmla="*/ 47584081 w 379"/>
                <a:gd name="T75" fmla="*/ 53272456 h 437"/>
                <a:gd name="T76" fmla="*/ 42167853 w 379"/>
                <a:gd name="T77" fmla="*/ 51330344 h 437"/>
                <a:gd name="T78" fmla="*/ 37138655 w 379"/>
                <a:gd name="T79" fmla="*/ 54104715 h 437"/>
                <a:gd name="T80" fmla="*/ 35978004 w 379"/>
                <a:gd name="T81" fmla="*/ 57989467 h 437"/>
                <a:gd name="T82" fmla="*/ 37138655 w 379"/>
                <a:gd name="T83" fmla="*/ 64648590 h 437"/>
                <a:gd name="T84" fmla="*/ 42554883 w 379"/>
                <a:gd name="T85" fmla="*/ 75469532 h 437"/>
                <a:gd name="T86" fmla="*/ 43522020 w 379"/>
                <a:gd name="T87" fmla="*/ 82128655 h 437"/>
                <a:gd name="T88" fmla="*/ 41587747 w 379"/>
                <a:gd name="T89" fmla="*/ 89342442 h 437"/>
                <a:gd name="T90" fmla="*/ 39653474 w 379"/>
                <a:gd name="T91" fmla="*/ 95723970 h 437"/>
                <a:gd name="T92" fmla="*/ 40620610 w 379"/>
                <a:gd name="T93" fmla="*/ 98776463 h 437"/>
                <a:gd name="T94" fmla="*/ 45649808 w 379"/>
                <a:gd name="T95" fmla="*/ 102106024 h 437"/>
                <a:gd name="T96" fmla="*/ 48744293 w 379"/>
                <a:gd name="T97" fmla="*/ 110984328 h 437"/>
                <a:gd name="T98" fmla="*/ 46229914 w 379"/>
                <a:gd name="T99" fmla="*/ 119030900 h 437"/>
                <a:gd name="T100" fmla="*/ 42747959 w 379"/>
                <a:gd name="T101" fmla="*/ 116811192 h 437"/>
                <a:gd name="T102" fmla="*/ 39072928 w 379"/>
                <a:gd name="T103" fmla="*/ 115701338 h 437"/>
                <a:gd name="T104" fmla="*/ 34237246 w 379"/>
                <a:gd name="T105" fmla="*/ 110984328 h 437"/>
                <a:gd name="T106" fmla="*/ 29595079 w 379"/>
                <a:gd name="T107" fmla="*/ 98776463 h 437"/>
                <a:gd name="T108" fmla="*/ 26500154 w 379"/>
                <a:gd name="T109" fmla="*/ 84348363 h 437"/>
                <a:gd name="T110" fmla="*/ 22051063 w 379"/>
                <a:gd name="T111" fmla="*/ 72972230 h 437"/>
                <a:gd name="T112" fmla="*/ 18762623 w 379"/>
                <a:gd name="T113" fmla="*/ 71862376 h 437"/>
                <a:gd name="T114" fmla="*/ 20310305 w 379"/>
                <a:gd name="T115" fmla="*/ 105712654 h 437"/>
                <a:gd name="T116" fmla="*/ 17989002 w 379"/>
                <a:gd name="T117" fmla="*/ 112094182 h 437"/>
                <a:gd name="T118" fmla="*/ 11025531 w 379"/>
                <a:gd name="T119" fmla="*/ 118198641 h 437"/>
                <a:gd name="T120" fmla="*/ 11412562 w 379"/>
                <a:gd name="T121" fmla="*/ 12125060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4" name="Freeform 339">
              <a:extLst>
                <a:ext uri="{FF2B5EF4-FFF2-40B4-BE49-F238E27FC236}">
                  <a16:creationId xmlns:a16="http://schemas.microsoft.com/office/drawing/2014/main" id="{AA0672E1-AB2B-4204-91B3-15A358D26EF8}"/>
                </a:ext>
              </a:extLst>
            </p:cNvPr>
            <p:cNvSpPr>
              <a:spLocks/>
            </p:cNvSpPr>
            <p:nvPr>
              <p:custDataLst>
                <p:tags r:id="rId242"/>
              </p:custDataLst>
            </p:nvPr>
          </p:nvSpPr>
          <p:spPr bwMode="auto">
            <a:xfrm>
              <a:off x="6638925" y="4186238"/>
              <a:ext cx="250825" cy="95250"/>
            </a:xfrm>
            <a:custGeom>
              <a:avLst/>
              <a:gdLst>
                <a:gd name="T0" fmla="*/ 2071259 w 578"/>
                <a:gd name="T1" fmla="*/ 13398673 h 184"/>
                <a:gd name="T2" fmla="*/ 4519623 w 578"/>
                <a:gd name="T3" fmla="*/ 8575088 h 184"/>
                <a:gd name="T4" fmla="*/ 7720897 w 578"/>
                <a:gd name="T5" fmla="*/ 1876011 h 184"/>
                <a:gd name="T6" fmla="*/ 10168827 w 578"/>
                <a:gd name="T7" fmla="*/ 0 h 184"/>
                <a:gd name="T8" fmla="*/ 14876787 w 578"/>
                <a:gd name="T9" fmla="*/ 535781 h 184"/>
                <a:gd name="T10" fmla="*/ 17890158 w 578"/>
                <a:gd name="T11" fmla="*/ 535781 h 184"/>
                <a:gd name="T12" fmla="*/ 19019739 w 578"/>
                <a:gd name="T13" fmla="*/ 1339712 h 184"/>
                <a:gd name="T14" fmla="*/ 21656439 w 578"/>
                <a:gd name="T15" fmla="*/ 4019654 h 184"/>
                <a:gd name="T16" fmla="*/ 27682314 w 578"/>
                <a:gd name="T17" fmla="*/ 7235376 h 184"/>
                <a:gd name="T18" fmla="*/ 31636930 w 578"/>
                <a:gd name="T19" fmla="*/ 9915318 h 184"/>
                <a:gd name="T20" fmla="*/ 33520288 w 578"/>
                <a:gd name="T21" fmla="*/ 14202603 h 184"/>
                <a:gd name="T22" fmla="*/ 36156554 w 578"/>
                <a:gd name="T23" fmla="*/ 16346246 h 184"/>
                <a:gd name="T24" fmla="*/ 43500779 w 578"/>
                <a:gd name="T25" fmla="*/ 16078614 h 184"/>
                <a:gd name="T26" fmla="*/ 52163355 w 578"/>
                <a:gd name="T27" fmla="*/ 13666822 h 184"/>
                <a:gd name="T28" fmla="*/ 56306307 w 578"/>
                <a:gd name="T29" fmla="*/ 10451099 h 184"/>
                <a:gd name="T30" fmla="*/ 59130909 w 578"/>
                <a:gd name="T31" fmla="*/ 9111387 h 184"/>
                <a:gd name="T32" fmla="*/ 61579273 w 578"/>
                <a:gd name="T33" fmla="*/ 9379019 h 184"/>
                <a:gd name="T34" fmla="*/ 63838868 w 578"/>
                <a:gd name="T35" fmla="*/ 8307457 h 184"/>
                <a:gd name="T36" fmla="*/ 68923499 w 578"/>
                <a:gd name="T37" fmla="*/ 9111387 h 184"/>
                <a:gd name="T38" fmla="*/ 75137710 w 578"/>
                <a:gd name="T39" fmla="*/ 15810465 h 184"/>
                <a:gd name="T40" fmla="*/ 80599012 w 578"/>
                <a:gd name="T41" fmla="*/ 23849772 h 184"/>
                <a:gd name="T42" fmla="*/ 85871978 w 578"/>
                <a:gd name="T43" fmla="*/ 28137575 h 184"/>
                <a:gd name="T44" fmla="*/ 90203266 w 578"/>
                <a:gd name="T45" fmla="*/ 28673356 h 184"/>
                <a:gd name="T46" fmla="*/ 92839532 w 578"/>
                <a:gd name="T47" fmla="*/ 28941505 h 184"/>
                <a:gd name="T48" fmla="*/ 95099127 w 578"/>
                <a:gd name="T49" fmla="*/ 33496940 h 184"/>
                <a:gd name="T50" fmla="*/ 98300834 w 578"/>
                <a:gd name="T51" fmla="*/ 37516594 h 184"/>
                <a:gd name="T52" fmla="*/ 100560429 w 578"/>
                <a:gd name="T53" fmla="*/ 37248444 h 184"/>
                <a:gd name="T54" fmla="*/ 102820024 w 578"/>
                <a:gd name="T55" fmla="*/ 34300871 h 184"/>
                <a:gd name="T56" fmla="*/ 105080053 w 578"/>
                <a:gd name="T57" fmla="*/ 35908732 h 184"/>
                <a:gd name="T58" fmla="*/ 107527983 w 578"/>
                <a:gd name="T59" fmla="*/ 38856306 h 184"/>
                <a:gd name="T60" fmla="*/ 108846333 w 578"/>
                <a:gd name="T61" fmla="*/ 42875959 h 184"/>
                <a:gd name="T62" fmla="*/ 108281326 w 578"/>
                <a:gd name="T63" fmla="*/ 46359832 h 184"/>
                <a:gd name="T64" fmla="*/ 106775074 w 578"/>
                <a:gd name="T65" fmla="*/ 48771624 h 184"/>
                <a:gd name="T66" fmla="*/ 103761703 w 578"/>
                <a:gd name="T67" fmla="*/ 47699543 h 184"/>
                <a:gd name="T68" fmla="*/ 99053743 w 578"/>
                <a:gd name="T69" fmla="*/ 45555901 h 184"/>
                <a:gd name="T70" fmla="*/ 92462861 w 578"/>
                <a:gd name="T71" fmla="*/ 46091682 h 184"/>
                <a:gd name="T72" fmla="*/ 87001559 w 578"/>
                <a:gd name="T73" fmla="*/ 45555901 h 184"/>
                <a:gd name="T74" fmla="*/ 84930300 w 578"/>
                <a:gd name="T75" fmla="*/ 42875959 h 184"/>
                <a:gd name="T76" fmla="*/ 82482369 w 578"/>
                <a:gd name="T77" fmla="*/ 41268098 h 184"/>
                <a:gd name="T78" fmla="*/ 80222340 w 578"/>
                <a:gd name="T79" fmla="*/ 42875959 h 184"/>
                <a:gd name="T80" fmla="*/ 78339417 w 578"/>
                <a:gd name="T81" fmla="*/ 45555901 h 184"/>
                <a:gd name="T82" fmla="*/ 74949374 w 578"/>
                <a:gd name="T83" fmla="*/ 45823533 h 184"/>
                <a:gd name="T84" fmla="*/ 61767609 w 578"/>
                <a:gd name="T85" fmla="*/ 40999948 h 184"/>
                <a:gd name="T86" fmla="*/ 52163355 w 578"/>
                <a:gd name="T87" fmla="*/ 35372951 h 184"/>
                <a:gd name="T88" fmla="*/ 50092096 w 578"/>
                <a:gd name="T89" fmla="*/ 32961159 h 184"/>
                <a:gd name="T90" fmla="*/ 43312444 w 578"/>
                <a:gd name="T91" fmla="*/ 31889079 h 184"/>
                <a:gd name="T92" fmla="*/ 37851575 w 578"/>
                <a:gd name="T93" fmla="*/ 30281217 h 184"/>
                <a:gd name="T94" fmla="*/ 31636930 w 578"/>
                <a:gd name="T95" fmla="*/ 29745436 h 184"/>
                <a:gd name="T96" fmla="*/ 27493978 w 578"/>
                <a:gd name="T97" fmla="*/ 29745436 h 184"/>
                <a:gd name="T98" fmla="*/ 23351026 w 578"/>
                <a:gd name="T99" fmla="*/ 28137575 h 184"/>
                <a:gd name="T100" fmla="*/ 22597683 w 578"/>
                <a:gd name="T101" fmla="*/ 26529713 h 184"/>
                <a:gd name="T102" fmla="*/ 12993863 w 578"/>
                <a:gd name="T103" fmla="*/ 25993414 h 184"/>
                <a:gd name="T104" fmla="*/ 8662576 w 578"/>
                <a:gd name="T105" fmla="*/ 23581622 h 184"/>
                <a:gd name="T106" fmla="*/ 0 w 578"/>
                <a:gd name="T107" fmla="*/ 14738385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5" name="Freeform 340">
              <a:extLst>
                <a:ext uri="{FF2B5EF4-FFF2-40B4-BE49-F238E27FC236}">
                  <a16:creationId xmlns:a16="http://schemas.microsoft.com/office/drawing/2014/main" id="{9B928309-60A4-4AEE-8E23-E6E9BE9C44D5}"/>
                </a:ext>
              </a:extLst>
            </p:cNvPr>
            <p:cNvSpPr>
              <a:spLocks/>
            </p:cNvSpPr>
            <p:nvPr>
              <p:custDataLst>
                <p:tags r:id="rId243"/>
              </p:custDataLst>
            </p:nvPr>
          </p:nvSpPr>
          <p:spPr bwMode="auto">
            <a:xfrm>
              <a:off x="7319963" y="4043363"/>
              <a:ext cx="214312" cy="252412"/>
            </a:xfrm>
            <a:custGeom>
              <a:avLst/>
              <a:gdLst>
                <a:gd name="T0" fmla="*/ 91828545 w 491"/>
                <a:gd name="T1" fmla="*/ 131907046 h 481"/>
                <a:gd name="T2" fmla="*/ 87065669 w 491"/>
                <a:gd name="T3" fmla="*/ 128052106 h 481"/>
                <a:gd name="T4" fmla="*/ 80397554 w 491"/>
                <a:gd name="T5" fmla="*/ 119515194 h 481"/>
                <a:gd name="T6" fmla="*/ 78492316 w 491"/>
                <a:gd name="T7" fmla="*/ 114833746 h 481"/>
                <a:gd name="T8" fmla="*/ 71633895 w 491"/>
                <a:gd name="T9" fmla="*/ 112906277 h 481"/>
                <a:gd name="T10" fmla="*/ 68585514 w 491"/>
                <a:gd name="T11" fmla="*/ 111804266 h 481"/>
                <a:gd name="T12" fmla="*/ 66680276 w 491"/>
                <a:gd name="T13" fmla="*/ 109050812 h 481"/>
                <a:gd name="T14" fmla="*/ 65918181 w 491"/>
                <a:gd name="T15" fmla="*/ 102992376 h 481"/>
                <a:gd name="T16" fmla="*/ 65156086 w 491"/>
                <a:gd name="T17" fmla="*/ 91426507 h 481"/>
                <a:gd name="T18" fmla="*/ 62298447 w 491"/>
                <a:gd name="T19" fmla="*/ 83440076 h 481"/>
                <a:gd name="T20" fmla="*/ 60774257 w 491"/>
                <a:gd name="T21" fmla="*/ 76280678 h 481"/>
                <a:gd name="T22" fmla="*/ 59821856 w 491"/>
                <a:gd name="T23" fmla="*/ 67192760 h 481"/>
                <a:gd name="T24" fmla="*/ 55630332 w 491"/>
                <a:gd name="T25" fmla="*/ 61409826 h 481"/>
                <a:gd name="T26" fmla="*/ 49534007 w 491"/>
                <a:gd name="T27" fmla="*/ 56452876 h 481"/>
                <a:gd name="T28" fmla="*/ 42103797 w 491"/>
                <a:gd name="T29" fmla="*/ 52322434 h 481"/>
                <a:gd name="T30" fmla="*/ 33911928 w 491"/>
                <a:gd name="T31" fmla="*/ 49843958 h 481"/>
                <a:gd name="T32" fmla="*/ 25338575 w 491"/>
                <a:gd name="T33" fmla="*/ 49017975 h 481"/>
                <a:gd name="T34" fmla="*/ 25338575 w 491"/>
                <a:gd name="T35" fmla="*/ 42959538 h 481"/>
                <a:gd name="T36" fmla="*/ 20956746 w 491"/>
                <a:gd name="T37" fmla="*/ 39930057 h 481"/>
                <a:gd name="T38" fmla="*/ 16193869 w 491"/>
                <a:gd name="T39" fmla="*/ 35799615 h 481"/>
                <a:gd name="T40" fmla="*/ 12574135 w 491"/>
                <a:gd name="T41" fmla="*/ 30567162 h 481"/>
                <a:gd name="T42" fmla="*/ 13907583 w 491"/>
                <a:gd name="T43" fmla="*/ 36625599 h 481"/>
                <a:gd name="T44" fmla="*/ 10287849 w 491"/>
                <a:gd name="T45" fmla="*/ 40481063 h 481"/>
                <a:gd name="T46" fmla="*/ 7620516 w 491"/>
                <a:gd name="T47" fmla="*/ 49017975 h 481"/>
                <a:gd name="T48" fmla="*/ 4572571 w 491"/>
                <a:gd name="T49" fmla="*/ 60583843 h 481"/>
                <a:gd name="T50" fmla="*/ 2476591 w 491"/>
                <a:gd name="T51" fmla="*/ 72975694 h 481"/>
                <a:gd name="T52" fmla="*/ 2667333 w 491"/>
                <a:gd name="T53" fmla="*/ 65265291 h 481"/>
                <a:gd name="T54" fmla="*/ 4381829 w 491"/>
                <a:gd name="T55" fmla="*/ 57554362 h 481"/>
                <a:gd name="T56" fmla="*/ 6096325 w 491"/>
                <a:gd name="T57" fmla="*/ 49843958 h 481"/>
                <a:gd name="T58" fmla="*/ 5715278 w 491"/>
                <a:gd name="T59" fmla="*/ 39379577 h 481"/>
                <a:gd name="T60" fmla="*/ 3238686 w 491"/>
                <a:gd name="T61" fmla="*/ 30567162 h 481"/>
                <a:gd name="T62" fmla="*/ 0 w 491"/>
                <a:gd name="T63" fmla="*/ 20102780 h 481"/>
                <a:gd name="T64" fmla="*/ 6477373 w 491"/>
                <a:gd name="T65" fmla="*/ 16247316 h 481"/>
                <a:gd name="T66" fmla="*/ 11240250 w 491"/>
                <a:gd name="T67" fmla="*/ 15145830 h 481"/>
                <a:gd name="T68" fmla="*/ 16003127 w 491"/>
                <a:gd name="T69" fmla="*/ 15971813 h 481"/>
                <a:gd name="T70" fmla="*/ 19432555 w 491"/>
                <a:gd name="T71" fmla="*/ 18175310 h 481"/>
                <a:gd name="T72" fmla="*/ 23052289 w 491"/>
                <a:gd name="T73" fmla="*/ 22581255 h 481"/>
                <a:gd name="T74" fmla="*/ 26672023 w 491"/>
                <a:gd name="T75" fmla="*/ 30567162 h 481"/>
                <a:gd name="T76" fmla="*/ 34864329 w 491"/>
                <a:gd name="T77" fmla="*/ 28364189 h 481"/>
                <a:gd name="T78" fmla="*/ 37340920 w 491"/>
                <a:gd name="T79" fmla="*/ 26436720 h 481"/>
                <a:gd name="T80" fmla="*/ 38103015 w 491"/>
                <a:gd name="T81" fmla="*/ 24784228 h 481"/>
                <a:gd name="T82" fmla="*/ 39436463 w 491"/>
                <a:gd name="T83" fmla="*/ 20102780 h 481"/>
                <a:gd name="T84" fmla="*/ 44199777 w 491"/>
                <a:gd name="T85" fmla="*/ 14870327 h 481"/>
                <a:gd name="T86" fmla="*/ 48390864 w 491"/>
                <a:gd name="T87" fmla="*/ 13493863 h 481"/>
                <a:gd name="T88" fmla="*/ 50105360 w 491"/>
                <a:gd name="T89" fmla="*/ 8261409 h 481"/>
                <a:gd name="T90" fmla="*/ 53344483 w 491"/>
                <a:gd name="T91" fmla="*/ 2478475 h 481"/>
                <a:gd name="T92" fmla="*/ 57154522 w 491"/>
                <a:gd name="T93" fmla="*/ 275503 h 481"/>
                <a:gd name="T94" fmla="*/ 61536352 w 491"/>
                <a:gd name="T95" fmla="*/ 0 h 481"/>
                <a:gd name="T96" fmla="*/ 66871018 w 491"/>
                <a:gd name="T97" fmla="*/ 2202973 h 481"/>
                <a:gd name="T98" fmla="*/ 76015724 w 491"/>
                <a:gd name="T99" fmla="*/ 10464382 h 481"/>
                <a:gd name="T100" fmla="*/ 81540696 w 491"/>
                <a:gd name="T101" fmla="*/ 14595349 h 481"/>
                <a:gd name="T102" fmla="*/ 87446716 w 491"/>
                <a:gd name="T103" fmla="*/ 16522819 h 481"/>
                <a:gd name="T104" fmla="*/ 93543041 w 491"/>
                <a:gd name="T105" fmla="*/ 18450288 h 481"/>
                <a:gd name="T106" fmla="*/ 93543041 w 491"/>
                <a:gd name="T107" fmla="*/ 89774016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6" name="Freeform 341">
              <a:extLst>
                <a:ext uri="{FF2B5EF4-FFF2-40B4-BE49-F238E27FC236}">
                  <a16:creationId xmlns:a16="http://schemas.microsoft.com/office/drawing/2014/main" id="{456550B0-BA45-41D0-90AB-B8A89C0C8D5F}"/>
                </a:ext>
              </a:extLst>
            </p:cNvPr>
            <p:cNvSpPr>
              <a:spLocks/>
            </p:cNvSpPr>
            <p:nvPr>
              <p:custDataLst>
                <p:tags r:id="rId244"/>
              </p:custDataLst>
            </p:nvPr>
          </p:nvSpPr>
          <p:spPr bwMode="auto">
            <a:xfrm>
              <a:off x="5851525" y="2874963"/>
              <a:ext cx="53975" cy="60325"/>
            </a:xfrm>
            <a:custGeom>
              <a:avLst/>
              <a:gdLst>
                <a:gd name="T0" fmla="*/ 0 w 133"/>
                <a:gd name="T1" fmla="*/ 5050801 h 117"/>
                <a:gd name="T2" fmla="*/ 11858267 w 133"/>
                <a:gd name="T3" fmla="*/ 0 h 117"/>
                <a:gd name="T4" fmla="*/ 13340347 w 133"/>
                <a:gd name="T5" fmla="*/ 1595261 h 117"/>
                <a:gd name="T6" fmla="*/ 14987194 w 133"/>
                <a:gd name="T7" fmla="*/ 3721588 h 117"/>
                <a:gd name="T8" fmla="*/ 16634446 w 133"/>
                <a:gd name="T9" fmla="*/ 6646062 h 117"/>
                <a:gd name="T10" fmla="*/ 17951760 w 133"/>
                <a:gd name="T11" fmla="*/ 9836069 h 117"/>
                <a:gd name="T12" fmla="*/ 19434247 w 133"/>
                <a:gd name="T13" fmla="*/ 13026075 h 117"/>
                <a:gd name="T14" fmla="*/ 20751561 w 133"/>
                <a:gd name="T15" fmla="*/ 16482131 h 117"/>
                <a:gd name="T16" fmla="*/ 21081093 w 133"/>
                <a:gd name="T17" fmla="*/ 18077392 h 117"/>
                <a:gd name="T18" fmla="*/ 21410624 w 133"/>
                <a:gd name="T19" fmla="*/ 19672137 h 117"/>
                <a:gd name="T20" fmla="*/ 21574984 w 133"/>
                <a:gd name="T21" fmla="*/ 21267398 h 117"/>
                <a:gd name="T22" fmla="*/ 21904516 w 133"/>
                <a:gd name="T23" fmla="*/ 22862144 h 117"/>
                <a:gd name="T24" fmla="*/ 21574984 w 133"/>
                <a:gd name="T25" fmla="*/ 24457405 h 117"/>
                <a:gd name="T26" fmla="*/ 21081093 w 133"/>
                <a:gd name="T27" fmla="*/ 25786617 h 117"/>
                <a:gd name="T28" fmla="*/ 20422436 w 133"/>
                <a:gd name="T29" fmla="*/ 27115830 h 117"/>
                <a:gd name="T30" fmla="*/ 19434247 w 133"/>
                <a:gd name="T31" fmla="*/ 28445042 h 117"/>
                <a:gd name="T32" fmla="*/ 18610418 w 133"/>
                <a:gd name="T33" fmla="*/ 29508206 h 117"/>
                <a:gd name="T34" fmla="*/ 17622229 w 133"/>
                <a:gd name="T35" fmla="*/ 30305836 h 117"/>
                <a:gd name="T36" fmla="*/ 16963571 w 133"/>
                <a:gd name="T37" fmla="*/ 31103467 h 117"/>
                <a:gd name="T38" fmla="*/ 16469680 w 133"/>
                <a:gd name="T39" fmla="*/ 31103467 h 117"/>
                <a:gd name="T40" fmla="*/ 11858267 w 133"/>
                <a:gd name="T41" fmla="*/ 25255035 h 117"/>
                <a:gd name="T42" fmla="*/ 7411214 w 133"/>
                <a:gd name="T43" fmla="*/ 18608974 h 117"/>
                <a:gd name="T44" fmla="*/ 5270070 w 133"/>
                <a:gd name="T45" fmla="*/ 15418967 h 117"/>
                <a:gd name="T46" fmla="*/ 2964567 w 133"/>
                <a:gd name="T47" fmla="*/ 12228960 h 117"/>
                <a:gd name="T48" fmla="*/ 1317720 w 133"/>
                <a:gd name="T49" fmla="*/ 8772905 h 117"/>
                <a:gd name="T50" fmla="*/ 0 w 133"/>
                <a:gd name="T51" fmla="*/ 5050801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257" name="Freeform 342">
              <a:extLst>
                <a:ext uri="{FF2B5EF4-FFF2-40B4-BE49-F238E27FC236}">
                  <a16:creationId xmlns:a16="http://schemas.microsoft.com/office/drawing/2014/main" id="{8BE0B004-59B3-40D9-85F5-0BD893FD8818}"/>
                </a:ext>
              </a:extLst>
            </p:cNvPr>
            <p:cNvSpPr>
              <a:spLocks/>
            </p:cNvSpPr>
            <p:nvPr>
              <p:custDataLst>
                <p:tags r:id="rId245"/>
              </p:custDataLst>
            </p:nvPr>
          </p:nvSpPr>
          <p:spPr bwMode="auto">
            <a:xfrm>
              <a:off x="4308475" y="2279650"/>
              <a:ext cx="220663" cy="177800"/>
            </a:xfrm>
            <a:custGeom>
              <a:avLst/>
              <a:gdLst>
                <a:gd name="T0" fmla="*/ 51933146 w 505"/>
                <a:gd name="T1" fmla="*/ 9902778 h 339"/>
                <a:gd name="T2" fmla="*/ 92410606 w 505"/>
                <a:gd name="T3" fmla="*/ 23657365 h 339"/>
                <a:gd name="T4" fmla="*/ 91264906 w 505"/>
                <a:gd name="T5" fmla="*/ 29984213 h 339"/>
                <a:gd name="T6" fmla="*/ 89928256 w 505"/>
                <a:gd name="T7" fmla="*/ 35485523 h 339"/>
                <a:gd name="T8" fmla="*/ 88019194 w 505"/>
                <a:gd name="T9" fmla="*/ 39886991 h 339"/>
                <a:gd name="T10" fmla="*/ 86109694 w 505"/>
                <a:gd name="T11" fmla="*/ 42087725 h 339"/>
                <a:gd name="T12" fmla="*/ 88019194 w 505"/>
                <a:gd name="T13" fmla="*/ 50615307 h 339"/>
                <a:gd name="T14" fmla="*/ 91073956 w 505"/>
                <a:gd name="T15" fmla="*/ 59142888 h 339"/>
                <a:gd name="T16" fmla="*/ 96420118 w 505"/>
                <a:gd name="T17" fmla="*/ 70971571 h 339"/>
                <a:gd name="T18" fmla="*/ 94129155 w 505"/>
                <a:gd name="T19" fmla="*/ 74547501 h 339"/>
                <a:gd name="T20" fmla="*/ 91455856 w 505"/>
                <a:gd name="T21" fmla="*/ 80324166 h 339"/>
                <a:gd name="T22" fmla="*/ 89355843 w 505"/>
                <a:gd name="T23" fmla="*/ 86376184 h 339"/>
                <a:gd name="T24" fmla="*/ 88592043 w 505"/>
                <a:gd name="T25" fmla="*/ 93253215 h 339"/>
                <a:gd name="T26" fmla="*/ 84582531 w 505"/>
                <a:gd name="T27" fmla="*/ 92978386 h 339"/>
                <a:gd name="T28" fmla="*/ 79045419 w 505"/>
                <a:gd name="T29" fmla="*/ 92152848 h 339"/>
                <a:gd name="T30" fmla="*/ 73508307 w 505"/>
                <a:gd name="T31" fmla="*/ 91052481 h 339"/>
                <a:gd name="T32" fmla="*/ 68353095 w 505"/>
                <a:gd name="T33" fmla="*/ 89677285 h 339"/>
                <a:gd name="T34" fmla="*/ 58043108 w 505"/>
                <a:gd name="T35" fmla="*/ 89401931 h 339"/>
                <a:gd name="T36" fmla="*/ 50405547 w 505"/>
                <a:gd name="T37" fmla="*/ 88301564 h 339"/>
                <a:gd name="T38" fmla="*/ 47350784 w 505"/>
                <a:gd name="T39" fmla="*/ 87201197 h 339"/>
                <a:gd name="T40" fmla="*/ 44296022 w 505"/>
                <a:gd name="T41" fmla="*/ 85275817 h 339"/>
                <a:gd name="T42" fmla="*/ 40668409 w 505"/>
                <a:gd name="T43" fmla="*/ 82524900 h 339"/>
                <a:gd name="T44" fmla="*/ 34367498 w 505"/>
                <a:gd name="T45" fmla="*/ 79499153 h 339"/>
                <a:gd name="T46" fmla="*/ 27876073 w 505"/>
                <a:gd name="T47" fmla="*/ 75097685 h 339"/>
                <a:gd name="T48" fmla="*/ 18711348 w 505"/>
                <a:gd name="T49" fmla="*/ 68495483 h 339"/>
                <a:gd name="T50" fmla="*/ 11837587 w 505"/>
                <a:gd name="T51" fmla="*/ 56667325 h 339"/>
                <a:gd name="T52" fmla="*/ 9928524 w 505"/>
                <a:gd name="T53" fmla="*/ 46489193 h 339"/>
                <a:gd name="T54" fmla="*/ 6873325 w 505"/>
                <a:gd name="T55" fmla="*/ 34110327 h 339"/>
                <a:gd name="T56" fmla="*/ 2863812 w 505"/>
                <a:gd name="T57" fmla="*/ 22831828 h 339"/>
                <a:gd name="T58" fmla="*/ 381900 w 505"/>
                <a:gd name="T59" fmla="*/ 17605347 h 339"/>
                <a:gd name="T60" fmla="*/ 954750 w 505"/>
                <a:gd name="T61" fmla="*/ 16780334 h 339"/>
                <a:gd name="T62" fmla="*/ 2100450 w 505"/>
                <a:gd name="T63" fmla="*/ 15404613 h 339"/>
                <a:gd name="T64" fmla="*/ 2100450 w 505"/>
                <a:gd name="T65" fmla="*/ 13203879 h 339"/>
                <a:gd name="T66" fmla="*/ 2100450 w 505"/>
                <a:gd name="T67" fmla="*/ 11828683 h 339"/>
                <a:gd name="T68" fmla="*/ 6491862 w 505"/>
                <a:gd name="T69" fmla="*/ 9352595 h 339"/>
                <a:gd name="T70" fmla="*/ 13938036 w 505"/>
                <a:gd name="T71" fmla="*/ 6052018 h 339"/>
                <a:gd name="T72" fmla="*/ 24438973 w 505"/>
                <a:gd name="T73" fmla="*/ 2200734 h 339"/>
                <a:gd name="T74" fmla="*/ 33030848 w 505"/>
                <a:gd name="T75" fmla="*/ 3025747 h 339"/>
                <a:gd name="T76" fmla="*/ 35895097 w 505"/>
                <a:gd name="T77" fmla="*/ 7702569 h 339"/>
                <a:gd name="T78" fmla="*/ 38377010 w 505"/>
                <a:gd name="T79" fmla="*/ 9627949 h 339"/>
                <a:gd name="T80" fmla="*/ 41813672 w 505"/>
                <a:gd name="T81" fmla="*/ 9902778 h 339"/>
                <a:gd name="T82" fmla="*/ 45632671 w 505"/>
                <a:gd name="T83" fmla="*/ 9902778 h 339"/>
                <a:gd name="T84" fmla="*/ 49451234 w 505"/>
                <a:gd name="T85" fmla="*/ 6602202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258" name="Freeform 343">
              <a:extLst>
                <a:ext uri="{FF2B5EF4-FFF2-40B4-BE49-F238E27FC236}">
                  <a16:creationId xmlns:a16="http://schemas.microsoft.com/office/drawing/2014/main" id="{6174C2E4-8552-4016-80DE-83C0FCC722D9}"/>
                </a:ext>
              </a:extLst>
            </p:cNvPr>
            <p:cNvSpPr>
              <a:spLocks/>
            </p:cNvSpPr>
            <p:nvPr>
              <p:custDataLst>
                <p:tags r:id="rId246"/>
              </p:custDataLst>
            </p:nvPr>
          </p:nvSpPr>
          <p:spPr bwMode="auto">
            <a:xfrm>
              <a:off x="4371975" y="2484438"/>
              <a:ext cx="146050" cy="71437"/>
            </a:xfrm>
            <a:custGeom>
              <a:avLst/>
              <a:gdLst>
                <a:gd name="T0" fmla="*/ 58253641 w 338"/>
                <a:gd name="T1" fmla="*/ 0 h 141"/>
                <a:gd name="T2" fmla="*/ 34728357 w 338"/>
                <a:gd name="T3" fmla="*/ 0 h 141"/>
                <a:gd name="T4" fmla="*/ 31367478 w 338"/>
                <a:gd name="T5" fmla="*/ 2053463 h 141"/>
                <a:gd name="T6" fmla="*/ 26886163 w 338"/>
                <a:gd name="T7" fmla="*/ 5390782 h 141"/>
                <a:gd name="T8" fmla="*/ 24645721 w 338"/>
                <a:gd name="T9" fmla="*/ 6931006 h 141"/>
                <a:gd name="T10" fmla="*/ 22218612 w 338"/>
                <a:gd name="T11" fmla="*/ 8214357 h 141"/>
                <a:gd name="T12" fmla="*/ 20911508 w 338"/>
                <a:gd name="T13" fmla="*/ 8727596 h 141"/>
                <a:gd name="T14" fmla="*/ 19604836 w 338"/>
                <a:gd name="T15" fmla="*/ 8984468 h 141"/>
                <a:gd name="T16" fmla="*/ 18484399 w 338"/>
                <a:gd name="T17" fmla="*/ 9240835 h 141"/>
                <a:gd name="T18" fmla="*/ 17363962 w 338"/>
                <a:gd name="T19" fmla="*/ 9497707 h 141"/>
                <a:gd name="T20" fmla="*/ 16430625 w 338"/>
                <a:gd name="T21" fmla="*/ 9240835 h 141"/>
                <a:gd name="T22" fmla="*/ 15683523 w 338"/>
                <a:gd name="T23" fmla="*/ 8984468 h 141"/>
                <a:gd name="T24" fmla="*/ 14563518 w 338"/>
                <a:gd name="T25" fmla="*/ 8214357 h 141"/>
                <a:gd name="T26" fmla="*/ 13816416 w 338"/>
                <a:gd name="T27" fmla="*/ 7701118 h 141"/>
                <a:gd name="T28" fmla="*/ 12323077 w 338"/>
                <a:gd name="T29" fmla="*/ 6160894 h 141"/>
                <a:gd name="T30" fmla="*/ 11015972 w 338"/>
                <a:gd name="T31" fmla="*/ 4620671 h 141"/>
                <a:gd name="T32" fmla="*/ 9148866 w 338"/>
                <a:gd name="T33" fmla="*/ 8727596 h 141"/>
                <a:gd name="T34" fmla="*/ 6908424 w 338"/>
                <a:gd name="T35" fmla="*/ 13091393 h 141"/>
                <a:gd name="T36" fmla="*/ 5601320 w 338"/>
                <a:gd name="T37" fmla="*/ 15401729 h 141"/>
                <a:gd name="T38" fmla="*/ 3920881 w 338"/>
                <a:gd name="T39" fmla="*/ 17455191 h 141"/>
                <a:gd name="T40" fmla="*/ 2053774 w 338"/>
                <a:gd name="T41" fmla="*/ 19252288 h 141"/>
                <a:gd name="T42" fmla="*/ 0 w 338"/>
                <a:gd name="T43" fmla="*/ 20535638 h 141"/>
                <a:gd name="T44" fmla="*/ 2240442 w 338"/>
                <a:gd name="T45" fmla="*/ 23102847 h 141"/>
                <a:gd name="T46" fmla="*/ 4294216 w 338"/>
                <a:gd name="T47" fmla="*/ 25669548 h 141"/>
                <a:gd name="T48" fmla="*/ 6161322 w 338"/>
                <a:gd name="T49" fmla="*/ 27723011 h 141"/>
                <a:gd name="T50" fmla="*/ 8215096 w 338"/>
                <a:gd name="T51" fmla="*/ 29776980 h 141"/>
                <a:gd name="T52" fmla="*/ 10269303 w 338"/>
                <a:gd name="T53" fmla="*/ 31317203 h 141"/>
                <a:gd name="T54" fmla="*/ 12323077 w 338"/>
                <a:gd name="T55" fmla="*/ 33113793 h 141"/>
                <a:gd name="T56" fmla="*/ 14750186 w 338"/>
                <a:gd name="T57" fmla="*/ 34654016 h 141"/>
                <a:gd name="T58" fmla="*/ 17363962 w 338"/>
                <a:gd name="T59" fmla="*/ 36194240 h 141"/>
                <a:gd name="T60" fmla="*/ 48358106 w 338"/>
                <a:gd name="T61" fmla="*/ 36194240 h 141"/>
                <a:gd name="T62" fmla="*/ 50225212 w 338"/>
                <a:gd name="T63" fmla="*/ 31830442 h 141"/>
                <a:gd name="T64" fmla="*/ 52465654 w 338"/>
                <a:gd name="T65" fmla="*/ 27466644 h 141"/>
                <a:gd name="T66" fmla="*/ 54519428 w 338"/>
                <a:gd name="T67" fmla="*/ 23616086 h 141"/>
                <a:gd name="T68" fmla="*/ 56760302 w 338"/>
                <a:gd name="T69" fmla="*/ 20022399 h 141"/>
                <a:gd name="T70" fmla="*/ 58814076 w 338"/>
                <a:gd name="T71" fmla="*/ 16428713 h 141"/>
                <a:gd name="T72" fmla="*/ 60494515 w 338"/>
                <a:gd name="T73" fmla="*/ 12321282 h 141"/>
                <a:gd name="T74" fmla="*/ 62174522 w 338"/>
                <a:gd name="T75" fmla="*/ 8727596 h 141"/>
                <a:gd name="T76" fmla="*/ 63108291 w 338"/>
                <a:gd name="T77" fmla="*/ 4620671 h 141"/>
                <a:gd name="T78" fmla="*/ 58253641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9" name="Freeform 344">
              <a:extLst>
                <a:ext uri="{FF2B5EF4-FFF2-40B4-BE49-F238E27FC236}">
                  <a16:creationId xmlns:a16="http://schemas.microsoft.com/office/drawing/2014/main" id="{6800756F-63B8-4898-BDC8-9819425BED64}"/>
                </a:ext>
              </a:extLst>
            </p:cNvPr>
            <p:cNvSpPr>
              <a:spLocks/>
            </p:cNvSpPr>
            <p:nvPr>
              <p:custDataLst>
                <p:tags r:id="rId247"/>
              </p:custDataLst>
            </p:nvPr>
          </p:nvSpPr>
          <p:spPr bwMode="auto">
            <a:xfrm>
              <a:off x="4471988" y="2139950"/>
              <a:ext cx="111125" cy="65088"/>
            </a:xfrm>
            <a:custGeom>
              <a:avLst/>
              <a:gdLst>
                <a:gd name="T0" fmla="*/ 47678632 w 259"/>
                <a:gd name="T1" fmla="*/ 32839671 h 129"/>
                <a:gd name="T2" fmla="*/ 46942375 w 259"/>
                <a:gd name="T3" fmla="*/ 25966181 h 129"/>
                <a:gd name="T4" fmla="*/ 46390182 w 259"/>
                <a:gd name="T5" fmla="*/ 20365672 h 129"/>
                <a:gd name="T6" fmla="*/ 46390182 w 259"/>
                <a:gd name="T7" fmla="*/ 16038143 h 129"/>
                <a:gd name="T8" fmla="*/ 46574247 w 259"/>
                <a:gd name="T9" fmla="*/ 12728797 h 129"/>
                <a:gd name="T10" fmla="*/ 47310503 w 259"/>
                <a:gd name="T11" fmla="*/ 7382581 h 129"/>
                <a:gd name="T12" fmla="*/ 47678632 w 259"/>
                <a:gd name="T13" fmla="*/ 3055053 h 129"/>
                <a:gd name="T14" fmla="*/ 47494568 w 259"/>
                <a:gd name="T15" fmla="*/ 3564144 h 129"/>
                <a:gd name="T16" fmla="*/ 47126439 w 259"/>
                <a:gd name="T17" fmla="*/ 4073235 h 129"/>
                <a:gd name="T18" fmla="*/ 46574247 w 259"/>
                <a:gd name="T19" fmla="*/ 4327529 h 129"/>
                <a:gd name="T20" fmla="*/ 45837561 w 259"/>
                <a:gd name="T21" fmla="*/ 4582327 h 129"/>
                <a:gd name="T22" fmla="*/ 43996919 w 259"/>
                <a:gd name="T23" fmla="*/ 4836620 h 129"/>
                <a:gd name="T24" fmla="*/ 41971784 w 259"/>
                <a:gd name="T25" fmla="*/ 4836620 h 129"/>
                <a:gd name="T26" fmla="*/ 37737878 w 259"/>
                <a:gd name="T27" fmla="*/ 4836620 h 129"/>
                <a:gd name="T28" fmla="*/ 35344615 w 259"/>
                <a:gd name="T29" fmla="*/ 4582327 h 129"/>
                <a:gd name="T30" fmla="*/ 33319909 w 259"/>
                <a:gd name="T31" fmla="*/ 4327529 h 129"/>
                <a:gd name="T32" fmla="*/ 31662902 w 259"/>
                <a:gd name="T33" fmla="*/ 3818437 h 129"/>
                <a:gd name="T34" fmla="*/ 30006324 w 259"/>
                <a:gd name="T35" fmla="*/ 3055053 h 129"/>
                <a:gd name="T36" fmla="*/ 28717446 w 259"/>
                <a:gd name="T37" fmla="*/ 2291163 h 129"/>
                <a:gd name="T38" fmla="*/ 26876804 w 259"/>
                <a:gd name="T39" fmla="*/ 1527274 h 129"/>
                <a:gd name="T40" fmla="*/ 24667605 w 259"/>
                <a:gd name="T41" fmla="*/ 763889 h 129"/>
                <a:gd name="T42" fmla="*/ 21722149 w 259"/>
                <a:gd name="T43" fmla="*/ 254798 h 129"/>
                <a:gd name="T44" fmla="*/ 18224500 w 259"/>
                <a:gd name="T45" fmla="*/ 0 h 129"/>
                <a:gd name="T46" fmla="*/ 15279044 w 259"/>
                <a:gd name="T47" fmla="*/ 0 h 129"/>
                <a:gd name="T48" fmla="*/ 12334017 w 259"/>
                <a:gd name="T49" fmla="*/ 0 h 129"/>
                <a:gd name="T50" fmla="*/ 9204497 w 259"/>
                <a:gd name="T51" fmla="*/ 0 h 129"/>
                <a:gd name="T52" fmla="*/ 6259041 w 259"/>
                <a:gd name="T53" fmla="*/ 509091 h 129"/>
                <a:gd name="T54" fmla="*/ 4970162 w 259"/>
                <a:gd name="T55" fmla="*/ 1018183 h 129"/>
                <a:gd name="T56" fmla="*/ 3865777 w 259"/>
                <a:gd name="T57" fmla="*/ 1527274 h 129"/>
                <a:gd name="T58" fmla="*/ 2577328 w 259"/>
                <a:gd name="T59" fmla="*/ 2291163 h 129"/>
                <a:gd name="T60" fmla="*/ 1841071 w 259"/>
                <a:gd name="T61" fmla="*/ 3309346 h 129"/>
                <a:gd name="T62" fmla="*/ 920321 w 259"/>
                <a:gd name="T63" fmla="*/ 4327529 h 129"/>
                <a:gd name="T64" fmla="*/ 368128 w 259"/>
                <a:gd name="T65" fmla="*/ 5600509 h 129"/>
                <a:gd name="T66" fmla="*/ 0 w 259"/>
                <a:gd name="T67" fmla="*/ 7382581 h 129"/>
                <a:gd name="T68" fmla="*/ 0 w 259"/>
                <a:gd name="T69" fmla="*/ 9164653 h 129"/>
                <a:gd name="T70" fmla="*/ 0 w 259"/>
                <a:gd name="T71" fmla="*/ 12219201 h 129"/>
                <a:gd name="T72" fmla="*/ 552193 w 259"/>
                <a:gd name="T73" fmla="*/ 14765163 h 129"/>
                <a:gd name="T74" fmla="*/ 1104385 w 259"/>
                <a:gd name="T75" fmla="*/ 16547235 h 129"/>
                <a:gd name="T76" fmla="*/ 2209199 w 259"/>
                <a:gd name="T77" fmla="*/ 18074509 h 129"/>
                <a:gd name="T78" fmla="*/ 3129520 w 259"/>
                <a:gd name="T79" fmla="*/ 19347489 h 129"/>
                <a:gd name="T80" fmla="*/ 4417970 w 259"/>
                <a:gd name="T81" fmla="*/ 20365672 h 129"/>
                <a:gd name="T82" fmla="*/ 5706848 w 259"/>
                <a:gd name="T83" fmla="*/ 21129561 h 129"/>
                <a:gd name="T84" fmla="*/ 6811233 w 259"/>
                <a:gd name="T85" fmla="*/ 21638652 h 129"/>
                <a:gd name="T86" fmla="*/ 9204497 w 259"/>
                <a:gd name="T87" fmla="*/ 22402037 h 129"/>
                <a:gd name="T88" fmla="*/ 11229203 w 259"/>
                <a:gd name="T89" fmla="*/ 23420724 h 129"/>
                <a:gd name="T90" fmla="*/ 11965889 w 259"/>
                <a:gd name="T91" fmla="*/ 24184109 h 129"/>
                <a:gd name="T92" fmla="*/ 12334017 w 259"/>
                <a:gd name="T93" fmla="*/ 25202292 h 129"/>
                <a:gd name="T94" fmla="*/ 12334017 w 259"/>
                <a:gd name="T95" fmla="*/ 26730070 h 129"/>
                <a:gd name="T96" fmla="*/ 12149953 w 259"/>
                <a:gd name="T97" fmla="*/ 28257344 h 129"/>
                <a:gd name="T98" fmla="*/ 14910916 w 259"/>
                <a:gd name="T99" fmla="*/ 28003051 h 129"/>
                <a:gd name="T100" fmla="*/ 16751986 w 259"/>
                <a:gd name="T101" fmla="*/ 27493455 h 129"/>
                <a:gd name="T102" fmla="*/ 18040436 w 259"/>
                <a:gd name="T103" fmla="*/ 26984364 h 129"/>
                <a:gd name="T104" fmla="*/ 19329314 w 259"/>
                <a:gd name="T105" fmla="*/ 26730070 h 129"/>
                <a:gd name="T106" fmla="*/ 22090277 w 259"/>
                <a:gd name="T107" fmla="*/ 26984364 h 129"/>
                <a:gd name="T108" fmla="*/ 25772419 w 259"/>
                <a:gd name="T109" fmla="*/ 27493455 h 129"/>
                <a:gd name="T110" fmla="*/ 30558517 w 259"/>
                <a:gd name="T111" fmla="*/ 28512142 h 129"/>
                <a:gd name="T112" fmla="*/ 35344615 w 259"/>
                <a:gd name="T113" fmla="*/ 29784618 h 129"/>
                <a:gd name="T114" fmla="*/ 43812855 w 259"/>
                <a:gd name="T115" fmla="*/ 31821488 h 129"/>
                <a:gd name="T116" fmla="*/ 47678632 w 259"/>
                <a:gd name="T117" fmla="*/ 32839671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0" name="Freeform 345">
              <a:extLst>
                <a:ext uri="{FF2B5EF4-FFF2-40B4-BE49-F238E27FC236}">
                  <a16:creationId xmlns:a16="http://schemas.microsoft.com/office/drawing/2014/main" id="{2F98D42D-9911-42C5-A70C-7A5D0C5D728C}"/>
                </a:ext>
              </a:extLst>
            </p:cNvPr>
            <p:cNvSpPr>
              <a:spLocks/>
            </p:cNvSpPr>
            <p:nvPr>
              <p:custDataLst>
                <p:tags r:id="rId248"/>
              </p:custDataLst>
            </p:nvPr>
          </p:nvSpPr>
          <p:spPr bwMode="auto">
            <a:xfrm>
              <a:off x="4484688" y="2487613"/>
              <a:ext cx="179387" cy="142875"/>
            </a:xfrm>
            <a:custGeom>
              <a:avLst/>
              <a:gdLst>
                <a:gd name="T0" fmla="*/ 74469664 w 425"/>
                <a:gd name="T1" fmla="*/ 46905547 h 272"/>
                <a:gd name="T2" fmla="*/ 70906827 w 425"/>
                <a:gd name="T3" fmla="*/ 51872029 h 272"/>
                <a:gd name="T4" fmla="*/ 68234172 w 425"/>
                <a:gd name="T5" fmla="*/ 56838511 h 272"/>
                <a:gd name="T6" fmla="*/ 68412293 w 425"/>
                <a:gd name="T7" fmla="*/ 60977159 h 272"/>
                <a:gd name="T8" fmla="*/ 69303318 w 425"/>
                <a:gd name="T9" fmla="*/ 65391576 h 272"/>
                <a:gd name="T10" fmla="*/ 66809206 w 425"/>
                <a:gd name="T11" fmla="*/ 67323015 h 272"/>
                <a:gd name="T12" fmla="*/ 61820559 w 425"/>
                <a:gd name="T13" fmla="*/ 65667871 h 272"/>
                <a:gd name="T14" fmla="*/ 57722938 w 425"/>
                <a:gd name="T15" fmla="*/ 64840037 h 272"/>
                <a:gd name="T16" fmla="*/ 52556592 w 425"/>
                <a:gd name="T17" fmla="*/ 64840037 h 272"/>
                <a:gd name="T18" fmla="*/ 46855462 w 425"/>
                <a:gd name="T19" fmla="*/ 67047245 h 272"/>
                <a:gd name="T20" fmla="*/ 41332453 w 425"/>
                <a:gd name="T21" fmla="*/ 70082289 h 272"/>
                <a:gd name="T22" fmla="*/ 35096961 w 425"/>
                <a:gd name="T23" fmla="*/ 73669397 h 272"/>
                <a:gd name="T24" fmla="*/ 17815873 w 425"/>
                <a:gd name="T25" fmla="*/ 66219411 h 272"/>
                <a:gd name="T26" fmla="*/ 15143217 w 425"/>
                <a:gd name="T27" fmla="*/ 62356533 h 272"/>
                <a:gd name="T28" fmla="*/ 12470984 w 425"/>
                <a:gd name="T29" fmla="*/ 59045720 h 272"/>
                <a:gd name="T30" fmla="*/ 6591734 w 425"/>
                <a:gd name="T31" fmla="*/ 52975634 h 272"/>
                <a:gd name="T32" fmla="*/ 3919500 w 425"/>
                <a:gd name="T33" fmla="*/ 49664821 h 272"/>
                <a:gd name="T34" fmla="*/ 1959750 w 425"/>
                <a:gd name="T35" fmla="*/ 46077713 h 272"/>
                <a:gd name="T36" fmla="*/ 356241 w 425"/>
                <a:gd name="T37" fmla="*/ 41387000 h 272"/>
                <a:gd name="T38" fmla="*/ 0 w 425"/>
                <a:gd name="T39" fmla="*/ 35593209 h 272"/>
                <a:gd name="T40" fmla="*/ 8907725 w 425"/>
                <a:gd name="T41" fmla="*/ 18210259 h 272"/>
                <a:gd name="T42" fmla="*/ 12649105 w 425"/>
                <a:gd name="T43" fmla="*/ 9932964 h 272"/>
                <a:gd name="T44" fmla="*/ 14252614 w 425"/>
                <a:gd name="T45" fmla="*/ 6070086 h 272"/>
                <a:gd name="T46" fmla="*/ 15143217 w 425"/>
                <a:gd name="T47" fmla="*/ 1655669 h 272"/>
                <a:gd name="T48" fmla="*/ 21913494 w 425"/>
                <a:gd name="T49" fmla="*/ 2759273 h 272"/>
                <a:gd name="T50" fmla="*/ 27257960 w 425"/>
                <a:gd name="T51" fmla="*/ 4966482 h 272"/>
                <a:gd name="T52" fmla="*/ 32068486 w 425"/>
                <a:gd name="T53" fmla="*/ 7449460 h 272"/>
                <a:gd name="T54" fmla="*/ 36522349 w 425"/>
                <a:gd name="T55" fmla="*/ 8553590 h 272"/>
                <a:gd name="T56" fmla="*/ 38125858 w 425"/>
                <a:gd name="T57" fmla="*/ 8001525 h 272"/>
                <a:gd name="T58" fmla="*/ 39372703 w 425"/>
                <a:gd name="T59" fmla="*/ 7173691 h 272"/>
                <a:gd name="T60" fmla="*/ 41332453 w 425"/>
                <a:gd name="T61" fmla="*/ 4138648 h 272"/>
                <a:gd name="T62" fmla="*/ 43114083 w 425"/>
                <a:gd name="T63" fmla="*/ 1379374 h 272"/>
                <a:gd name="T64" fmla="*/ 44539471 w 425"/>
                <a:gd name="T65" fmla="*/ 552065 h 272"/>
                <a:gd name="T66" fmla="*/ 46142979 w 425"/>
                <a:gd name="T67" fmla="*/ 0 h 272"/>
                <a:gd name="T68" fmla="*/ 48993333 w 425"/>
                <a:gd name="T69" fmla="*/ 552065 h 272"/>
                <a:gd name="T70" fmla="*/ 51487446 w 425"/>
                <a:gd name="T71" fmla="*/ 1931439 h 272"/>
                <a:gd name="T72" fmla="*/ 53803437 w 425"/>
                <a:gd name="T73" fmla="*/ 4138648 h 272"/>
                <a:gd name="T74" fmla="*/ 55228825 w 425"/>
                <a:gd name="T75" fmla="*/ 7173691 h 272"/>
                <a:gd name="T76" fmla="*/ 57901059 w 425"/>
                <a:gd name="T77" fmla="*/ 14623676 h 272"/>
                <a:gd name="T78" fmla="*/ 60038930 w 425"/>
                <a:gd name="T79" fmla="*/ 22625202 h 272"/>
                <a:gd name="T80" fmla="*/ 62176800 w 425"/>
                <a:gd name="T81" fmla="*/ 31178267 h 272"/>
                <a:gd name="T82" fmla="*/ 63424068 w 425"/>
                <a:gd name="T83" fmla="*/ 34765375 h 272"/>
                <a:gd name="T84" fmla="*/ 65027576 w 425"/>
                <a:gd name="T85" fmla="*/ 38076188 h 272"/>
                <a:gd name="T86" fmla="*/ 66987327 w 425"/>
                <a:gd name="T87" fmla="*/ 40559691 h 272"/>
                <a:gd name="T88" fmla="*/ 69303318 w 425"/>
                <a:gd name="T89" fmla="*/ 43042670 h 272"/>
                <a:gd name="T90" fmla="*/ 72153672 w 425"/>
                <a:gd name="T91" fmla="*/ 44146274 h 272"/>
                <a:gd name="T92" fmla="*/ 75716931 w 425"/>
                <a:gd name="T93" fmla="*/ 44422044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1" name="Freeform 346">
              <a:extLst>
                <a:ext uri="{FF2B5EF4-FFF2-40B4-BE49-F238E27FC236}">
                  <a16:creationId xmlns:a16="http://schemas.microsoft.com/office/drawing/2014/main" id="{F1CE5C9B-FBE1-44C1-8CC0-759F57505CC8}"/>
                </a:ext>
              </a:extLst>
            </p:cNvPr>
            <p:cNvSpPr>
              <a:spLocks/>
            </p:cNvSpPr>
            <p:nvPr>
              <p:custDataLst>
                <p:tags r:id="rId249"/>
              </p:custDataLst>
            </p:nvPr>
          </p:nvSpPr>
          <p:spPr bwMode="auto">
            <a:xfrm>
              <a:off x="2484438" y="3525838"/>
              <a:ext cx="14287" cy="55562"/>
            </a:xfrm>
            <a:custGeom>
              <a:avLst/>
              <a:gdLst>
                <a:gd name="T0" fmla="*/ 2436583 w 33"/>
                <a:gd name="T1" fmla="*/ 19274984 h 31"/>
                <a:gd name="T2" fmla="*/ 0 w 33"/>
                <a:gd name="T3" fmla="*/ 61038644 h 31"/>
                <a:gd name="T4" fmla="*/ 937314 w 33"/>
                <a:gd name="T5" fmla="*/ 67462444 h 31"/>
                <a:gd name="T6" fmla="*/ 2624046 w 33"/>
                <a:gd name="T7" fmla="*/ 80313628 h 31"/>
                <a:gd name="T8" fmla="*/ 3561359 w 33"/>
                <a:gd name="T9" fmla="*/ 86739220 h 31"/>
                <a:gd name="T10" fmla="*/ 4311210 w 33"/>
                <a:gd name="T11" fmla="*/ 93163020 h 31"/>
                <a:gd name="T12" fmla="*/ 5060629 w 33"/>
                <a:gd name="T13" fmla="*/ 96376712 h 31"/>
                <a:gd name="T14" fmla="*/ 6185405 w 33"/>
                <a:gd name="T15" fmla="*/ 99588612 h 31"/>
                <a:gd name="T16" fmla="*/ 6185405 w 33"/>
                <a:gd name="T17" fmla="*/ 0 h 31"/>
                <a:gd name="T18" fmla="*/ 3748822 w 33"/>
                <a:gd name="T19" fmla="*/ 0 h 31"/>
                <a:gd name="T20" fmla="*/ 2436583 w 33"/>
                <a:gd name="T21" fmla="*/ 1927498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US"/>
            </a:p>
          </p:txBody>
        </p:sp>
        <p:sp>
          <p:nvSpPr>
            <p:cNvPr id="262" name="Freeform 347">
              <a:extLst>
                <a:ext uri="{FF2B5EF4-FFF2-40B4-BE49-F238E27FC236}">
                  <a16:creationId xmlns:a16="http://schemas.microsoft.com/office/drawing/2014/main" id="{74455F89-3C03-47F1-AA2D-C77BE651634D}"/>
                </a:ext>
              </a:extLst>
            </p:cNvPr>
            <p:cNvSpPr>
              <a:spLocks/>
            </p:cNvSpPr>
            <p:nvPr>
              <p:custDataLst>
                <p:tags r:id="rId250"/>
              </p:custDataLst>
            </p:nvPr>
          </p:nvSpPr>
          <p:spPr bwMode="auto">
            <a:xfrm>
              <a:off x="4589463" y="2479675"/>
              <a:ext cx="85725" cy="79375"/>
            </a:xfrm>
            <a:custGeom>
              <a:avLst/>
              <a:gdLst>
                <a:gd name="T0" fmla="*/ 1196132 w 192"/>
                <a:gd name="T1" fmla="*/ 5047528 h 154"/>
                <a:gd name="T2" fmla="*/ 10366028 w 192"/>
                <a:gd name="T3" fmla="*/ 0 h 154"/>
                <a:gd name="T4" fmla="*/ 18340239 w 192"/>
                <a:gd name="T5" fmla="*/ 5047528 h 154"/>
                <a:gd name="T6" fmla="*/ 23722608 w 192"/>
                <a:gd name="T7" fmla="*/ 8235414 h 154"/>
                <a:gd name="T8" fmla="*/ 29104977 w 192"/>
                <a:gd name="T9" fmla="*/ 16736786 h 154"/>
                <a:gd name="T10" fmla="*/ 33091636 w 192"/>
                <a:gd name="T11" fmla="*/ 24706242 h 154"/>
                <a:gd name="T12" fmla="*/ 38274873 w 192"/>
                <a:gd name="T13" fmla="*/ 31347971 h 154"/>
                <a:gd name="T14" fmla="*/ 30301109 w 192"/>
                <a:gd name="T15" fmla="*/ 32941656 h 154"/>
                <a:gd name="T16" fmla="*/ 25117871 w 192"/>
                <a:gd name="T17" fmla="*/ 34535856 h 154"/>
                <a:gd name="T18" fmla="*/ 25117871 w 192"/>
                <a:gd name="T19" fmla="*/ 40911627 h 154"/>
                <a:gd name="T20" fmla="*/ 21130766 w 192"/>
                <a:gd name="T21" fmla="*/ 40911627 h 154"/>
                <a:gd name="T22" fmla="*/ 19735502 w 192"/>
                <a:gd name="T23" fmla="*/ 38786542 h 154"/>
                <a:gd name="T24" fmla="*/ 18539371 w 192"/>
                <a:gd name="T25" fmla="*/ 36395499 h 154"/>
                <a:gd name="T26" fmla="*/ 17542818 w 192"/>
                <a:gd name="T27" fmla="*/ 33473056 h 154"/>
                <a:gd name="T28" fmla="*/ 16346686 w 192"/>
                <a:gd name="T29" fmla="*/ 30551128 h 154"/>
                <a:gd name="T30" fmla="*/ 14751844 w 192"/>
                <a:gd name="T31" fmla="*/ 24706242 h 154"/>
                <a:gd name="T32" fmla="*/ 12957423 w 192"/>
                <a:gd name="T33" fmla="*/ 18861871 h 154"/>
                <a:gd name="T34" fmla="*/ 11960870 w 192"/>
                <a:gd name="T35" fmla="*/ 16205386 h 154"/>
                <a:gd name="T36" fmla="*/ 10964317 w 192"/>
                <a:gd name="T37" fmla="*/ 13282942 h 154"/>
                <a:gd name="T38" fmla="*/ 9568607 w 192"/>
                <a:gd name="T39" fmla="*/ 11157857 h 154"/>
                <a:gd name="T40" fmla="*/ 8173343 w 192"/>
                <a:gd name="T41" fmla="*/ 9032256 h 154"/>
                <a:gd name="T42" fmla="*/ 6578501 w 192"/>
                <a:gd name="T43" fmla="*/ 7438571 h 154"/>
                <a:gd name="T44" fmla="*/ 4784527 w 192"/>
                <a:gd name="T45" fmla="*/ 6110329 h 154"/>
                <a:gd name="T46" fmla="*/ 3588395 w 192"/>
                <a:gd name="T47" fmla="*/ 5844371 h 154"/>
                <a:gd name="T48" fmla="*/ 2392263 w 192"/>
                <a:gd name="T49" fmla="*/ 5312971 h 154"/>
                <a:gd name="T50" fmla="*/ 1196132 w 192"/>
                <a:gd name="T51" fmla="*/ 5312971 h 154"/>
                <a:gd name="T52" fmla="*/ 0 w 192"/>
                <a:gd name="T53" fmla="*/ 5047528 h 154"/>
                <a:gd name="T54" fmla="*/ 1196132 w 192"/>
                <a:gd name="T55" fmla="*/ 5047528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endParaRPr lang="en-US"/>
            </a:p>
          </p:txBody>
        </p:sp>
        <p:sp>
          <p:nvSpPr>
            <p:cNvPr id="263" name="Freeform 348">
              <a:extLst>
                <a:ext uri="{FF2B5EF4-FFF2-40B4-BE49-F238E27FC236}">
                  <a16:creationId xmlns:a16="http://schemas.microsoft.com/office/drawing/2014/main" id="{218D22A6-DD3F-42F4-B63C-9C4B76879691}"/>
                </a:ext>
              </a:extLst>
            </p:cNvPr>
            <p:cNvSpPr>
              <a:spLocks/>
            </p:cNvSpPr>
            <p:nvPr>
              <p:custDataLst>
                <p:tags r:id="rId251"/>
              </p:custDataLst>
            </p:nvPr>
          </p:nvSpPr>
          <p:spPr bwMode="auto">
            <a:xfrm>
              <a:off x="4506913" y="2362200"/>
              <a:ext cx="381000" cy="247650"/>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eaLnBrk="1" hangingPunct="1">
                <a:defRPr/>
              </a:pPr>
              <a:endParaRPr lang="en-US"/>
            </a:p>
          </p:txBody>
        </p:sp>
        <p:sp>
          <p:nvSpPr>
            <p:cNvPr id="264" name="Freeform 349">
              <a:extLst>
                <a:ext uri="{FF2B5EF4-FFF2-40B4-BE49-F238E27FC236}">
                  <a16:creationId xmlns:a16="http://schemas.microsoft.com/office/drawing/2014/main" id="{B5C193BB-F3CD-4144-BDB3-6338F14B8B80}"/>
                </a:ext>
              </a:extLst>
            </p:cNvPr>
            <p:cNvSpPr>
              <a:spLocks/>
            </p:cNvSpPr>
            <p:nvPr>
              <p:custDataLst>
                <p:tags r:id="rId252"/>
              </p:custDataLst>
            </p:nvPr>
          </p:nvSpPr>
          <p:spPr bwMode="auto">
            <a:xfrm>
              <a:off x="5018088" y="2705100"/>
              <a:ext cx="47625" cy="63500"/>
            </a:xfrm>
            <a:custGeom>
              <a:avLst/>
              <a:gdLst>
                <a:gd name="T0" fmla="*/ 9508977 w 107"/>
                <a:gd name="T1" fmla="*/ 0 h 123"/>
                <a:gd name="T2" fmla="*/ 16046954 w 107"/>
                <a:gd name="T3" fmla="*/ 8262228 h 123"/>
                <a:gd name="T4" fmla="*/ 18622265 w 107"/>
                <a:gd name="T5" fmla="*/ 17856923 h 123"/>
                <a:gd name="T6" fmla="*/ 21197576 w 107"/>
                <a:gd name="T7" fmla="*/ 22920919 h 123"/>
                <a:gd name="T8" fmla="*/ 21197576 w 107"/>
                <a:gd name="T9" fmla="*/ 31183146 h 123"/>
                <a:gd name="T10" fmla="*/ 21197576 w 107"/>
                <a:gd name="T11" fmla="*/ 32782520 h 123"/>
                <a:gd name="T12" fmla="*/ 17433421 w 107"/>
                <a:gd name="T13" fmla="*/ 30383976 h 123"/>
                <a:gd name="T14" fmla="*/ 14461977 w 107"/>
                <a:gd name="T15" fmla="*/ 27984915 h 123"/>
                <a:gd name="T16" fmla="*/ 12084732 w 107"/>
                <a:gd name="T17" fmla="*/ 26119150 h 123"/>
                <a:gd name="T18" fmla="*/ 10697821 w 107"/>
                <a:gd name="T19" fmla="*/ 24520293 h 123"/>
                <a:gd name="T20" fmla="*/ 10103621 w 107"/>
                <a:gd name="T21" fmla="*/ 22121748 h 123"/>
                <a:gd name="T22" fmla="*/ 9508977 w 107"/>
                <a:gd name="T23" fmla="*/ 19456297 h 123"/>
                <a:gd name="T24" fmla="*/ 7726377 w 107"/>
                <a:gd name="T25" fmla="*/ 19722687 h 123"/>
                <a:gd name="T26" fmla="*/ 6339466 w 107"/>
                <a:gd name="T27" fmla="*/ 19456297 h 123"/>
                <a:gd name="T28" fmla="*/ 5150621 w 107"/>
                <a:gd name="T29" fmla="*/ 19189907 h 123"/>
                <a:gd name="T30" fmla="*/ 4160289 w 107"/>
                <a:gd name="T31" fmla="*/ 18656610 h 123"/>
                <a:gd name="T32" fmla="*/ 3368022 w 107"/>
                <a:gd name="T33" fmla="*/ 17856923 h 123"/>
                <a:gd name="T34" fmla="*/ 2773377 w 107"/>
                <a:gd name="T35" fmla="*/ 16790846 h 123"/>
                <a:gd name="T36" fmla="*/ 2179178 w 107"/>
                <a:gd name="T37" fmla="*/ 15724768 h 123"/>
                <a:gd name="T38" fmla="*/ 1783044 w 107"/>
                <a:gd name="T39" fmla="*/ 14392301 h 123"/>
                <a:gd name="T40" fmla="*/ 792266 w 107"/>
                <a:gd name="T41" fmla="*/ 8262228 h 123"/>
                <a:gd name="T42" fmla="*/ 0 w 107"/>
                <a:gd name="T43" fmla="*/ 1599374 h 123"/>
                <a:gd name="T44" fmla="*/ 6735599 w 107"/>
                <a:gd name="T45" fmla="*/ 0 h 123"/>
                <a:gd name="T46" fmla="*/ 950897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US"/>
            </a:p>
          </p:txBody>
        </p:sp>
        <p:sp>
          <p:nvSpPr>
            <p:cNvPr id="265" name="Freeform 350">
              <a:extLst>
                <a:ext uri="{FF2B5EF4-FFF2-40B4-BE49-F238E27FC236}">
                  <a16:creationId xmlns:a16="http://schemas.microsoft.com/office/drawing/2014/main" id="{8E9D49D5-DF7D-45CC-A788-FCB2A28C61DC}"/>
                </a:ext>
              </a:extLst>
            </p:cNvPr>
            <p:cNvSpPr>
              <a:spLocks/>
            </p:cNvSpPr>
            <p:nvPr>
              <p:custDataLst>
                <p:tags r:id="rId253"/>
              </p:custDataLst>
            </p:nvPr>
          </p:nvSpPr>
          <p:spPr bwMode="auto">
            <a:xfrm>
              <a:off x="5561013" y="2719388"/>
              <a:ext cx="207962" cy="122237"/>
            </a:xfrm>
            <a:custGeom>
              <a:avLst/>
              <a:gdLst>
                <a:gd name="T0" fmla="*/ 20664623 w 471"/>
                <a:gd name="T1" fmla="*/ 18283462 h 234"/>
                <a:gd name="T2" fmla="*/ 32361713 w 471"/>
                <a:gd name="T3" fmla="*/ 23468129 h 234"/>
                <a:gd name="T4" fmla="*/ 53026778 w 471"/>
                <a:gd name="T5" fmla="*/ 28652796 h 234"/>
                <a:gd name="T6" fmla="*/ 72521780 w 471"/>
                <a:gd name="T7" fmla="*/ 23468129 h 234"/>
                <a:gd name="T8" fmla="*/ 74666306 w 471"/>
                <a:gd name="T9" fmla="*/ 25924381 h 234"/>
                <a:gd name="T10" fmla="*/ 76225800 w 471"/>
                <a:gd name="T11" fmla="*/ 31109049 h 234"/>
                <a:gd name="T12" fmla="*/ 79150072 w 471"/>
                <a:gd name="T13" fmla="*/ 33837986 h 234"/>
                <a:gd name="T14" fmla="*/ 82659376 w 471"/>
                <a:gd name="T15" fmla="*/ 35202454 h 234"/>
                <a:gd name="T16" fmla="*/ 84414028 w 471"/>
                <a:gd name="T17" fmla="*/ 36566923 h 234"/>
                <a:gd name="T18" fmla="*/ 85973522 w 471"/>
                <a:gd name="T19" fmla="*/ 38476761 h 234"/>
                <a:gd name="T20" fmla="*/ 87338300 w 471"/>
                <a:gd name="T21" fmla="*/ 41205698 h 234"/>
                <a:gd name="T22" fmla="*/ 88702637 w 471"/>
                <a:gd name="T23" fmla="*/ 46390366 h 234"/>
                <a:gd name="T24" fmla="*/ 91822067 w 471"/>
                <a:gd name="T25" fmla="*/ 51848240 h 234"/>
                <a:gd name="T26" fmla="*/ 68233171 w 471"/>
                <a:gd name="T27" fmla="*/ 55123069 h 234"/>
                <a:gd name="T28" fmla="*/ 64333994 w 471"/>
                <a:gd name="T29" fmla="*/ 61126313 h 234"/>
                <a:gd name="T30" fmla="*/ 61799595 w 471"/>
                <a:gd name="T31" fmla="*/ 63582566 h 234"/>
                <a:gd name="T32" fmla="*/ 59655070 w 471"/>
                <a:gd name="T33" fmla="*/ 63582566 h 234"/>
                <a:gd name="T34" fmla="*/ 58095576 w 471"/>
                <a:gd name="T35" fmla="*/ 62763467 h 234"/>
                <a:gd name="T36" fmla="*/ 56925955 w 471"/>
                <a:gd name="T37" fmla="*/ 61126313 h 234"/>
                <a:gd name="T38" fmla="*/ 56340924 w 471"/>
                <a:gd name="T39" fmla="*/ 58943268 h 234"/>
                <a:gd name="T40" fmla="*/ 55366019 w 471"/>
                <a:gd name="T41" fmla="*/ 54304493 h 234"/>
                <a:gd name="T42" fmla="*/ 54196398 w 471"/>
                <a:gd name="T43" fmla="*/ 47482150 h 234"/>
                <a:gd name="T44" fmla="*/ 52441747 w 471"/>
                <a:gd name="T45" fmla="*/ 42297482 h 234"/>
                <a:gd name="T46" fmla="*/ 50297221 w 471"/>
                <a:gd name="T47" fmla="*/ 40387122 h 234"/>
                <a:gd name="T48" fmla="*/ 47957980 w 471"/>
                <a:gd name="T49" fmla="*/ 38476761 h 234"/>
                <a:gd name="T50" fmla="*/ 46008612 w 471"/>
                <a:gd name="T51" fmla="*/ 36293716 h 234"/>
                <a:gd name="T52" fmla="*/ 43668929 w 471"/>
                <a:gd name="T53" fmla="*/ 38204076 h 234"/>
                <a:gd name="T54" fmla="*/ 40354783 w 471"/>
                <a:gd name="T55" fmla="*/ 44207320 h 234"/>
                <a:gd name="T56" fmla="*/ 38990447 w 471"/>
                <a:gd name="T57" fmla="*/ 48300726 h 234"/>
                <a:gd name="T58" fmla="*/ 36650764 w 471"/>
                <a:gd name="T59" fmla="*/ 51848240 h 234"/>
                <a:gd name="T60" fmla="*/ 32556871 w 471"/>
                <a:gd name="T61" fmla="*/ 54849862 h 234"/>
                <a:gd name="T62" fmla="*/ 28657693 w 471"/>
                <a:gd name="T63" fmla="*/ 58124691 h 234"/>
                <a:gd name="T64" fmla="*/ 25343547 w 471"/>
                <a:gd name="T65" fmla="*/ 59761845 h 234"/>
                <a:gd name="T66" fmla="*/ 22224559 w 471"/>
                <a:gd name="T67" fmla="*/ 60580421 h 234"/>
                <a:gd name="T68" fmla="*/ 18910413 w 471"/>
                <a:gd name="T69" fmla="*/ 60307737 h 234"/>
                <a:gd name="T70" fmla="*/ 15986140 w 471"/>
                <a:gd name="T71" fmla="*/ 59215953 h 234"/>
                <a:gd name="T72" fmla="*/ 12282121 w 471"/>
                <a:gd name="T73" fmla="*/ 55941646 h 234"/>
                <a:gd name="T74" fmla="*/ 11501932 w 471"/>
                <a:gd name="T75" fmla="*/ 53758601 h 234"/>
                <a:gd name="T76" fmla="*/ 11501932 w 471"/>
                <a:gd name="T77" fmla="*/ 36839608 h 234"/>
                <a:gd name="T78" fmla="*/ 0 w 471"/>
                <a:gd name="T79" fmla="*/ 26742958 h 234"/>
                <a:gd name="T80" fmla="*/ 10332312 w 471"/>
                <a:gd name="T81" fmla="*/ 21830975 h 234"/>
                <a:gd name="T82" fmla="*/ 16765888 w 471"/>
                <a:gd name="T83" fmla="*/ 8186812 h 234"/>
                <a:gd name="T84" fmla="*/ 25928579 w 471"/>
                <a:gd name="T85" fmla="*/ 0 h 234"/>
                <a:gd name="T86" fmla="*/ 32361713 w 471"/>
                <a:gd name="T87" fmla="*/ 11461118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US"/>
            </a:p>
          </p:txBody>
        </p:sp>
        <p:sp>
          <p:nvSpPr>
            <p:cNvPr id="266" name="Freeform 351">
              <a:extLst>
                <a:ext uri="{FF2B5EF4-FFF2-40B4-BE49-F238E27FC236}">
                  <a16:creationId xmlns:a16="http://schemas.microsoft.com/office/drawing/2014/main" id="{18DFC996-BFF8-493A-9462-0FE5402246D6}"/>
                </a:ext>
              </a:extLst>
            </p:cNvPr>
            <p:cNvSpPr>
              <a:spLocks/>
            </p:cNvSpPr>
            <p:nvPr>
              <p:custDataLst>
                <p:tags r:id="rId254"/>
              </p:custDataLst>
            </p:nvPr>
          </p:nvSpPr>
          <p:spPr bwMode="auto">
            <a:xfrm>
              <a:off x="5610225" y="2647950"/>
              <a:ext cx="225425" cy="125413"/>
            </a:xfrm>
            <a:custGeom>
              <a:avLst/>
              <a:gdLst>
                <a:gd name="T0" fmla="*/ 19542845 w 525"/>
                <a:gd name="T1" fmla="*/ 50097671 h 241"/>
                <a:gd name="T2" fmla="*/ 31895705 w 525"/>
                <a:gd name="T3" fmla="*/ 40077720 h 241"/>
                <a:gd name="T4" fmla="*/ 17146040 w 525"/>
                <a:gd name="T5" fmla="*/ 28433658 h 241"/>
                <a:gd name="T6" fmla="*/ 8665337 w 525"/>
                <a:gd name="T7" fmla="*/ 31683442 h 241"/>
                <a:gd name="T8" fmla="*/ 12168227 w 525"/>
                <a:gd name="T9" fmla="*/ 16518478 h 241"/>
                <a:gd name="T10" fmla="*/ 7374618 w 525"/>
                <a:gd name="T11" fmla="*/ 11644062 h 241"/>
                <a:gd name="T12" fmla="*/ 20649359 w 525"/>
                <a:gd name="T13" fmla="*/ 6770166 h 241"/>
                <a:gd name="T14" fmla="*/ 34292510 w 525"/>
                <a:gd name="T15" fmla="*/ 0 h 241"/>
                <a:gd name="T16" fmla="*/ 57522878 w 525"/>
                <a:gd name="T17" fmla="*/ 5145014 h 241"/>
                <a:gd name="T18" fmla="*/ 80937451 w 525"/>
                <a:gd name="T19" fmla="*/ 6770166 h 241"/>
                <a:gd name="T20" fmla="*/ 96793201 w 525"/>
                <a:gd name="T21" fmla="*/ 14893846 h 241"/>
                <a:gd name="T22" fmla="*/ 95687116 w 525"/>
                <a:gd name="T23" fmla="*/ 18684827 h 241"/>
                <a:gd name="T24" fmla="*/ 94027558 w 525"/>
                <a:gd name="T25" fmla="*/ 22205209 h 241"/>
                <a:gd name="T26" fmla="*/ 91999592 w 525"/>
                <a:gd name="T27" fmla="*/ 24913276 h 241"/>
                <a:gd name="T28" fmla="*/ 89418583 w 525"/>
                <a:gd name="T29" fmla="*/ 26809027 h 241"/>
                <a:gd name="T30" fmla="*/ 81490493 w 525"/>
                <a:gd name="T31" fmla="*/ 27891941 h 241"/>
                <a:gd name="T32" fmla="*/ 77065723 w 525"/>
                <a:gd name="T33" fmla="*/ 28975376 h 241"/>
                <a:gd name="T34" fmla="*/ 75037756 w 525"/>
                <a:gd name="T35" fmla="*/ 30058290 h 241"/>
                <a:gd name="T36" fmla="*/ 73562833 w 525"/>
                <a:gd name="T37" fmla="*/ 31683442 h 241"/>
                <a:gd name="T38" fmla="*/ 71350233 w 525"/>
                <a:gd name="T39" fmla="*/ 36828457 h 241"/>
                <a:gd name="T40" fmla="*/ 69691105 w 525"/>
                <a:gd name="T41" fmla="*/ 39807122 h 241"/>
                <a:gd name="T42" fmla="*/ 67294300 w 525"/>
                <a:gd name="T43" fmla="*/ 41702872 h 241"/>
                <a:gd name="T44" fmla="*/ 56232159 w 525"/>
                <a:gd name="T45" fmla="*/ 44952136 h 241"/>
                <a:gd name="T46" fmla="*/ 50332465 w 525"/>
                <a:gd name="T47" fmla="*/ 46847887 h 241"/>
                <a:gd name="T48" fmla="*/ 47935660 w 525"/>
                <a:gd name="T49" fmla="*/ 48201920 h 241"/>
                <a:gd name="T50" fmla="*/ 48119865 w 525"/>
                <a:gd name="T51" fmla="*/ 51992901 h 241"/>
                <a:gd name="T52" fmla="*/ 48488703 w 525"/>
                <a:gd name="T53" fmla="*/ 54971566 h 241"/>
                <a:gd name="T54" fmla="*/ 50332465 w 525"/>
                <a:gd name="T55" fmla="*/ 60117101 h 241"/>
                <a:gd name="T56" fmla="*/ 40376408 w 525"/>
                <a:gd name="T57" fmla="*/ 61741733 h 241"/>
                <a:gd name="T58" fmla="*/ 20649359 w 525"/>
                <a:gd name="T59" fmla="*/ 63366364 h 241"/>
                <a:gd name="T60" fmla="*/ 3687524 w 525"/>
                <a:gd name="T61" fmla="*/ 60117101 h 241"/>
                <a:gd name="T62" fmla="*/ 9771422 w 525"/>
                <a:gd name="T63" fmla="*/ 44952136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US"/>
            </a:p>
          </p:txBody>
        </p:sp>
        <p:sp>
          <p:nvSpPr>
            <p:cNvPr id="267" name="Freeform 352">
              <a:extLst>
                <a:ext uri="{FF2B5EF4-FFF2-40B4-BE49-F238E27FC236}">
                  <a16:creationId xmlns:a16="http://schemas.microsoft.com/office/drawing/2014/main" id="{DB9477BE-B6BB-4440-95C1-F0E210651823}"/>
                </a:ext>
              </a:extLst>
            </p:cNvPr>
            <p:cNvSpPr>
              <a:spLocks/>
            </p:cNvSpPr>
            <p:nvPr>
              <p:custDataLst>
                <p:tags r:id="rId255"/>
              </p:custDataLst>
            </p:nvPr>
          </p:nvSpPr>
          <p:spPr bwMode="auto">
            <a:xfrm>
              <a:off x="5216525" y="2663825"/>
              <a:ext cx="342900" cy="227013"/>
            </a:xfrm>
            <a:custGeom>
              <a:avLst/>
              <a:gdLst>
                <a:gd name="T0" fmla="*/ 146914280 w 784"/>
                <a:gd name="T1" fmla="*/ 81384858 h 430"/>
                <a:gd name="T2" fmla="*/ 143662416 w 784"/>
                <a:gd name="T3" fmla="*/ 81663607 h 430"/>
                <a:gd name="T4" fmla="*/ 139836282 w 784"/>
                <a:gd name="T5" fmla="*/ 84171826 h 430"/>
                <a:gd name="T6" fmla="*/ 138305916 w 784"/>
                <a:gd name="T7" fmla="*/ 85844324 h 430"/>
                <a:gd name="T8" fmla="*/ 137158251 w 784"/>
                <a:gd name="T9" fmla="*/ 92533259 h 430"/>
                <a:gd name="T10" fmla="*/ 136393286 w 784"/>
                <a:gd name="T11" fmla="*/ 100337720 h 430"/>
                <a:gd name="T12" fmla="*/ 134671351 w 784"/>
                <a:gd name="T13" fmla="*/ 104797186 h 430"/>
                <a:gd name="T14" fmla="*/ 128358754 w 784"/>
                <a:gd name="T15" fmla="*/ 112043620 h 430"/>
                <a:gd name="T16" fmla="*/ 121089624 w 784"/>
                <a:gd name="T17" fmla="*/ 117060586 h 430"/>
                <a:gd name="T18" fmla="*/ 117072358 w 784"/>
                <a:gd name="T19" fmla="*/ 118175056 h 430"/>
                <a:gd name="T20" fmla="*/ 112290128 w 784"/>
                <a:gd name="T21" fmla="*/ 119568804 h 430"/>
                <a:gd name="T22" fmla="*/ 108463994 w 784"/>
                <a:gd name="T23" fmla="*/ 119290055 h 430"/>
                <a:gd name="T24" fmla="*/ 104255596 w 784"/>
                <a:gd name="T25" fmla="*/ 108141654 h 430"/>
                <a:gd name="T26" fmla="*/ 98516832 w 784"/>
                <a:gd name="T27" fmla="*/ 95878254 h 430"/>
                <a:gd name="T28" fmla="*/ 91438834 w 784"/>
                <a:gd name="T29" fmla="*/ 93090758 h 430"/>
                <a:gd name="T30" fmla="*/ 85700070 w 784"/>
                <a:gd name="T31" fmla="*/ 87795043 h 430"/>
                <a:gd name="T32" fmla="*/ 79769737 w 784"/>
                <a:gd name="T33" fmla="*/ 81942357 h 430"/>
                <a:gd name="T34" fmla="*/ 71352941 w 784"/>
                <a:gd name="T35" fmla="*/ 76367893 h 430"/>
                <a:gd name="T36" fmla="*/ 58536179 w 784"/>
                <a:gd name="T37" fmla="*/ 71908427 h 430"/>
                <a:gd name="T38" fmla="*/ 34815722 w 784"/>
                <a:gd name="T39" fmla="*/ 78876639 h 430"/>
                <a:gd name="T40" fmla="*/ 28885389 w 784"/>
                <a:gd name="T41" fmla="*/ 85286825 h 430"/>
                <a:gd name="T42" fmla="*/ 24294290 w 784"/>
                <a:gd name="T43" fmla="*/ 85844324 h 430"/>
                <a:gd name="T44" fmla="*/ 12625630 w 784"/>
                <a:gd name="T45" fmla="*/ 70236457 h 430"/>
                <a:gd name="T46" fmla="*/ 12625630 w 784"/>
                <a:gd name="T47" fmla="*/ 56858059 h 430"/>
                <a:gd name="T48" fmla="*/ 7651831 w 784"/>
                <a:gd name="T49" fmla="*/ 49889847 h 430"/>
                <a:gd name="T50" fmla="*/ 8034532 w 784"/>
                <a:gd name="T51" fmla="*/ 55464311 h 430"/>
                <a:gd name="T52" fmla="*/ 6886429 w 784"/>
                <a:gd name="T53" fmla="*/ 60760026 h 430"/>
                <a:gd name="T54" fmla="*/ 5738764 w 784"/>
                <a:gd name="T55" fmla="*/ 61596275 h 430"/>
                <a:gd name="T56" fmla="*/ 5930333 w 784"/>
                <a:gd name="T57" fmla="*/ 56579309 h 430"/>
                <a:gd name="T58" fmla="*/ 5164931 w 784"/>
                <a:gd name="T59" fmla="*/ 48496626 h 430"/>
                <a:gd name="T60" fmla="*/ 6312597 w 784"/>
                <a:gd name="T61" fmla="*/ 45430381 h 430"/>
                <a:gd name="T62" fmla="*/ 7651831 w 784"/>
                <a:gd name="T63" fmla="*/ 42364663 h 430"/>
                <a:gd name="T64" fmla="*/ 5164931 w 784"/>
                <a:gd name="T65" fmla="*/ 35954477 h 430"/>
                <a:gd name="T66" fmla="*/ 1339234 w 784"/>
                <a:gd name="T67" fmla="*/ 35118228 h 430"/>
                <a:gd name="T68" fmla="*/ 0 w 784"/>
                <a:gd name="T69" fmla="*/ 32609482 h 430"/>
                <a:gd name="T70" fmla="*/ 573833 w 784"/>
                <a:gd name="T71" fmla="*/ 28986265 h 430"/>
                <a:gd name="T72" fmla="*/ 2104199 w 784"/>
                <a:gd name="T73" fmla="*/ 26199297 h 430"/>
                <a:gd name="T74" fmla="*/ 5164931 w 784"/>
                <a:gd name="T75" fmla="*/ 25641797 h 430"/>
                <a:gd name="T76" fmla="*/ 7842963 w 784"/>
                <a:gd name="T77" fmla="*/ 27593045 h 430"/>
                <a:gd name="T78" fmla="*/ 10903695 w 784"/>
                <a:gd name="T79" fmla="*/ 28986265 h 430"/>
                <a:gd name="T80" fmla="*/ 13581727 w 784"/>
                <a:gd name="T81" fmla="*/ 25641797 h 430"/>
                <a:gd name="T82" fmla="*/ 15877495 w 784"/>
                <a:gd name="T83" fmla="*/ 21461081 h 430"/>
                <a:gd name="T84" fmla="*/ 16642459 w 784"/>
                <a:gd name="T85" fmla="*/ 17837864 h 430"/>
                <a:gd name="T86" fmla="*/ 14920961 w 784"/>
                <a:gd name="T87" fmla="*/ 15329117 h 430"/>
                <a:gd name="T88" fmla="*/ 10520994 w 784"/>
                <a:gd name="T89" fmla="*/ 13657148 h 430"/>
                <a:gd name="T90" fmla="*/ 8991065 w 784"/>
                <a:gd name="T91" fmla="*/ 11148401 h 430"/>
                <a:gd name="T92" fmla="*/ 7842963 w 784"/>
                <a:gd name="T93" fmla="*/ 7803933 h 430"/>
                <a:gd name="T94" fmla="*/ 20468593 w 784"/>
                <a:gd name="T95" fmla="*/ 11984650 h 430"/>
                <a:gd name="T96" fmla="*/ 41893720 w 784"/>
                <a:gd name="T97" fmla="*/ 20624832 h 430"/>
                <a:gd name="T98" fmla="*/ 52223583 w 784"/>
                <a:gd name="T99" fmla="*/ 0 h 430"/>
                <a:gd name="T100" fmla="*/ 71352941 w 784"/>
                <a:gd name="T101" fmla="*/ 11984650 h 430"/>
                <a:gd name="T102" fmla="*/ 88951934 w 784"/>
                <a:gd name="T103" fmla="*/ 25641797 h 430"/>
                <a:gd name="T104" fmla="*/ 113055092 w 784"/>
                <a:gd name="T105" fmla="*/ 58530029 h 430"/>
                <a:gd name="T106" fmla="*/ 138497485 w 784"/>
                <a:gd name="T107" fmla="*/ 73859674 h 430"/>
                <a:gd name="T108" fmla="*/ 148827347 w 784"/>
                <a:gd name="T109" fmla="*/ 8222110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US"/>
            </a:p>
          </p:txBody>
        </p:sp>
        <p:sp>
          <p:nvSpPr>
            <p:cNvPr id="268" name="Freeform 353">
              <a:extLst>
                <a:ext uri="{FF2B5EF4-FFF2-40B4-BE49-F238E27FC236}">
                  <a16:creationId xmlns:a16="http://schemas.microsoft.com/office/drawing/2014/main" id="{E46CB823-55C7-4640-8FF1-11D8A6DC41A2}"/>
                </a:ext>
              </a:extLst>
            </p:cNvPr>
            <p:cNvSpPr>
              <a:spLocks/>
            </p:cNvSpPr>
            <p:nvPr>
              <p:custDataLst>
                <p:tags r:id="rId256"/>
              </p:custDataLst>
            </p:nvPr>
          </p:nvSpPr>
          <p:spPr bwMode="auto">
            <a:xfrm>
              <a:off x="4425950" y="2551113"/>
              <a:ext cx="107950" cy="149225"/>
            </a:xfrm>
            <a:custGeom>
              <a:avLst/>
              <a:gdLst>
                <a:gd name="T0" fmla="*/ 5777080 w 246"/>
                <a:gd name="T1" fmla="*/ 7454419 h 284"/>
                <a:gd name="T2" fmla="*/ 5391795 w 246"/>
                <a:gd name="T3" fmla="*/ 6626326 h 284"/>
                <a:gd name="T4" fmla="*/ 4621664 w 246"/>
                <a:gd name="T5" fmla="*/ 4693231 h 284"/>
                <a:gd name="T6" fmla="*/ 6739854 w 246"/>
                <a:gd name="T7" fmla="*/ 1380331 h 284"/>
                <a:gd name="T8" fmla="*/ 12901780 w 246"/>
                <a:gd name="T9" fmla="*/ 275856 h 284"/>
                <a:gd name="T10" fmla="*/ 24262860 w 246"/>
                <a:gd name="T11" fmla="*/ 3312900 h 284"/>
                <a:gd name="T12" fmla="*/ 25226072 w 246"/>
                <a:gd name="T13" fmla="*/ 8282513 h 284"/>
                <a:gd name="T14" fmla="*/ 26766334 w 246"/>
                <a:gd name="T15" fmla="*/ 12699888 h 284"/>
                <a:gd name="T16" fmla="*/ 29077166 w 246"/>
                <a:gd name="T17" fmla="*/ 15736932 h 284"/>
                <a:gd name="T18" fmla="*/ 31772845 w 246"/>
                <a:gd name="T19" fmla="*/ 18497595 h 284"/>
                <a:gd name="T20" fmla="*/ 36779794 w 246"/>
                <a:gd name="T21" fmla="*/ 24019445 h 284"/>
                <a:gd name="T22" fmla="*/ 39090626 w 246"/>
                <a:gd name="T23" fmla="*/ 27884583 h 284"/>
                <a:gd name="T24" fmla="*/ 40823530 w 246"/>
                <a:gd name="T25" fmla="*/ 32301958 h 284"/>
                <a:gd name="T26" fmla="*/ 43519648 w 246"/>
                <a:gd name="T27" fmla="*/ 32301958 h 284"/>
                <a:gd name="T28" fmla="*/ 42556435 w 246"/>
                <a:gd name="T29" fmla="*/ 34235052 h 284"/>
                <a:gd name="T30" fmla="*/ 42556435 w 246"/>
                <a:gd name="T31" fmla="*/ 35615384 h 284"/>
                <a:gd name="T32" fmla="*/ 43904494 w 246"/>
                <a:gd name="T33" fmla="*/ 38652428 h 284"/>
                <a:gd name="T34" fmla="*/ 46022683 w 246"/>
                <a:gd name="T35" fmla="*/ 42517565 h 284"/>
                <a:gd name="T36" fmla="*/ 46985457 w 246"/>
                <a:gd name="T37" fmla="*/ 44725990 h 284"/>
                <a:gd name="T38" fmla="*/ 47370742 w 246"/>
                <a:gd name="T39" fmla="*/ 47763034 h 284"/>
                <a:gd name="T40" fmla="*/ 46407968 w 246"/>
                <a:gd name="T41" fmla="*/ 50800078 h 284"/>
                <a:gd name="T42" fmla="*/ 44867267 w 246"/>
                <a:gd name="T43" fmla="*/ 53009029 h 284"/>
                <a:gd name="T44" fmla="*/ 42941720 w 246"/>
                <a:gd name="T45" fmla="*/ 54665216 h 284"/>
                <a:gd name="T46" fmla="*/ 42364232 w 246"/>
                <a:gd name="T47" fmla="*/ 56321929 h 284"/>
                <a:gd name="T48" fmla="*/ 36394509 w 246"/>
                <a:gd name="T49" fmla="*/ 59358973 h 284"/>
                <a:gd name="T50" fmla="*/ 31580641 w 246"/>
                <a:gd name="T51" fmla="*/ 63499966 h 284"/>
                <a:gd name="T52" fmla="*/ 21759824 w 246"/>
                <a:gd name="T53" fmla="*/ 73163336 h 284"/>
                <a:gd name="T54" fmla="*/ 16945517 w 246"/>
                <a:gd name="T55" fmla="*/ 63776348 h 284"/>
                <a:gd name="T56" fmla="*/ 15212612 w 246"/>
                <a:gd name="T57" fmla="*/ 60739304 h 284"/>
                <a:gd name="T58" fmla="*/ 13864554 w 246"/>
                <a:gd name="T59" fmla="*/ 59634829 h 284"/>
                <a:gd name="T60" fmla="*/ 11553722 w 246"/>
                <a:gd name="T61" fmla="*/ 59911210 h 284"/>
                <a:gd name="T62" fmla="*/ 10398306 w 246"/>
                <a:gd name="T63" fmla="*/ 61015160 h 284"/>
                <a:gd name="T64" fmla="*/ 9435532 w 246"/>
                <a:gd name="T65" fmla="*/ 62947729 h 284"/>
                <a:gd name="T66" fmla="*/ 9242890 w 246"/>
                <a:gd name="T67" fmla="*/ 65156679 h 284"/>
                <a:gd name="T68" fmla="*/ 8665401 w 246"/>
                <a:gd name="T69" fmla="*/ 70954386 h 284"/>
                <a:gd name="T70" fmla="*/ 7895270 w 246"/>
                <a:gd name="T71" fmla="*/ 74543667 h 284"/>
                <a:gd name="T72" fmla="*/ 6354569 w 246"/>
                <a:gd name="T73" fmla="*/ 78408805 h 284"/>
                <a:gd name="T74" fmla="*/ 5006510 w 246"/>
                <a:gd name="T75" fmla="*/ 67089248 h 284"/>
                <a:gd name="T76" fmla="*/ 3273606 w 246"/>
                <a:gd name="T77" fmla="*/ 62671873 h 284"/>
                <a:gd name="T78" fmla="*/ 2118190 w 246"/>
                <a:gd name="T79" fmla="*/ 61015160 h 284"/>
                <a:gd name="T80" fmla="*/ 0 w 246"/>
                <a:gd name="T81" fmla="*/ 59634829 h 284"/>
                <a:gd name="T82" fmla="*/ 192642 w 246"/>
                <a:gd name="T83" fmla="*/ 56321929 h 284"/>
                <a:gd name="T84" fmla="*/ 770131 w 246"/>
                <a:gd name="T85" fmla="*/ 53284885 h 284"/>
                <a:gd name="T86" fmla="*/ 2888321 w 246"/>
                <a:gd name="T87" fmla="*/ 48591128 h 284"/>
                <a:gd name="T88" fmla="*/ 5969284 w 246"/>
                <a:gd name="T89" fmla="*/ 44450134 h 284"/>
                <a:gd name="T90" fmla="*/ 8858043 w 246"/>
                <a:gd name="T91" fmla="*/ 38928284 h 284"/>
                <a:gd name="T92" fmla="*/ 6354569 w 246"/>
                <a:gd name="T93" fmla="*/ 12147651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9" name="Freeform 354">
              <a:extLst>
                <a:ext uri="{FF2B5EF4-FFF2-40B4-BE49-F238E27FC236}">
                  <a16:creationId xmlns:a16="http://schemas.microsoft.com/office/drawing/2014/main" id="{36B7DF8F-9A85-4200-8403-A5206E79D1EB}"/>
                </a:ext>
              </a:extLst>
            </p:cNvPr>
            <p:cNvSpPr>
              <a:spLocks/>
            </p:cNvSpPr>
            <p:nvPr>
              <p:custDataLst>
                <p:tags r:id="rId257"/>
              </p:custDataLst>
            </p:nvPr>
          </p:nvSpPr>
          <p:spPr bwMode="auto">
            <a:xfrm>
              <a:off x="4473575" y="2659063"/>
              <a:ext cx="68263" cy="60325"/>
            </a:xfrm>
            <a:custGeom>
              <a:avLst/>
              <a:gdLst>
                <a:gd name="T0" fmla="*/ 20750672 w 160"/>
                <a:gd name="T1" fmla="*/ 0 h 117"/>
                <a:gd name="T2" fmla="*/ 20750672 w 160"/>
                <a:gd name="T3" fmla="*/ 2392376 h 117"/>
                <a:gd name="T4" fmla="*/ 20750672 w 160"/>
                <a:gd name="T5" fmla="*/ 4785268 h 117"/>
                <a:gd name="T6" fmla="*/ 20932849 w 160"/>
                <a:gd name="T7" fmla="*/ 6646062 h 117"/>
                <a:gd name="T8" fmla="*/ 21296776 w 160"/>
                <a:gd name="T9" fmla="*/ 8506856 h 117"/>
                <a:gd name="T10" fmla="*/ 21661130 w 160"/>
                <a:gd name="T11" fmla="*/ 9038438 h 117"/>
                <a:gd name="T12" fmla="*/ 22025057 w 160"/>
                <a:gd name="T13" fmla="*/ 9836069 h 117"/>
                <a:gd name="T14" fmla="*/ 22388984 w 160"/>
                <a:gd name="T15" fmla="*/ 10102117 h 117"/>
                <a:gd name="T16" fmla="*/ 23117265 w 160"/>
                <a:gd name="T17" fmla="*/ 10367650 h 117"/>
                <a:gd name="T18" fmla="*/ 23845119 w 160"/>
                <a:gd name="T19" fmla="*/ 10633699 h 117"/>
                <a:gd name="T20" fmla="*/ 24573400 w 160"/>
                <a:gd name="T21" fmla="*/ 10367650 h 117"/>
                <a:gd name="T22" fmla="*/ 25483431 w 160"/>
                <a:gd name="T23" fmla="*/ 10102117 h 117"/>
                <a:gd name="T24" fmla="*/ 26575639 w 160"/>
                <a:gd name="T25" fmla="*/ 9570535 h 117"/>
                <a:gd name="T26" fmla="*/ 27121743 w 160"/>
                <a:gd name="T27" fmla="*/ 11431330 h 117"/>
                <a:gd name="T28" fmla="*/ 27849597 w 160"/>
                <a:gd name="T29" fmla="*/ 13823706 h 117"/>
                <a:gd name="T30" fmla="*/ 28577878 w 160"/>
                <a:gd name="T31" fmla="*/ 17013712 h 117"/>
                <a:gd name="T32" fmla="*/ 29123982 w 160"/>
                <a:gd name="T33" fmla="*/ 19672137 h 117"/>
                <a:gd name="T34" fmla="*/ 24209473 w 160"/>
                <a:gd name="T35" fmla="*/ 23394241 h 117"/>
                <a:gd name="T36" fmla="*/ 19294537 w 160"/>
                <a:gd name="T37" fmla="*/ 27115830 h 117"/>
                <a:gd name="T38" fmla="*/ 16746194 w 160"/>
                <a:gd name="T39" fmla="*/ 28445042 h 117"/>
                <a:gd name="T40" fmla="*/ 13833924 w 160"/>
                <a:gd name="T41" fmla="*/ 30040303 h 117"/>
                <a:gd name="T42" fmla="*/ 11285580 w 160"/>
                <a:gd name="T43" fmla="*/ 30837418 h 117"/>
                <a:gd name="T44" fmla="*/ 8555060 w 160"/>
                <a:gd name="T45" fmla="*/ 31103467 h 117"/>
                <a:gd name="T46" fmla="*/ 5824967 w 160"/>
                <a:gd name="T47" fmla="*/ 26318199 h 117"/>
                <a:gd name="T48" fmla="*/ 3822728 w 160"/>
                <a:gd name="T49" fmla="*/ 22065029 h 117"/>
                <a:gd name="T50" fmla="*/ 1820062 w 160"/>
                <a:gd name="T51" fmla="*/ 18342925 h 117"/>
                <a:gd name="T52" fmla="*/ 0 w 160"/>
                <a:gd name="T53" fmla="*/ 14621336 h 117"/>
                <a:gd name="T54" fmla="*/ 2366166 w 160"/>
                <a:gd name="T55" fmla="*/ 12760542 h 117"/>
                <a:gd name="T56" fmla="*/ 7462852 w 160"/>
                <a:gd name="T57" fmla="*/ 8506856 h 117"/>
                <a:gd name="T58" fmla="*/ 10921653 w 160"/>
                <a:gd name="T59" fmla="*/ 6114480 h 117"/>
                <a:gd name="T60" fmla="*/ 14197851 w 160"/>
                <a:gd name="T61" fmla="*/ 3721588 h 117"/>
                <a:gd name="T62" fmla="*/ 17656225 w 160"/>
                <a:gd name="T63" fmla="*/ 1595261 h 117"/>
                <a:gd name="T64" fmla="*/ 20750672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70" name="Freeform 355">
              <a:extLst>
                <a:ext uri="{FF2B5EF4-FFF2-40B4-BE49-F238E27FC236}">
                  <a16:creationId xmlns:a16="http://schemas.microsoft.com/office/drawing/2014/main" id="{AE50958C-BA2A-45DF-9A0E-1894A9AD066B}"/>
                </a:ext>
              </a:extLst>
            </p:cNvPr>
            <p:cNvSpPr>
              <a:spLocks/>
            </p:cNvSpPr>
            <p:nvPr>
              <p:custDataLst>
                <p:tags r:id="rId258"/>
              </p:custDataLst>
            </p:nvPr>
          </p:nvSpPr>
          <p:spPr bwMode="auto">
            <a:xfrm>
              <a:off x="4557713" y="3282950"/>
              <a:ext cx="411162" cy="611188"/>
            </a:xfrm>
            <a:custGeom>
              <a:avLst/>
              <a:gdLst>
                <a:gd name="T0" fmla="*/ 141060831 w 943"/>
                <a:gd name="T1" fmla="*/ 1359526 h 1172"/>
                <a:gd name="T2" fmla="*/ 145433188 w 943"/>
                <a:gd name="T3" fmla="*/ 6254758 h 1172"/>
                <a:gd name="T4" fmla="*/ 152657518 w 943"/>
                <a:gd name="T5" fmla="*/ 8158721 h 1172"/>
                <a:gd name="T6" fmla="*/ 154748645 w 943"/>
                <a:gd name="T7" fmla="*/ 14957394 h 1172"/>
                <a:gd name="T8" fmla="*/ 158740797 w 943"/>
                <a:gd name="T9" fmla="*/ 29642569 h 1172"/>
                <a:gd name="T10" fmla="*/ 159121002 w 943"/>
                <a:gd name="T11" fmla="*/ 50855243 h 1172"/>
                <a:gd name="T12" fmla="*/ 162923488 w 943"/>
                <a:gd name="T13" fmla="*/ 66084334 h 1172"/>
                <a:gd name="T14" fmla="*/ 175280584 w 943"/>
                <a:gd name="T15" fmla="*/ 79409983 h 1172"/>
                <a:gd name="T16" fmla="*/ 167105742 w 943"/>
                <a:gd name="T17" fmla="*/ 98174780 h 1172"/>
                <a:gd name="T18" fmla="*/ 161782873 w 943"/>
                <a:gd name="T19" fmla="*/ 111500430 h 1172"/>
                <a:gd name="T20" fmla="*/ 153798133 w 943"/>
                <a:gd name="T21" fmla="*/ 172690052 h 1172"/>
                <a:gd name="T22" fmla="*/ 146383700 w 943"/>
                <a:gd name="T23" fmla="*/ 184111740 h 1172"/>
                <a:gd name="T24" fmla="*/ 145052983 w 943"/>
                <a:gd name="T25" fmla="*/ 196077864 h 1172"/>
                <a:gd name="T26" fmla="*/ 141631139 w 943"/>
                <a:gd name="T27" fmla="*/ 199885267 h 1172"/>
                <a:gd name="T28" fmla="*/ 137448884 w 943"/>
                <a:gd name="T29" fmla="*/ 217018319 h 1172"/>
                <a:gd name="T30" fmla="*/ 131555271 w 943"/>
                <a:gd name="T31" fmla="*/ 238502168 h 1172"/>
                <a:gd name="T32" fmla="*/ 125852197 w 943"/>
                <a:gd name="T33" fmla="*/ 245573059 h 1172"/>
                <a:gd name="T34" fmla="*/ 126232402 w 943"/>
                <a:gd name="T35" fmla="*/ 254003477 h 1172"/>
                <a:gd name="T36" fmla="*/ 130414657 w 943"/>
                <a:gd name="T37" fmla="*/ 255363524 h 1172"/>
                <a:gd name="T38" fmla="*/ 134787449 w 943"/>
                <a:gd name="T39" fmla="*/ 258354794 h 1172"/>
                <a:gd name="T40" fmla="*/ 141060831 w 943"/>
                <a:gd name="T41" fmla="*/ 264065638 h 1172"/>
                <a:gd name="T42" fmla="*/ 143722266 w 943"/>
                <a:gd name="T43" fmla="*/ 273856103 h 1172"/>
                <a:gd name="T44" fmla="*/ 147334649 w 943"/>
                <a:gd name="T45" fmla="*/ 283646567 h 1172"/>
                <a:gd name="T46" fmla="*/ 152657518 w 943"/>
                <a:gd name="T47" fmla="*/ 286366141 h 1172"/>
                <a:gd name="T48" fmla="*/ 153798133 w 943"/>
                <a:gd name="T49" fmla="*/ 297516132 h 1172"/>
                <a:gd name="T50" fmla="*/ 136498372 w 943"/>
                <a:gd name="T51" fmla="*/ 303226976 h 1172"/>
                <a:gd name="T52" fmla="*/ 130604759 w 943"/>
                <a:gd name="T53" fmla="*/ 314649185 h 1172"/>
                <a:gd name="T54" fmla="*/ 113685203 w 943"/>
                <a:gd name="T55" fmla="*/ 318184369 h 1172"/>
                <a:gd name="T56" fmla="*/ 97906262 w 943"/>
                <a:gd name="T57" fmla="*/ 314920881 h 1172"/>
                <a:gd name="T58" fmla="*/ 88210600 w 943"/>
                <a:gd name="T59" fmla="*/ 305402634 h 1172"/>
                <a:gd name="T60" fmla="*/ 74142581 w 943"/>
                <a:gd name="T61" fmla="*/ 305946549 h 1172"/>
                <a:gd name="T62" fmla="*/ 60644869 w 943"/>
                <a:gd name="T63" fmla="*/ 304586502 h 1172"/>
                <a:gd name="T64" fmla="*/ 56462179 w 943"/>
                <a:gd name="T65" fmla="*/ 300235705 h 1172"/>
                <a:gd name="T66" fmla="*/ 55891871 w 943"/>
                <a:gd name="T67" fmla="*/ 292348681 h 1172"/>
                <a:gd name="T68" fmla="*/ 52089822 w 943"/>
                <a:gd name="T69" fmla="*/ 279839165 h 1172"/>
                <a:gd name="T70" fmla="*/ 41063442 w 943"/>
                <a:gd name="T71" fmla="*/ 264881771 h 1172"/>
                <a:gd name="T72" fmla="*/ 36691085 w 943"/>
                <a:gd name="T73" fmla="*/ 251556121 h 1172"/>
                <a:gd name="T74" fmla="*/ 28896448 w 943"/>
                <a:gd name="T75" fmla="*/ 245573059 h 1172"/>
                <a:gd name="T76" fmla="*/ 22813169 w 943"/>
                <a:gd name="T77" fmla="*/ 230071751 h 1172"/>
                <a:gd name="T78" fmla="*/ 18440376 w 943"/>
                <a:gd name="T79" fmla="*/ 214298746 h 1172"/>
                <a:gd name="T80" fmla="*/ 12357097 w 943"/>
                <a:gd name="T81" fmla="*/ 206140025 h 1172"/>
                <a:gd name="T82" fmla="*/ 6273382 w 943"/>
                <a:gd name="T83" fmla="*/ 183840043 h 1172"/>
                <a:gd name="T84" fmla="*/ 760410 w 943"/>
                <a:gd name="T85" fmla="*/ 166163076 h 1172"/>
                <a:gd name="T86" fmla="*/ 3421845 w 943"/>
                <a:gd name="T87" fmla="*/ 156916526 h 1172"/>
                <a:gd name="T88" fmla="*/ 5512972 w 943"/>
                <a:gd name="T89" fmla="*/ 141687435 h 1172"/>
                <a:gd name="T90" fmla="*/ 12166994 w 943"/>
                <a:gd name="T91" fmla="*/ 128905700 h 1172"/>
                <a:gd name="T92" fmla="*/ 21482451 w 943"/>
                <a:gd name="T93" fmla="*/ 60373490 h 1172"/>
                <a:gd name="T94" fmla="*/ 23383476 w 943"/>
                <a:gd name="T95" fmla="*/ 48679584 h 1172"/>
                <a:gd name="T96" fmla="*/ 29086550 w 943"/>
                <a:gd name="T97" fmla="*/ 46503926 h 1172"/>
                <a:gd name="T98" fmla="*/ 30417268 w 943"/>
                <a:gd name="T99" fmla="*/ 33178276 h 1172"/>
                <a:gd name="T100" fmla="*/ 30227165 w 943"/>
                <a:gd name="T101" fmla="*/ 18220882 h 1172"/>
                <a:gd name="T102" fmla="*/ 129083939 w 943"/>
                <a:gd name="T103" fmla="*/ 1876479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a:p>
          </p:txBody>
        </p:sp>
        <p:sp>
          <p:nvSpPr>
            <p:cNvPr id="271" name="Freeform 356">
              <a:extLst>
                <a:ext uri="{FF2B5EF4-FFF2-40B4-BE49-F238E27FC236}">
                  <a16:creationId xmlns:a16="http://schemas.microsoft.com/office/drawing/2014/main" id="{8FE9E971-5097-4BCE-A268-D20D78F7FBB4}"/>
                </a:ext>
              </a:extLst>
            </p:cNvPr>
            <p:cNvSpPr>
              <a:spLocks/>
            </p:cNvSpPr>
            <p:nvPr>
              <p:custDataLst>
                <p:tags r:id="rId259"/>
              </p:custDataLst>
            </p:nvPr>
          </p:nvSpPr>
          <p:spPr bwMode="auto">
            <a:xfrm>
              <a:off x="5041900" y="3622675"/>
              <a:ext cx="244475" cy="431800"/>
            </a:xfrm>
            <a:custGeom>
              <a:avLst/>
              <a:gdLst>
                <a:gd name="T0" fmla="*/ 18947252 w 556"/>
                <a:gd name="T1" fmla="*/ 17234040 h 819"/>
                <a:gd name="T2" fmla="*/ 21654065 w 556"/>
                <a:gd name="T3" fmla="*/ 15566416 h 819"/>
                <a:gd name="T4" fmla="*/ 24940847 w 556"/>
                <a:gd name="T5" fmla="*/ 19180039 h 819"/>
                <a:gd name="T6" fmla="*/ 28807597 w 556"/>
                <a:gd name="T7" fmla="*/ 23627210 h 819"/>
                <a:gd name="T8" fmla="*/ 33060847 w 556"/>
                <a:gd name="T9" fmla="*/ 25573210 h 819"/>
                <a:gd name="T10" fmla="*/ 41567785 w 556"/>
                <a:gd name="T11" fmla="*/ 24461285 h 819"/>
                <a:gd name="T12" fmla="*/ 49688225 w 556"/>
                <a:gd name="T13" fmla="*/ 22793662 h 819"/>
                <a:gd name="T14" fmla="*/ 56261788 w 556"/>
                <a:gd name="T15" fmla="*/ 21959587 h 819"/>
                <a:gd name="T16" fmla="*/ 58195163 w 556"/>
                <a:gd name="T17" fmla="*/ 20569813 h 819"/>
                <a:gd name="T18" fmla="*/ 58195163 w 556"/>
                <a:gd name="T19" fmla="*/ 18902190 h 819"/>
                <a:gd name="T20" fmla="*/ 68635477 w 556"/>
                <a:gd name="T21" fmla="*/ 17511889 h 819"/>
                <a:gd name="T22" fmla="*/ 83909008 w 556"/>
                <a:gd name="T23" fmla="*/ 12508492 h 819"/>
                <a:gd name="T24" fmla="*/ 92609416 w 556"/>
                <a:gd name="T25" fmla="*/ 7782945 h 819"/>
                <a:gd name="T26" fmla="*/ 99376010 w 556"/>
                <a:gd name="T27" fmla="*/ 2223849 h 819"/>
                <a:gd name="T28" fmla="*/ 105756543 w 556"/>
                <a:gd name="T29" fmla="*/ 8617020 h 819"/>
                <a:gd name="T30" fmla="*/ 107302980 w 556"/>
                <a:gd name="T31" fmla="*/ 15844266 h 819"/>
                <a:gd name="T32" fmla="*/ 106723011 w 556"/>
                <a:gd name="T33" fmla="*/ 31410682 h 819"/>
                <a:gd name="T34" fmla="*/ 102856261 w 556"/>
                <a:gd name="T35" fmla="*/ 48366872 h 819"/>
                <a:gd name="T36" fmla="*/ 97056135 w 556"/>
                <a:gd name="T37" fmla="*/ 64211138 h 819"/>
                <a:gd name="T38" fmla="*/ 86422352 w 556"/>
                <a:gd name="T39" fmla="*/ 89228122 h 819"/>
                <a:gd name="T40" fmla="*/ 81782164 w 556"/>
                <a:gd name="T41" fmla="*/ 104238840 h 819"/>
                <a:gd name="T42" fmla="*/ 79268820 w 556"/>
                <a:gd name="T43" fmla="*/ 115357558 h 819"/>
                <a:gd name="T44" fmla="*/ 73275665 w 556"/>
                <a:gd name="T45" fmla="*/ 131479673 h 819"/>
                <a:gd name="T46" fmla="*/ 63801819 w 556"/>
                <a:gd name="T47" fmla="*/ 147601788 h 819"/>
                <a:gd name="T48" fmla="*/ 55681819 w 556"/>
                <a:gd name="T49" fmla="*/ 157330732 h 819"/>
                <a:gd name="T50" fmla="*/ 46207974 w 556"/>
                <a:gd name="T51" fmla="*/ 166781827 h 819"/>
                <a:gd name="T52" fmla="*/ 32480878 w 556"/>
                <a:gd name="T53" fmla="*/ 180958470 h 819"/>
                <a:gd name="T54" fmla="*/ 27647660 w 556"/>
                <a:gd name="T55" fmla="*/ 189019264 h 819"/>
                <a:gd name="T56" fmla="*/ 25327346 w 556"/>
                <a:gd name="T57" fmla="*/ 194578886 h 819"/>
                <a:gd name="T58" fmla="*/ 22427503 w 556"/>
                <a:gd name="T59" fmla="*/ 199304434 h 819"/>
                <a:gd name="T60" fmla="*/ 13727095 w 556"/>
                <a:gd name="T61" fmla="*/ 207087379 h 819"/>
                <a:gd name="T62" fmla="*/ 3673281 w 556"/>
                <a:gd name="T63" fmla="*/ 222653795 h 819"/>
                <a:gd name="T64" fmla="*/ 386499 w 556"/>
                <a:gd name="T65" fmla="*/ 156775034 h 819"/>
                <a:gd name="T66" fmla="*/ 579969 w 556"/>
                <a:gd name="T67" fmla="*/ 153994959 h 819"/>
                <a:gd name="T68" fmla="*/ 5220157 w 556"/>
                <a:gd name="T69" fmla="*/ 148158014 h 819"/>
                <a:gd name="T70" fmla="*/ 8120439 w 556"/>
                <a:gd name="T71" fmla="*/ 143432466 h 819"/>
                <a:gd name="T72" fmla="*/ 11600251 w 556"/>
                <a:gd name="T73" fmla="*/ 138150693 h 819"/>
                <a:gd name="T74" fmla="*/ 21460596 w 556"/>
                <a:gd name="T75" fmla="*/ 133425673 h 819"/>
                <a:gd name="T76" fmla="*/ 23007472 w 556"/>
                <a:gd name="T77" fmla="*/ 130645598 h 819"/>
                <a:gd name="T78" fmla="*/ 24940847 w 556"/>
                <a:gd name="T79" fmla="*/ 125642201 h 819"/>
                <a:gd name="T80" fmla="*/ 29387566 w 556"/>
                <a:gd name="T81" fmla="*/ 122306427 h 819"/>
                <a:gd name="T82" fmla="*/ 33640815 w 556"/>
                <a:gd name="T83" fmla="*/ 122028578 h 819"/>
                <a:gd name="T84" fmla="*/ 37894504 w 556"/>
                <a:gd name="T85" fmla="*/ 122028578 h 819"/>
                <a:gd name="T86" fmla="*/ 44081129 w 556"/>
                <a:gd name="T87" fmla="*/ 119249030 h 819"/>
                <a:gd name="T88" fmla="*/ 48528288 w 556"/>
                <a:gd name="T89" fmla="*/ 112577483 h 819"/>
                <a:gd name="T90" fmla="*/ 51234661 w 556"/>
                <a:gd name="T91" fmla="*/ 105350764 h 819"/>
                <a:gd name="T92" fmla="*/ 57228256 w 556"/>
                <a:gd name="T93" fmla="*/ 96455368 h 819"/>
                <a:gd name="T94" fmla="*/ 68442007 w 556"/>
                <a:gd name="T95" fmla="*/ 81445178 h 819"/>
                <a:gd name="T96" fmla="*/ 72888726 w 556"/>
                <a:gd name="T97" fmla="*/ 73940082 h 819"/>
                <a:gd name="T98" fmla="*/ 62641882 w 556"/>
                <a:gd name="T99" fmla="*/ 68380460 h 819"/>
                <a:gd name="T100" fmla="*/ 49688225 w 556"/>
                <a:gd name="T101" fmla="*/ 63377063 h 819"/>
                <a:gd name="T102" fmla="*/ 35574190 w 556"/>
                <a:gd name="T103" fmla="*/ 58095817 h 819"/>
                <a:gd name="T104" fmla="*/ 28807597 w 556"/>
                <a:gd name="T105" fmla="*/ 51980495 h 819"/>
                <a:gd name="T106" fmla="*/ 21654065 w 556"/>
                <a:gd name="T107" fmla="*/ 42807250 h 819"/>
                <a:gd name="T108" fmla="*/ 17207346 w 556"/>
                <a:gd name="T109" fmla="*/ 33634531 h 819"/>
                <a:gd name="T110" fmla="*/ 14887033 w 556"/>
                <a:gd name="T111" fmla="*/ 22237436 h 819"/>
                <a:gd name="T112" fmla="*/ 12567158 w 556"/>
                <a:gd name="T113" fmla="*/ 24183436 h 819"/>
                <a:gd name="T114" fmla="*/ 16240439 w 556"/>
                <a:gd name="T115" fmla="*/ 18902190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US"/>
            </a:p>
          </p:txBody>
        </p:sp>
        <p:sp>
          <p:nvSpPr>
            <p:cNvPr id="272" name="Freeform 357">
              <a:extLst>
                <a:ext uri="{FF2B5EF4-FFF2-40B4-BE49-F238E27FC236}">
                  <a16:creationId xmlns:a16="http://schemas.microsoft.com/office/drawing/2014/main" id="{28CEA33B-D02E-4BDC-BD66-2121E68833ED}"/>
                </a:ext>
              </a:extLst>
            </p:cNvPr>
            <p:cNvSpPr>
              <a:spLocks/>
            </p:cNvSpPr>
            <p:nvPr>
              <p:custDataLst>
                <p:tags r:id="rId260"/>
              </p:custDataLst>
            </p:nvPr>
          </p:nvSpPr>
          <p:spPr bwMode="auto">
            <a:xfrm>
              <a:off x="5049838" y="3609975"/>
              <a:ext cx="38100" cy="58738"/>
            </a:xfrm>
            <a:custGeom>
              <a:avLst/>
              <a:gdLst>
                <a:gd name="T0" fmla="*/ 11579742 w 86"/>
                <a:gd name="T1" fmla="*/ 0 h 97"/>
                <a:gd name="T2" fmla="*/ 10990964 w 86"/>
                <a:gd name="T3" fmla="*/ 733304 h 97"/>
                <a:gd name="T4" fmla="*/ 10205927 w 86"/>
                <a:gd name="T5" fmla="*/ 1100259 h 97"/>
                <a:gd name="T6" fmla="*/ 9028371 w 86"/>
                <a:gd name="T7" fmla="*/ 1100259 h 97"/>
                <a:gd name="T8" fmla="*/ 7850815 w 86"/>
                <a:gd name="T9" fmla="*/ 1100259 h 97"/>
                <a:gd name="T10" fmla="*/ 6477000 w 86"/>
                <a:gd name="T11" fmla="*/ 1100259 h 97"/>
                <a:gd name="T12" fmla="*/ 5299444 w 86"/>
                <a:gd name="T13" fmla="*/ 1100259 h 97"/>
                <a:gd name="T14" fmla="*/ 4514407 w 86"/>
                <a:gd name="T15" fmla="*/ 1466608 h 97"/>
                <a:gd name="T16" fmla="*/ 3925186 w 86"/>
                <a:gd name="T17" fmla="*/ 2199913 h 97"/>
                <a:gd name="T18" fmla="*/ 3140149 w 86"/>
                <a:gd name="T19" fmla="*/ 3300172 h 97"/>
                <a:gd name="T20" fmla="*/ 2551371 w 86"/>
                <a:gd name="T21" fmla="*/ 4399825 h 97"/>
                <a:gd name="T22" fmla="*/ 2158852 w 86"/>
                <a:gd name="T23" fmla="*/ 5500084 h 97"/>
                <a:gd name="T24" fmla="*/ 1570074 w 86"/>
                <a:gd name="T25" fmla="*/ 7333647 h 97"/>
                <a:gd name="T26" fmla="*/ 785037 w 86"/>
                <a:gd name="T27" fmla="*/ 10633819 h 97"/>
                <a:gd name="T28" fmla="*/ 392519 w 86"/>
                <a:gd name="T29" fmla="*/ 13933385 h 97"/>
                <a:gd name="T30" fmla="*/ 0 w 86"/>
                <a:gd name="T31" fmla="*/ 20900683 h 97"/>
                <a:gd name="T32" fmla="*/ 0 w 86"/>
                <a:gd name="T33" fmla="*/ 27500421 h 97"/>
                <a:gd name="T34" fmla="*/ 0 w 86"/>
                <a:gd name="T35" fmla="*/ 29700334 h 97"/>
                <a:gd name="T36" fmla="*/ 196259 w 86"/>
                <a:gd name="T37" fmla="*/ 31533897 h 97"/>
                <a:gd name="T38" fmla="*/ 588778 w 86"/>
                <a:gd name="T39" fmla="*/ 33000505 h 97"/>
                <a:gd name="T40" fmla="*/ 1373815 w 86"/>
                <a:gd name="T41" fmla="*/ 34100764 h 97"/>
                <a:gd name="T42" fmla="*/ 1962593 w 86"/>
                <a:gd name="T43" fmla="*/ 34834069 h 97"/>
                <a:gd name="T44" fmla="*/ 2551371 w 86"/>
                <a:gd name="T45" fmla="*/ 35200418 h 97"/>
                <a:gd name="T46" fmla="*/ 3532667 w 86"/>
                <a:gd name="T47" fmla="*/ 35567373 h 97"/>
                <a:gd name="T48" fmla="*/ 4121445 w 86"/>
                <a:gd name="T49" fmla="*/ 35567373 h 97"/>
                <a:gd name="T50" fmla="*/ 7850815 w 86"/>
                <a:gd name="T51" fmla="*/ 34834069 h 97"/>
                <a:gd name="T52" fmla="*/ 10402186 w 86"/>
                <a:gd name="T53" fmla="*/ 34100764 h 97"/>
                <a:gd name="T54" fmla="*/ 16879186 w 86"/>
                <a:gd name="T55" fmla="*/ 24933554 h 97"/>
                <a:gd name="T56" fmla="*/ 11579742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US"/>
            </a:p>
          </p:txBody>
        </p:sp>
        <p:sp>
          <p:nvSpPr>
            <p:cNvPr id="273" name="Freeform 358">
              <a:extLst>
                <a:ext uri="{FF2B5EF4-FFF2-40B4-BE49-F238E27FC236}">
                  <a16:creationId xmlns:a16="http://schemas.microsoft.com/office/drawing/2014/main" id="{8C6D040E-757F-4F3F-BAEB-A5C13FFD399E}"/>
                </a:ext>
              </a:extLst>
            </p:cNvPr>
            <p:cNvSpPr>
              <a:spLocks/>
            </p:cNvSpPr>
            <p:nvPr>
              <p:custDataLst>
                <p:tags r:id="rId261"/>
              </p:custDataLst>
            </p:nvPr>
          </p:nvSpPr>
          <p:spPr bwMode="auto">
            <a:xfrm>
              <a:off x="4848225" y="3521075"/>
              <a:ext cx="363538" cy="376238"/>
            </a:xfrm>
            <a:custGeom>
              <a:avLst/>
              <a:gdLst>
                <a:gd name="T0" fmla="*/ 33686421 w 845"/>
                <a:gd name="T1" fmla="*/ 9830237 h 720"/>
                <a:gd name="T2" fmla="*/ 37943902 w 845"/>
                <a:gd name="T3" fmla="*/ 7645449 h 720"/>
                <a:gd name="T4" fmla="*/ 45717592 w 845"/>
                <a:gd name="T5" fmla="*/ 0 h 720"/>
                <a:gd name="T6" fmla="*/ 50530061 w 845"/>
                <a:gd name="T7" fmla="*/ 3276920 h 720"/>
                <a:gd name="T8" fmla="*/ 60524990 w 845"/>
                <a:gd name="T9" fmla="*/ 10103009 h 720"/>
                <a:gd name="T10" fmla="*/ 70334923 w 845"/>
                <a:gd name="T11" fmla="*/ 18295047 h 720"/>
                <a:gd name="T12" fmla="*/ 78849026 w 845"/>
                <a:gd name="T13" fmla="*/ 26759857 h 720"/>
                <a:gd name="T14" fmla="*/ 81810247 w 845"/>
                <a:gd name="T15" fmla="*/ 34132534 h 720"/>
                <a:gd name="T16" fmla="*/ 81995673 w 845"/>
                <a:gd name="T17" fmla="*/ 38228292 h 720"/>
                <a:gd name="T18" fmla="*/ 84771899 w 845"/>
                <a:gd name="T19" fmla="*/ 40139785 h 720"/>
                <a:gd name="T20" fmla="*/ 92360593 w 845"/>
                <a:gd name="T21" fmla="*/ 48604595 h 720"/>
                <a:gd name="T22" fmla="*/ 93656423 w 845"/>
                <a:gd name="T23" fmla="*/ 46966396 h 720"/>
                <a:gd name="T24" fmla="*/ 90324781 w 845"/>
                <a:gd name="T25" fmla="*/ 50242793 h 720"/>
                <a:gd name="T26" fmla="*/ 89028950 w 845"/>
                <a:gd name="T27" fmla="*/ 55157912 h 720"/>
                <a:gd name="T28" fmla="*/ 89028950 w 845"/>
                <a:gd name="T29" fmla="*/ 68811135 h 720"/>
                <a:gd name="T30" fmla="*/ 91250189 w 845"/>
                <a:gd name="T31" fmla="*/ 72088054 h 720"/>
                <a:gd name="T32" fmla="*/ 97358058 w 845"/>
                <a:gd name="T33" fmla="*/ 72360826 h 720"/>
                <a:gd name="T34" fmla="*/ 100874696 w 845"/>
                <a:gd name="T35" fmla="*/ 87106181 h 720"/>
                <a:gd name="T36" fmla="*/ 107908404 w 845"/>
                <a:gd name="T37" fmla="*/ 98574617 h 720"/>
                <a:gd name="T38" fmla="*/ 119384158 w 845"/>
                <a:gd name="T39" fmla="*/ 109224214 h 720"/>
                <a:gd name="T40" fmla="*/ 136597360 w 845"/>
                <a:gd name="T41" fmla="*/ 117415729 h 720"/>
                <a:gd name="T42" fmla="*/ 156402222 w 845"/>
                <a:gd name="T43" fmla="*/ 122604142 h 720"/>
                <a:gd name="T44" fmla="*/ 150108927 w 845"/>
                <a:gd name="T45" fmla="*/ 131615018 h 720"/>
                <a:gd name="T46" fmla="*/ 135301960 w 845"/>
                <a:gd name="T47" fmla="*/ 149363999 h 720"/>
                <a:gd name="T48" fmla="*/ 131784891 w 845"/>
                <a:gd name="T49" fmla="*/ 158101581 h 720"/>
                <a:gd name="T50" fmla="*/ 129008666 w 845"/>
                <a:gd name="T51" fmla="*/ 168477883 h 720"/>
                <a:gd name="T52" fmla="*/ 124751614 w 845"/>
                <a:gd name="T53" fmla="*/ 171754803 h 720"/>
                <a:gd name="T54" fmla="*/ 107352987 w 845"/>
                <a:gd name="T55" fmla="*/ 178854186 h 720"/>
                <a:gd name="T56" fmla="*/ 103465926 w 845"/>
                <a:gd name="T57" fmla="*/ 183223239 h 720"/>
                <a:gd name="T58" fmla="*/ 97173062 w 845"/>
                <a:gd name="T59" fmla="*/ 185953570 h 720"/>
                <a:gd name="T60" fmla="*/ 89213946 w 845"/>
                <a:gd name="T61" fmla="*/ 189230489 h 720"/>
                <a:gd name="T62" fmla="*/ 85327316 w 845"/>
                <a:gd name="T63" fmla="*/ 185680798 h 720"/>
                <a:gd name="T64" fmla="*/ 79034022 w 845"/>
                <a:gd name="T65" fmla="*/ 185407503 h 720"/>
                <a:gd name="T66" fmla="*/ 74961966 w 845"/>
                <a:gd name="T67" fmla="*/ 190868688 h 720"/>
                <a:gd name="T68" fmla="*/ 72185740 w 845"/>
                <a:gd name="T69" fmla="*/ 194964968 h 720"/>
                <a:gd name="T70" fmla="*/ 66632859 w 845"/>
                <a:gd name="T71" fmla="*/ 196603167 h 720"/>
                <a:gd name="T72" fmla="*/ 58859168 w 845"/>
                <a:gd name="T73" fmla="*/ 194964968 h 720"/>
                <a:gd name="T74" fmla="*/ 53491282 w 845"/>
                <a:gd name="T75" fmla="*/ 190595916 h 720"/>
                <a:gd name="T76" fmla="*/ 45532597 w 845"/>
                <a:gd name="T77" fmla="*/ 183223239 h 720"/>
                <a:gd name="T78" fmla="*/ 33501425 w 845"/>
                <a:gd name="T79" fmla="*/ 180492385 h 720"/>
                <a:gd name="T80" fmla="*/ 25912731 w 845"/>
                <a:gd name="T81" fmla="*/ 178308120 h 720"/>
                <a:gd name="T82" fmla="*/ 27948974 w 845"/>
                <a:gd name="T83" fmla="*/ 167659045 h 720"/>
                <a:gd name="T84" fmla="*/ 23506496 w 845"/>
                <a:gd name="T85" fmla="*/ 162743927 h 720"/>
                <a:gd name="T86" fmla="*/ 19989858 w 845"/>
                <a:gd name="T87" fmla="*/ 159193713 h 720"/>
                <a:gd name="T88" fmla="*/ 17213632 w 845"/>
                <a:gd name="T89" fmla="*/ 150456131 h 720"/>
                <a:gd name="T90" fmla="*/ 14251980 w 845"/>
                <a:gd name="T91" fmla="*/ 139533762 h 720"/>
                <a:gd name="T92" fmla="*/ 9069520 w 845"/>
                <a:gd name="T93" fmla="*/ 133526511 h 720"/>
                <a:gd name="T94" fmla="*/ 2961652 w 845"/>
                <a:gd name="T95" fmla="*/ 130249592 h 720"/>
                <a:gd name="T96" fmla="*/ 925409 w 845"/>
                <a:gd name="T97" fmla="*/ 128884165 h 720"/>
                <a:gd name="T98" fmla="*/ 369991 w 845"/>
                <a:gd name="T99" fmla="*/ 122330848 h 720"/>
                <a:gd name="T100" fmla="*/ 3887060 w 845"/>
                <a:gd name="T101" fmla="*/ 115231465 h 720"/>
                <a:gd name="T102" fmla="*/ 10179924 w 845"/>
                <a:gd name="T103" fmla="*/ 112773905 h 720"/>
                <a:gd name="T104" fmla="*/ 12401163 w 845"/>
                <a:gd name="T105" fmla="*/ 87652247 h 720"/>
                <a:gd name="T106" fmla="*/ 15177389 w 845"/>
                <a:gd name="T107" fmla="*/ 75091680 h 720"/>
                <a:gd name="T108" fmla="*/ 17583623 w 845"/>
                <a:gd name="T109" fmla="*/ 70995399 h 720"/>
                <a:gd name="T110" fmla="*/ 19064449 w 845"/>
                <a:gd name="T111" fmla="*/ 64442082 h 720"/>
                <a:gd name="T112" fmla="*/ 21470683 w 845"/>
                <a:gd name="T113" fmla="*/ 56250567 h 720"/>
                <a:gd name="T114" fmla="*/ 27393556 w 845"/>
                <a:gd name="T115" fmla="*/ 48604595 h 720"/>
                <a:gd name="T116" fmla="*/ 30910195 w 845"/>
                <a:gd name="T117" fmla="*/ 43689477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US"/>
            </a:p>
          </p:txBody>
        </p:sp>
        <p:sp>
          <p:nvSpPr>
            <p:cNvPr id="274" name="Line 359">
              <a:extLst>
                <a:ext uri="{FF2B5EF4-FFF2-40B4-BE49-F238E27FC236}">
                  <a16:creationId xmlns:a16="http://schemas.microsoft.com/office/drawing/2014/main" id="{745472EB-7FDD-420C-B9C0-8AA81738A201}"/>
                </a:ext>
              </a:extLst>
            </p:cNvPr>
            <p:cNvSpPr>
              <a:spLocks noChangeShapeType="1"/>
            </p:cNvSpPr>
            <p:nvPr>
              <p:custDataLst>
                <p:tags r:id="rId262"/>
              </p:custDataLst>
            </p:nvPr>
          </p:nvSpPr>
          <p:spPr bwMode="auto">
            <a:xfrm flipH="1">
              <a:off x="1708150" y="4040188"/>
              <a:ext cx="4763" cy="79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5" name="Freeform 360">
              <a:extLst>
                <a:ext uri="{FF2B5EF4-FFF2-40B4-BE49-F238E27FC236}">
                  <a16:creationId xmlns:a16="http://schemas.microsoft.com/office/drawing/2014/main" id="{C7833182-7684-4A5C-9E97-BC6FAAD7235A}"/>
                </a:ext>
              </a:extLst>
            </p:cNvPr>
            <p:cNvSpPr>
              <a:spLocks/>
            </p:cNvSpPr>
            <p:nvPr>
              <p:custDataLst>
                <p:tags r:id="rId263"/>
              </p:custDataLst>
            </p:nvPr>
          </p:nvSpPr>
          <p:spPr bwMode="auto">
            <a:xfrm>
              <a:off x="1708150" y="4048125"/>
              <a:ext cx="12700" cy="58738"/>
            </a:xfrm>
            <a:custGeom>
              <a:avLst/>
              <a:gdLst>
                <a:gd name="T0" fmla="*/ 0 w 33"/>
                <a:gd name="T1" fmla="*/ 0 h 6"/>
                <a:gd name="T2" fmla="*/ 1036782 w 33"/>
                <a:gd name="T3" fmla="*/ 95839205 h 6"/>
                <a:gd name="T4" fmla="*/ 2221730 w 33"/>
                <a:gd name="T5" fmla="*/ 287507826 h 6"/>
                <a:gd name="T6" fmla="*/ 3406679 w 33"/>
                <a:gd name="T7" fmla="*/ 479176446 h 6"/>
                <a:gd name="T8" fmla="*/ 4887576 w 33"/>
                <a:gd name="T9" fmla="*/ 575005862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US"/>
            </a:p>
          </p:txBody>
        </p:sp>
        <p:sp>
          <p:nvSpPr>
            <p:cNvPr id="276" name="Freeform 361">
              <a:extLst>
                <a:ext uri="{FF2B5EF4-FFF2-40B4-BE49-F238E27FC236}">
                  <a16:creationId xmlns:a16="http://schemas.microsoft.com/office/drawing/2014/main" id="{F6811AC9-32EC-478F-B419-7AF51B2E7A1D}"/>
                </a:ext>
              </a:extLst>
            </p:cNvPr>
            <p:cNvSpPr>
              <a:spLocks/>
            </p:cNvSpPr>
            <p:nvPr>
              <p:custDataLst>
                <p:tags r:id="rId264"/>
              </p:custDataLst>
            </p:nvPr>
          </p:nvSpPr>
          <p:spPr bwMode="auto">
            <a:xfrm>
              <a:off x="1716088" y="4035425"/>
              <a:ext cx="4762" cy="57150"/>
            </a:xfrm>
            <a:custGeom>
              <a:avLst/>
              <a:gdLst>
                <a:gd name="T0" fmla="*/ 1744357 w 13"/>
                <a:gd name="T1" fmla="*/ 108870750 h 30"/>
                <a:gd name="T2" fmla="*/ 1744357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77" name="Group 362">
              <a:extLst>
                <a:ext uri="{FF2B5EF4-FFF2-40B4-BE49-F238E27FC236}">
                  <a16:creationId xmlns:a16="http://schemas.microsoft.com/office/drawing/2014/main" id="{940C945D-260A-40AE-9FE2-66CD4A5F581B}"/>
                </a:ext>
              </a:extLst>
            </p:cNvPr>
            <p:cNvGrpSpPr>
              <a:grpSpLocks/>
            </p:cNvGrpSpPr>
            <p:nvPr>
              <p:custDataLst>
                <p:tags r:id="rId265"/>
              </p:custDataLst>
            </p:nvPr>
          </p:nvGrpSpPr>
          <p:grpSpPr bwMode="auto">
            <a:xfrm>
              <a:off x="1708150" y="3970338"/>
              <a:ext cx="417513" cy="201612"/>
              <a:chOff x="912" y="2626"/>
              <a:chExt cx="311" cy="127"/>
            </a:xfrm>
          </p:grpSpPr>
          <p:sp>
            <p:nvSpPr>
              <p:cNvPr id="471" name="Freeform 363">
                <a:extLst>
                  <a:ext uri="{FF2B5EF4-FFF2-40B4-BE49-F238E27FC236}">
                    <a16:creationId xmlns:a16="http://schemas.microsoft.com/office/drawing/2014/main" id="{2B521FC4-853B-4ABB-ABFC-090AA6DA4671}"/>
                  </a:ext>
                </a:extLst>
              </p:cNvPr>
              <p:cNvSpPr>
                <a:spLocks/>
              </p:cNvSpPr>
              <p:nvPr/>
            </p:nvSpPr>
            <p:spPr bwMode="auto">
              <a:xfrm>
                <a:off x="1110" y="2626"/>
                <a:ext cx="113" cy="127"/>
              </a:xfrm>
              <a:custGeom>
                <a:avLst/>
                <a:gdLst>
                  <a:gd name="T0" fmla="*/ 32 w 352"/>
                  <a:gd name="T1" fmla="*/ 9 h 387"/>
                  <a:gd name="T2" fmla="*/ 30 w 352"/>
                  <a:gd name="T3" fmla="*/ 9 h 387"/>
                  <a:gd name="T4" fmla="*/ 27 w 352"/>
                  <a:gd name="T5" fmla="*/ 9 h 387"/>
                  <a:gd name="T6" fmla="*/ 26 w 352"/>
                  <a:gd name="T7" fmla="*/ 8 h 387"/>
                  <a:gd name="T8" fmla="*/ 23 w 352"/>
                  <a:gd name="T9" fmla="*/ 6 h 387"/>
                  <a:gd name="T10" fmla="*/ 17 w 352"/>
                  <a:gd name="T11" fmla="*/ 2 h 387"/>
                  <a:gd name="T12" fmla="*/ 14 w 352"/>
                  <a:gd name="T13" fmla="*/ 1 h 387"/>
                  <a:gd name="T14" fmla="*/ 13 w 352"/>
                  <a:gd name="T15" fmla="*/ 2 h 387"/>
                  <a:gd name="T16" fmla="*/ 12 w 352"/>
                  <a:gd name="T17" fmla="*/ 3 h 387"/>
                  <a:gd name="T18" fmla="*/ 11 w 352"/>
                  <a:gd name="T19" fmla="*/ 4 h 387"/>
                  <a:gd name="T20" fmla="*/ 9 w 352"/>
                  <a:gd name="T21" fmla="*/ 6 h 387"/>
                  <a:gd name="T22" fmla="*/ 5 w 352"/>
                  <a:gd name="T23" fmla="*/ 11 h 387"/>
                  <a:gd name="T24" fmla="*/ 3 w 352"/>
                  <a:gd name="T25" fmla="*/ 14 h 387"/>
                  <a:gd name="T26" fmla="*/ 2 w 352"/>
                  <a:gd name="T27" fmla="*/ 17 h 387"/>
                  <a:gd name="T28" fmla="*/ 1 w 352"/>
                  <a:gd name="T29" fmla="*/ 19 h 387"/>
                  <a:gd name="T30" fmla="*/ 0 w 352"/>
                  <a:gd name="T31" fmla="*/ 21 h 387"/>
                  <a:gd name="T32" fmla="*/ 0 w 352"/>
                  <a:gd name="T33" fmla="*/ 23 h 387"/>
                  <a:gd name="T34" fmla="*/ 0 w 352"/>
                  <a:gd name="T35" fmla="*/ 24 h 387"/>
                  <a:gd name="T36" fmla="*/ 1 w 352"/>
                  <a:gd name="T37" fmla="*/ 25 h 387"/>
                  <a:gd name="T38" fmla="*/ 3 w 352"/>
                  <a:gd name="T39" fmla="*/ 26 h 387"/>
                  <a:gd name="T40" fmla="*/ 4 w 352"/>
                  <a:gd name="T41" fmla="*/ 26 h 387"/>
                  <a:gd name="T42" fmla="*/ 5 w 352"/>
                  <a:gd name="T43" fmla="*/ 26 h 387"/>
                  <a:gd name="T44" fmla="*/ 6 w 352"/>
                  <a:gd name="T45" fmla="*/ 26 h 387"/>
                  <a:gd name="T46" fmla="*/ 7 w 352"/>
                  <a:gd name="T47" fmla="*/ 25 h 387"/>
                  <a:gd name="T48" fmla="*/ 8 w 352"/>
                  <a:gd name="T49" fmla="*/ 25 h 387"/>
                  <a:gd name="T50" fmla="*/ 8 w 352"/>
                  <a:gd name="T51" fmla="*/ 26 h 387"/>
                  <a:gd name="T52" fmla="*/ 8 w 352"/>
                  <a:gd name="T53" fmla="*/ 28 h 387"/>
                  <a:gd name="T54" fmla="*/ 8 w 352"/>
                  <a:gd name="T55" fmla="*/ 30 h 387"/>
                  <a:gd name="T56" fmla="*/ 7 w 352"/>
                  <a:gd name="T57" fmla="*/ 31 h 387"/>
                  <a:gd name="T58" fmla="*/ 7 w 352"/>
                  <a:gd name="T59" fmla="*/ 33 h 387"/>
                  <a:gd name="T60" fmla="*/ 8 w 352"/>
                  <a:gd name="T61" fmla="*/ 36 h 387"/>
                  <a:gd name="T62" fmla="*/ 9 w 352"/>
                  <a:gd name="T63" fmla="*/ 38 h 387"/>
                  <a:gd name="T64" fmla="*/ 13 w 352"/>
                  <a:gd name="T65" fmla="*/ 40 h 387"/>
                  <a:gd name="T66" fmla="*/ 15 w 352"/>
                  <a:gd name="T67" fmla="*/ 41 h 387"/>
                  <a:gd name="T68" fmla="*/ 16 w 352"/>
                  <a:gd name="T69" fmla="*/ 42 h 387"/>
                  <a:gd name="T70" fmla="*/ 17 w 352"/>
                  <a:gd name="T71" fmla="*/ 41 h 387"/>
                  <a:gd name="T72" fmla="*/ 18 w 352"/>
                  <a:gd name="T73" fmla="*/ 39 h 387"/>
                  <a:gd name="T74" fmla="*/ 18 w 352"/>
                  <a:gd name="T75" fmla="*/ 38 h 387"/>
                  <a:gd name="T76" fmla="*/ 19 w 352"/>
                  <a:gd name="T77" fmla="*/ 36 h 387"/>
                  <a:gd name="T78" fmla="*/ 19 w 352"/>
                  <a:gd name="T79" fmla="*/ 35 h 387"/>
                  <a:gd name="T80" fmla="*/ 20 w 352"/>
                  <a:gd name="T81" fmla="*/ 33 h 387"/>
                  <a:gd name="T82" fmla="*/ 22 w 352"/>
                  <a:gd name="T83" fmla="*/ 30 h 387"/>
                  <a:gd name="T84" fmla="*/ 24 w 352"/>
                  <a:gd name="T85" fmla="*/ 28 h 387"/>
                  <a:gd name="T86" fmla="*/ 27 w 352"/>
                  <a:gd name="T87" fmla="*/ 27 h 387"/>
                  <a:gd name="T88" fmla="*/ 31 w 352"/>
                  <a:gd name="T89" fmla="*/ 25 h 387"/>
                  <a:gd name="T90" fmla="*/ 33 w 352"/>
                  <a:gd name="T91" fmla="*/ 23 h 387"/>
                  <a:gd name="T92" fmla="*/ 35 w 352"/>
                  <a:gd name="T93" fmla="*/ 21 h 387"/>
                  <a:gd name="T94" fmla="*/ 36 w 352"/>
                  <a:gd name="T95" fmla="*/ 20 h 387"/>
                  <a:gd name="T96" fmla="*/ 36 w 352"/>
                  <a:gd name="T97" fmla="*/ 18 h 387"/>
                  <a:gd name="T98" fmla="*/ 36 w 352"/>
                  <a:gd name="T99" fmla="*/ 16 h 387"/>
                  <a:gd name="T100" fmla="*/ 35 w 352"/>
                  <a:gd name="T101" fmla="*/ 13 h 387"/>
                  <a:gd name="T102" fmla="*/ 34 w 352"/>
                  <a:gd name="T103" fmla="*/ 1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72" name="Freeform 364">
                <a:extLst>
                  <a:ext uri="{FF2B5EF4-FFF2-40B4-BE49-F238E27FC236}">
                    <a16:creationId xmlns:a16="http://schemas.microsoft.com/office/drawing/2014/main" id="{3592EC7F-8887-4476-9F05-1351E7967F43}"/>
                  </a:ext>
                </a:extLst>
              </p:cNvPr>
              <p:cNvSpPr>
                <a:spLocks/>
              </p:cNvSpPr>
              <p:nvPr/>
            </p:nvSpPr>
            <p:spPr bwMode="auto">
              <a:xfrm>
                <a:off x="923" y="2662"/>
                <a:ext cx="17" cy="26"/>
              </a:xfrm>
              <a:custGeom>
                <a:avLst/>
                <a:gdLst>
                  <a:gd name="T0" fmla="*/ 2 w 52"/>
                  <a:gd name="T1" fmla="*/ 0 h 78"/>
                  <a:gd name="T2" fmla="*/ 2 w 52"/>
                  <a:gd name="T3" fmla="*/ 0 h 78"/>
                  <a:gd name="T4" fmla="*/ 3 w 52"/>
                  <a:gd name="T5" fmla="*/ 0 h 78"/>
                  <a:gd name="T6" fmla="*/ 3 w 52"/>
                  <a:gd name="T7" fmla="*/ 1 h 78"/>
                  <a:gd name="T8" fmla="*/ 4 w 52"/>
                  <a:gd name="T9" fmla="*/ 1 h 78"/>
                  <a:gd name="T10" fmla="*/ 4 w 52"/>
                  <a:gd name="T11" fmla="*/ 1 h 78"/>
                  <a:gd name="T12" fmla="*/ 5 w 52"/>
                  <a:gd name="T13" fmla="*/ 2 h 78"/>
                  <a:gd name="T14" fmla="*/ 5 w 52"/>
                  <a:gd name="T15" fmla="*/ 2 h 78"/>
                  <a:gd name="T16" fmla="*/ 5 w 52"/>
                  <a:gd name="T17" fmla="*/ 3 h 78"/>
                  <a:gd name="T18" fmla="*/ 6 w 52"/>
                  <a:gd name="T19" fmla="*/ 4 h 78"/>
                  <a:gd name="T20" fmla="*/ 6 w 52"/>
                  <a:gd name="T21" fmla="*/ 5 h 78"/>
                  <a:gd name="T22" fmla="*/ 6 w 52"/>
                  <a:gd name="T23" fmla="*/ 5 h 78"/>
                  <a:gd name="T24" fmla="*/ 5 w 52"/>
                  <a:gd name="T25" fmla="*/ 6 h 78"/>
                  <a:gd name="T26" fmla="*/ 5 w 52"/>
                  <a:gd name="T27" fmla="*/ 6 h 78"/>
                  <a:gd name="T28" fmla="*/ 5 w 52"/>
                  <a:gd name="T29" fmla="*/ 7 h 78"/>
                  <a:gd name="T30" fmla="*/ 4 w 52"/>
                  <a:gd name="T31" fmla="*/ 7 h 78"/>
                  <a:gd name="T32" fmla="*/ 4 w 52"/>
                  <a:gd name="T33" fmla="*/ 8 h 78"/>
                  <a:gd name="T34" fmla="*/ 3 w 52"/>
                  <a:gd name="T35" fmla="*/ 8 h 78"/>
                  <a:gd name="T36" fmla="*/ 2 w 52"/>
                  <a:gd name="T37" fmla="*/ 9 h 78"/>
                  <a:gd name="T38" fmla="*/ 1 w 52"/>
                  <a:gd name="T39" fmla="*/ 9 h 78"/>
                  <a:gd name="T40" fmla="*/ 1 w 52"/>
                  <a:gd name="T41" fmla="*/ 9 h 78"/>
                  <a:gd name="T42" fmla="*/ 0 w 52"/>
                  <a:gd name="T43" fmla="*/ 9 h 78"/>
                  <a:gd name="T44" fmla="*/ 0 w 52"/>
                  <a:gd name="T45" fmla="*/ 9 h 78"/>
                  <a:gd name="T46" fmla="*/ 0 w 52"/>
                  <a:gd name="T47" fmla="*/ 8 h 78"/>
                  <a:gd name="T48" fmla="*/ 0 w 52"/>
                  <a:gd name="T49" fmla="*/ 8 h 78"/>
                  <a:gd name="T50" fmla="*/ 0 w 52"/>
                  <a:gd name="T51" fmla="*/ 8 h 78"/>
                  <a:gd name="T52" fmla="*/ 0 w 52"/>
                  <a:gd name="T53" fmla="*/ 7 h 78"/>
                  <a:gd name="T54" fmla="*/ 0 w 52"/>
                  <a:gd name="T55" fmla="*/ 7 h 78"/>
                  <a:gd name="T56" fmla="*/ 1 w 52"/>
                  <a:gd name="T57" fmla="*/ 6 h 78"/>
                  <a:gd name="T58" fmla="*/ 2 w 52"/>
                  <a:gd name="T59" fmla="*/ 5 h 78"/>
                  <a:gd name="T60" fmla="*/ 3 w 52"/>
                  <a:gd name="T61" fmla="*/ 5 h 78"/>
                  <a:gd name="T62" fmla="*/ 3 w 52"/>
                  <a:gd name="T63" fmla="*/ 4 h 78"/>
                  <a:gd name="T64" fmla="*/ 2 w 52"/>
                  <a:gd name="T65" fmla="*/ 2 h 78"/>
                  <a:gd name="T66" fmla="*/ 2 w 52"/>
                  <a:gd name="T67" fmla="*/ 1 h 78"/>
                  <a:gd name="T68" fmla="*/ 2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73" name="Freeform 365">
                <a:extLst>
                  <a:ext uri="{FF2B5EF4-FFF2-40B4-BE49-F238E27FC236}">
                    <a16:creationId xmlns:a16="http://schemas.microsoft.com/office/drawing/2014/main" id="{740B42A8-755E-4C9F-85FC-6B980C23B15D}"/>
                  </a:ext>
                </a:extLst>
              </p:cNvPr>
              <p:cNvSpPr>
                <a:spLocks/>
              </p:cNvSpPr>
              <p:nvPr/>
            </p:nvSpPr>
            <p:spPr bwMode="auto">
              <a:xfrm>
                <a:off x="912" y="2666"/>
                <a:ext cx="9" cy="10"/>
              </a:xfrm>
              <a:custGeom>
                <a:avLst/>
                <a:gdLst>
                  <a:gd name="T0" fmla="*/ 1 w 33"/>
                  <a:gd name="T1" fmla="*/ 1 h 30"/>
                  <a:gd name="T2" fmla="*/ 0 w 33"/>
                  <a:gd name="T3" fmla="*/ 3 h 30"/>
                  <a:gd name="T4" fmla="*/ 1 w 33"/>
                  <a:gd name="T5" fmla="*/ 3 h 30"/>
                  <a:gd name="T6" fmla="*/ 1 w 33"/>
                  <a:gd name="T7" fmla="*/ 3 h 30"/>
                  <a:gd name="T8" fmla="*/ 2 w 33"/>
                  <a:gd name="T9" fmla="*/ 3 h 30"/>
                  <a:gd name="T10" fmla="*/ 2 w 33"/>
                  <a:gd name="T11" fmla="*/ 3 h 30"/>
                  <a:gd name="T12" fmla="*/ 2 w 33"/>
                  <a:gd name="T13" fmla="*/ 0 h 30"/>
                  <a:gd name="T14" fmla="*/ 1 w 33"/>
                  <a:gd name="T15" fmla="*/ 0 h 30"/>
                  <a:gd name="T16" fmla="*/ 1 w 33"/>
                  <a:gd name="T17" fmla="*/ 1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78" name="Freeform 366">
              <a:extLst>
                <a:ext uri="{FF2B5EF4-FFF2-40B4-BE49-F238E27FC236}">
                  <a16:creationId xmlns:a16="http://schemas.microsoft.com/office/drawing/2014/main" id="{9063BA38-A268-4478-B3EF-7E2033D16377}"/>
                </a:ext>
              </a:extLst>
            </p:cNvPr>
            <p:cNvSpPr>
              <a:spLocks/>
            </p:cNvSpPr>
            <p:nvPr>
              <p:custDataLst>
                <p:tags r:id="rId266"/>
              </p:custDataLst>
            </p:nvPr>
          </p:nvSpPr>
          <p:spPr bwMode="auto">
            <a:xfrm>
              <a:off x="5356225" y="4687888"/>
              <a:ext cx="19050" cy="58737"/>
            </a:xfrm>
            <a:custGeom>
              <a:avLst/>
              <a:gdLst>
                <a:gd name="T0" fmla="*/ 2135627 w 47"/>
                <a:gd name="T1" fmla="*/ 0 h 28"/>
                <a:gd name="T2" fmla="*/ 4107099 w 47"/>
                <a:gd name="T3" fmla="*/ 0 h 28"/>
                <a:gd name="T4" fmla="*/ 5092835 w 47"/>
                <a:gd name="T5" fmla="*/ 8802309 h 28"/>
                <a:gd name="T6" fmla="*/ 5421549 w 47"/>
                <a:gd name="T7" fmla="*/ 17602520 h 28"/>
                <a:gd name="T8" fmla="*/ 5421549 w 47"/>
                <a:gd name="T9" fmla="*/ 26404829 h 28"/>
                <a:gd name="T10" fmla="*/ 5256989 w 47"/>
                <a:gd name="T11" fmla="*/ 35205040 h 28"/>
                <a:gd name="T12" fmla="*/ 5421549 w 47"/>
                <a:gd name="T13" fmla="*/ 44007349 h 28"/>
                <a:gd name="T14" fmla="*/ 6078571 w 47"/>
                <a:gd name="T15" fmla="*/ 52807560 h 28"/>
                <a:gd name="T16" fmla="*/ 7721330 w 47"/>
                <a:gd name="T17" fmla="*/ 52807560 h 28"/>
                <a:gd name="T18" fmla="*/ 6899748 w 47"/>
                <a:gd name="T19" fmla="*/ 83613543 h 28"/>
                <a:gd name="T20" fmla="*/ 6078571 w 47"/>
                <a:gd name="T21" fmla="*/ 110018372 h 28"/>
                <a:gd name="T22" fmla="*/ 5421549 w 47"/>
                <a:gd name="T23" fmla="*/ 118818583 h 28"/>
                <a:gd name="T24" fmla="*/ 4599967 w 47"/>
                <a:gd name="T25" fmla="*/ 123219737 h 28"/>
                <a:gd name="T26" fmla="*/ 2628495 w 47"/>
                <a:gd name="T27" fmla="*/ 118818583 h 28"/>
                <a:gd name="T28" fmla="*/ 0 w 47"/>
                <a:gd name="T29" fmla="*/ 110018372 h 28"/>
                <a:gd name="T30" fmla="*/ 164154 w 47"/>
                <a:gd name="T31" fmla="*/ 83613543 h 28"/>
                <a:gd name="T32" fmla="*/ 328714 w 47"/>
                <a:gd name="T33" fmla="*/ 66011023 h 28"/>
                <a:gd name="T34" fmla="*/ 657022 w 47"/>
                <a:gd name="T35" fmla="*/ 57208714 h 28"/>
                <a:gd name="T36" fmla="*/ 985736 w 47"/>
                <a:gd name="T37" fmla="*/ 52807560 h 28"/>
                <a:gd name="T38" fmla="*/ 1478604 w 47"/>
                <a:gd name="T39" fmla="*/ 48408503 h 28"/>
                <a:gd name="T40" fmla="*/ 1807318 w 47"/>
                <a:gd name="T41" fmla="*/ 39606194 h 28"/>
                <a:gd name="T42" fmla="*/ 2135627 w 47"/>
                <a:gd name="T43" fmla="*/ 22003674 h 28"/>
                <a:gd name="T44" fmla="*/ 213562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79" name="Freeform 367">
              <a:extLst>
                <a:ext uri="{FF2B5EF4-FFF2-40B4-BE49-F238E27FC236}">
                  <a16:creationId xmlns:a16="http://schemas.microsoft.com/office/drawing/2014/main" id="{B7D45471-3003-4FF8-A443-C1F8285122E7}"/>
                </a:ext>
              </a:extLst>
            </p:cNvPr>
            <p:cNvSpPr>
              <a:spLocks/>
            </p:cNvSpPr>
            <p:nvPr>
              <p:custDataLst>
                <p:tags r:id="rId267"/>
              </p:custDataLst>
            </p:nvPr>
          </p:nvSpPr>
          <p:spPr bwMode="auto">
            <a:xfrm>
              <a:off x="5327650" y="4714875"/>
              <a:ext cx="23813" cy="57150"/>
            </a:xfrm>
            <a:custGeom>
              <a:avLst/>
              <a:gdLst>
                <a:gd name="T0" fmla="*/ 2624372 w 53"/>
                <a:gd name="T1" fmla="*/ 0 h 33"/>
                <a:gd name="T2" fmla="*/ 5248745 w 53"/>
                <a:gd name="T3" fmla="*/ 2999509 h 33"/>
                <a:gd name="T4" fmla="*/ 6863536 w 53"/>
                <a:gd name="T5" fmla="*/ 2999509 h 33"/>
                <a:gd name="T6" fmla="*/ 7469195 w 53"/>
                <a:gd name="T7" fmla="*/ 8996795 h 33"/>
                <a:gd name="T8" fmla="*/ 7469195 w 53"/>
                <a:gd name="T9" fmla="*/ 11996305 h 33"/>
                <a:gd name="T10" fmla="*/ 7469195 w 53"/>
                <a:gd name="T11" fmla="*/ 17995323 h 33"/>
                <a:gd name="T12" fmla="*/ 7873117 w 53"/>
                <a:gd name="T13" fmla="*/ 23994341 h 33"/>
                <a:gd name="T14" fmla="*/ 8882249 w 53"/>
                <a:gd name="T15" fmla="*/ 29991627 h 33"/>
                <a:gd name="T16" fmla="*/ 10699226 w 53"/>
                <a:gd name="T17" fmla="*/ 35990645 h 33"/>
                <a:gd name="T18" fmla="*/ 9689644 w 53"/>
                <a:gd name="T19" fmla="*/ 65982273 h 33"/>
                <a:gd name="T20" fmla="*/ 8882249 w 53"/>
                <a:gd name="T21" fmla="*/ 83977595 h 33"/>
                <a:gd name="T22" fmla="*/ 8478776 w 53"/>
                <a:gd name="T23" fmla="*/ 92974391 h 33"/>
                <a:gd name="T24" fmla="*/ 7670931 w 53"/>
                <a:gd name="T25" fmla="*/ 95973900 h 33"/>
                <a:gd name="T26" fmla="*/ 7267458 w 53"/>
                <a:gd name="T27" fmla="*/ 98973409 h 33"/>
                <a:gd name="T28" fmla="*/ 6863536 w 53"/>
                <a:gd name="T29" fmla="*/ 98973409 h 33"/>
                <a:gd name="T30" fmla="*/ 4037427 w 53"/>
                <a:gd name="T31" fmla="*/ 89976614 h 33"/>
                <a:gd name="T32" fmla="*/ 0 w 53"/>
                <a:gd name="T33" fmla="*/ 71981291 h 33"/>
                <a:gd name="T34" fmla="*/ 0 w 53"/>
                <a:gd name="T35" fmla="*/ 56985477 h 33"/>
                <a:gd name="T36" fmla="*/ 403922 w 53"/>
                <a:gd name="T37" fmla="*/ 47986950 h 33"/>
                <a:gd name="T38" fmla="*/ 807395 w 53"/>
                <a:gd name="T39" fmla="*/ 41987932 h 33"/>
                <a:gd name="T40" fmla="*/ 1413054 w 53"/>
                <a:gd name="T41" fmla="*/ 35990645 h 33"/>
                <a:gd name="T42" fmla="*/ 1816977 w 53"/>
                <a:gd name="T43" fmla="*/ 32991136 h 33"/>
                <a:gd name="T44" fmla="*/ 2220450 w 53"/>
                <a:gd name="T45" fmla="*/ 26992118 h 33"/>
                <a:gd name="T46" fmla="*/ 2422636 w 53"/>
                <a:gd name="T47" fmla="*/ 17995323 h 33"/>
                <a:gd name="T48" fmla="*/ 2624372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80" name="Group 368">
              <a:extLst>
                <a:ext uri="{FF2B5EF4-FFF2-40B4-BE49-F238E27FC236}">
                  <a16:creationId xmlns:a16="http://schemas.microsoft.com/office/drawing/2014/main" id="{145D7DEE-2ACC-4B52-B2B8-601D9F4524EB}"/>
                </a:ext>
              </a:extLst>
            </p:cNvPr>
            <p:cNvGrpSpPr>
              <a:grpSpLocks/>
            </p:cNvGrpSpPr>
            <p:nvPr>
              <p:custDataLst>
                <p:tags r:id="rId268"/>
              </p:custDataLst>
            </p:nvPr>
          </p:nvGrpSpPr>
          <p:grpSpPr bwMode="auto">
            <a:xfrm>
              <a:off x="5168900" y="4206875"/>
              <a:ext cx="168275" cy="103188"/>
              <a:chOff x="3481" y="2773"/>
              <a:chExt cx="125" cy="65"/>
            </a:xfrm>
          </p:grpSpPr>
          <p:sp>
            <p:nvSpPr>
              <p:cNvPr id="460" name="Freeform 369">
                <a:extLst>
                  <a:ext uri="{FF2B5EF4-FFF2-40B4-BE49-F238E27FC236}">
                    <a16:creationId xmlns:a16="http://schemas.microsoft.com/office/drawing/2014/main" id="{72DB52F5-1903-4369-B3E3-11F352775E9B}"/>
                  </a:ext>
                </a:extLst>
              </p:cNvPr>
              <p:cNvSpPr>
                <a:spLocks/>
              </p:cNvSpPr>
              <p:nvPr/>
            </p:nvSpPr>
            <p:spPr bwMode="auto">
              <a:xfrm>
                <a:off x="3583" y="2798"/>
                <a:ext cx="5" cy="6"/>
              </a:xfrm>
              <a:custGeom>
                <a:avLst/>
                <a:gdLst>
                  <a:gd name="T0" fmla="*/ 2 w 13"/>
                  <a:gd name="T1" fmla="*/ 0 h 18"/>
                  <a:gd name="T2" fmla="*/ 2 w 13"/>
                  <a:gd name="T3" fmla="*/ 1 h 18"/>
                  <a:gd name="T4" fmla="*/ 1 w 13"/>
                  <a:gd name="T5" fmla="*/ 2 h 18"/>
                  <a:gd name="T6" fmla="*/ 1 w 13"/>
                  <a:gd name="T7" fmla="*/ 2 h 18"/>
                  <a:gd name="T8" fmla="*/ 0 w 13"/>
                  <a:gd name="T9" fmla="*/ 2 h 18"/>
                  <a:gd name="T10" fmla="*/ 0 w 13"/>
                  <a:gd name="T11" fmla="*/ 1 h 18"/>
                  <a:gd name="T12" fmla="*/ 0 w 13"/>
                  <a:gd name="T13" fmla="*/ 1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461" name="Line 370">
                <a:extLst>
                  <a:ext uri="{FF2B5EF4-FFF2-40B4-BE49-F238E27FC236}">
                    <a16:creationId xmlns:a16="http://schemas.microsoft.com/office/drawing/2014/main" id="{68C224BA-58F1-48FF-AB68-C92307841A45}"/>
                  </a:ext>
                </a:extLst>
              </p:cNvPr>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62" name="Freeform 371">
                <a:extLst>
                  <a:ext uri="{FF2B5EF4-FFF2-40B4-BE49-F238E27FC236}">
                    <a16:creationId xmlns:a16="http://schemas.microsoft.com/office/drawing/2014/main" id="{958483E7-F534-4C86-BAB2-4162FE86E2DC}"/>
                  </a:ext>
                </a:extLst>
              </p:cNvPr>
              <p:cNvSpPr>
                <a:spLocks/>
              </p:cNvSpPr>
              <p:nvPr/>
            </p:nvSpPr>
            <p:spPr bwMode="auto">
              <a:xfrm>
                <a:off x="3554" y="2819"/>
                <a:ext cx="5" cy="6"/>
              </a:xfrm>
              <a:custGeom>
                <a:avLst/>
                <a:gdLst>
                  <a:gd name="T0" fmla="*/ 2 w 14"/>
                  <a:gd name="T1" fmla="*/ 2 h 19"/>
                  <a:gd name="T2" fmla="*/ 0 w 14"/>
                  <a:gd name="T3" fmla="*/ 0 h 19"/>
                  <a:gd name="T4" fmla="*/ 2 w 14"/>
                  <a:gd name="T5" fmla="*/ 2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US"/>
              </a:p>
            </p:txBody>
          </p:sp>
          <p:sp>
            <p:nvSpPr>
              <p:cNvPr id="463" name="Freeform 372">
                <a:extLst>
                  <a:ext uri="{FF2B5EF4-FFF2-40B4-BE49-F238E27FC236}">
                    <a16:creationId xmlns:a16="http://schemas.microsoft.com/office/drawing/2014/main" id="{61E02ADE-9A25-4DC1-8353-531739DF3463}"/>
                  </a:ext>
                </a:extLst>
              </p:cNvPr>
              <p:cNvSpPr>
                <a:spLocks/>
              </p:cNvSpPr>
              <p:nvPr/>
            </p:nvSpPr>
            <p:spPr bwMode="auto">
              <a:xfrm>
                <a:off x="3528" y="2832"/>
                <a:ext cx="2" cy="6"/>
              </a:xfrm>
              <a:custGeom>
                <a:avLst/>
                <a:gdLst>
                  <a:gd name="T0" fmla="*/ 0 w 7"/>
                  <a:gd name="T1" fmla="*/ 1 h 18"/>
                  <a:gd name="T2" fmla="*/ 1 w 7"/>
                  <a:gd name="T3" fmla="*/ 2 h 18"/>
                  <a:gd name="T4" fmla="*/ 0 w 7"/>
                  <a:gd name="T5" fmla="*/ 2 h 18"/>
                  <a:gd name="T6" fmla="*/ 0 w 7"/>
                  <a:gd name="T7" fmla="*/ 0 h 18"/>
                  <a:gd name="T8" fmla="*/ 1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464" name="Freeform 373">
                <a:extLst>
                  <a:ext uri="{FF2B5EF4-FFF2-40B4-BE49-F238E27FC236}">
                    <a16:creationId xmlns:a16="http://schemas.microsoft.com/office/drawing/2014/main" id="{76297489-328E-4C51-9760-F26BCFC81D55}"/>
                  </a:ext>
                </a:extLst>
              </p:cNvPr>
              <p:cNvSpPr>
                <a:spLocks/>
              </p:cNvSpPr>
              <p:nvPr/>
            </p:nvSpPr>
            <p:spPr bwMode="auto">
              <a:xfrm>
                <a:off x="3599" y="2773"/>
                <a:ext cx="7" cy="4"/>
              </a:xfrm>
              <a:custGeom>
                <a:avLst/>
                <a:gdLst>
                  <a:gd name="T0" fmla="*/ 2 w 20"/>
                  <a:gd name="T1" fmla="*/ 1 h 12"/>
                  <a:gd name="T2" fmla="*/ 1 w 20"/>
                  <a:gd name="T3" fmla="*/ 1 h 12"/>
                  <a:gd name="T4" fmla="*/ 0 w 20"/>
                  <a:gd name="T5" fmla="*/ 1 h 12"/>
                  <a:gd name="T6" fmla="*/ 0 w 20"/>
                  <a:gd name="T7" fmla="*/ 1 h 12"/>
                  <a:gd name="T8" fmla="*/ 0 w 20"/>
                  <a:gd name="T9" fmla="*/ 0 h 12"/>
                  <a:gd name="T10" fmla="*/ 1 w 20"/>
                  <a:gd name="T11" fmla="*/ 0 h 12"/>
                  <a:gd name="T12" fmla="*/ 2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465" name="Line 374">
                <a:extLst>
                  <a:ext uri="{FF2B5EF4-FFF2-40B4-BE49-F238E27FC236}">
                    <a16:creationId xmlns:a16="http://schemas.microsoft.com/office/drawing/2014/main" id="{BFAEB906-6FBD-41CB-95AF-ABF461081AE4}"/>
                  </a:ext>
                </a:extLst>
              </p:cNvPr>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66" name="Freeform 375">
                <a:extLst>
                  <a:ext uri="{FF2B5EF4-FFF2-40B4-BE49-F238E27FC236}">
                    <a16:creationId xmlns:a16="http://schemas.microsoft.com/office/drawing/2014/main" id="{B1E1F31D-7509-4B1B-94A5-5ECA3AA78DEB}"/>
                  </a:ext>
                </a:extLst>
              </p:cNvPr>
              <p:cNvSpPr>
                <a:spLocks/>
              </p:cNvSpPr>
              <p:nvPr/>
            </p:nvSpPr>
            <p:spPr bwMode="auto">
              <a:xfrm>
                <a:off x="3481" y="2828"/>
                <a:ext cx="7" cy="6"/>
              </a:xfrm>
              <a:custGeom>
                <a:avLst/>
                <a:gdLst>
                  <a:gd name="T0" fmla="*/ 0 w 20"/>
                  <a:gd name="T1" fmla="*/ 0 h 18"/>
                  <a:gd name="T2" fmla="*/ 0 w 20"/>
                  <a:gd name="T3" fmla="*/ 2 h 18"/>
                  <a:gd name="T4" fmla="*/ 2 w 20"/>
                  <a:gd name="T5" fmla="*/ 2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US"/>
              </a:p>
            </p:txBody>
          </p:sp>
          <p:sp>
            <p:nvSpPr>
              <p:cNvPr id="467" name="Freeform 376">
                <a:extLst>
                  <a:ext uri="{FF2B5EF4-FFF2-40B4-BE49-F238E27FC236}">
                    <a16:creationId xmlns:a16="http://schemas.microsoft.com/office/drawing/2014/main" id="{CB1C7BC4-1C42-46A5-AC55-61DFCB844581}"/>
                  </a:ext>
                </a:extLst>
              </p:cNvPr>
              <p:cNvSpPr>
                <a:spLocks/>
              </p:cNvSpPr>
              <p:nvPr/>
            </p:nvSpPr>
            <p:spPr bwMode="auto">
              <a:xfrm>
                <a:off x="3485" y="2830"/>
                <a:ext cx="3" cy="4"/>
              </a:xfrm>
              <a:custGeom>
                <a:avLst/>
                <a:gdLst>
                  <a:gd name="T0" fmla="*/ 1 w 7"/>
                  <a:gd name="T1" fmla="*/ 1 h 12"/>
                  <a:gd name="T2" fmla="*/ 1 w 7"/>
                  <a:gd name="T3" fmla="*/ 1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68" name="Freeform 377">
                <a:extLst>
                  <a:ext uri="{FF2B5EF4-FFF2-40B4-BE49-F238E27FC236}">
                    <a16:creationId xmlns:a16="http://schemas.microsoft.com/office/drawing/2014/main" id="{90845E2B-2F7B-4823-804C-08C8E668DD53}"/>
                  </a:ext>
                </a:extLst>
              </p:cNvPr>
              <p:cNvSpPr>
                <a:spLocks/>
              </p:cNvSpPr>
              <p:nvPr/>
            </p:nvSpPr>
            <p:spPr bwMode="auto">
              <a:xfrm>
                <a:off x="3481" y="2828"/>
                <a:ext cx="7" cy="6"/>
              </a:xfrm>
              <a:custGeom>
                <a:avLst/>
                <a:gdLst>
                  <a:gd name="T0" fmla="*/ 0 w 20"/>
                  <a:gd name="T1" fmla="*/ 0 h 18"/>
                  <a:gd name="T2" fmla="*/ 0 w 20"/>
                  <a:gd name="T3" fmla="*/ 2 h 18"/>
                  <a:gd name="T4" fmla="*/ 2 w 20"/>
                  <a:gd name="T5" fmla="*/ 2 h 18"/>
                  <a:gd name="T6" fmla="*/ 2 w 20"/>
                  <a:gd name="T7" fmla="*/ 1 h 18"/>
                  <a:gd name="T8" fmla="*/ 2 w 20"/>
                  <a:gd name="T9" fmla="*/ 1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69" name="Freeform 378">
                <a:extLst>
                  <a:ext uri="{FF2B5EF4-FFF2-40B4-BE49-F238E27FC236}">
                    <a16:creationId xmlns:a16="http://schemas.microsoft.com/office/drawing/2014/main" id="{72F25C8D-BF63-45D4-A9CC-648AC686191E}"/>
                  </a:ext>
                </a:extLst>
              </p:cNvPr>
              <p:cNvSpPr>
                <a:spLocks/>
              </p:cNvSpPr>
              <p:nvPr/>
            </p:nvSpPr>
            <p:spPr bwMode="auto">
              <a:xfrm>
                <a:off x="3528" y="2832"/>
                <a:ext cx="2" cy="6"/>
              </a:xfrm>
              <a:custGeom>
                <a:avLst/>
                <a:gdLst>
                  <a:gd name="T0" fmla="*/ 0 w 7"/>
                  <a:gd name="T1" fmla="*/ 1 h 18"/>
                  <a:gd name="T2" fmla="*/ 1 w 7"/>
                  <a:gd name="T3" fmla="*/ 2 h 18"/>
                  <a:gd name="T4" fmla="*/ 0 w 7"/>
                  <a:gd name="T5" fmla="*/ 2 h 18"/>
                  <a:gd name="T6" fmla="*/ 0 w 7"/>
                  <a:gd name="T7" fmla="*/ 0 h 18"/>
                  <a:gd name="T8" fmla="*/ 1 w 7"/>
                  <a:gd name="T9" fmla="*/ 0 h 18"/>
                  <a:gd name="T10" fmla="*/ 0 w 7"/>
                  <a:gd name="T11" fmla="*/ 1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470" name="Freeform 379">
                <a:extLst>
                  <a:ext uri="{FF2B5EF4-FFF2-40B4-BE49-F238E27FC236}">
                    <a16:creationId xmlns:a16="http://schemas.microsoft.com/office/drawing/2014/main" id="{925A07A1-C313-4C41-A1FB-29CBAEB8F192}"/>
                  </a:ext>
                </a:extLst>
              </p:cNvPr>
              <p:cNvSpPr>
                <a:spLocks/>
              </p:cNvSpPr>
              <p:nvPr/>
            </p:nvSpPr>
            <p:spPr bwMode="auto">
              <a:xfrm>
                <a:off x="3583" y="2798"/>
                <a:ext cx="5" cy="6"/>
              </a:xfrm>
              <a:custGeom>
                <a:avLst/>
                <a:gdLst>
                  <a:gd name="T0" fmla="*/ 2 w 13"/>
                  <a:gd name="T1" fmla="*/ 0 h 18"/>
                  <a:gd name="T2" fmla="*/ 2 w 13"/>
                  <a:gd name="T3" fmla="*/ 1 h 18"/>
                  <a:gd name="T4" fmla="*/ 1 w 13"/>
                  <a:gd name="T5" fmla="*/ 2 h 18"/>
                  <a:gd name="T6" fmla="*/ 1 w 13"/>
                  <a:gd name="T7" fmla="*/ 2 h 18"/>
                  <a:gd name="T8" fmla="*/ 0 w 13"/>
                  <a:gd name="T9" fmla="*/ 2 h 18"/>
                  <a:gd name="T10" fmla="*/ 0 w 13"/>
                  <a:gd name="T11" fmla="*/ 1 h 18"/>
                  <a:gd name="T12" fmla="*/ 0 w 13"/>
                  <a:gd name="T13" fmla="*/ 1 h 18"/>
                  <a:gd name="T14" fmla="*/ 1 w 13"/>
                  <a:gd name="T15" fmla="*/ 1 h 18"/>
                  <a:gd name="T16" fmla="*/ 2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81" name="Freeform 380">
              <a:extLst>
                <a:ext uri="{FF2B5EF4-FFF2-40B4-BE49-F238E27FC236}">
                  <a16:creationId xmlns:a16="http://schemas.microsoft.com/office/drawing/2014/main" id="{35E4A9D4-B982-4A12-B481-5CEEE4F78D7B}"/>
                </a:ext>
              </a:extLst>
            </p:cNvPr>
            <p:cNvSpPr>
              <a:spLocks/>
            </p:cNvSpPr>
            <p:nvPr>
              <p:custDataLst>
                <p:tags r:id="rId269"/>
              </p:custDataLst>
            </p:nvPr>
          </p:nvSpPr>
          <p:spPr bwMode="auto">
            <a:xfrm>
              <a:off x="4297363" y="4198938"/>
              <a:ext cx="319087" cy="379412"/>
            </a:xfrm>
            <a:custGeom>
              <a:avLst/>
              <a:gdLst>
                <a:gd name="T0" fmla="*/ 11277731 w 736"/>
                <a:gd name="T1" fmla="*/ 189690187 h 721"/>
                <a:gd name="T2" fmla="*/ 17104104 w 736"/>
                <a:gd name="T3" fmla="*/ 184982519 h 721"/>
                <a:gd name="T4" fmla="*/ 23682672 w 736"/>
                <a:gd name="T5" fmla="*/ 184982519 h 721"/>
                <a:gd name="T6" fmla="*/ 36839808 w 736"/>
                <a:gd name="T7" fmla="*/ 191628298 h 721"/>
                <a:gd name="T8" fmla="*/ 46049977 w 736"/>
                <a:gd name="T9" fmla="*/ 195228248 h 721"/>
                <a:gd name="T10" fmla="*/ 54883831 w 736"/>
                <a:gd name="T11" fmla="*/ 194674653 h 721"/>
                <a:gd name="T12" fmla="*/ 114842706 w 736"/>
                <a:gd name="T13" fmla="*/ 198551401 h 721"/>
                <a:gd name="T14" fmla="*/ 122361194 w 736"/>
                <a:gd name="T15" fmla="*/ 195782370 h 721"/>
                <a:gd name="T16" fmla="*/ 117850188 w 736"/>
                <a:gd name="T17" fmla="*/ 181936164 h 721"/>
                <a:gd name="T18" fmla="*/ 124804637 w 736"/>
                <a:gd name="T19" fmla="*/ 119906085 h 721"/>
                <a:gd name="T20" fmla="*/ 133262610 w 736"/>
                <a:gd name="T21" fmla="*/ 118798368 h 721"/>
                <a:gd name="T22" fmla="*/ 135894211 w 736"/>
                <a:gd name="T23" fmla="*/ 115198417 h 721"/>
                <a:gd name="T24" fmla="*/ 137961773 w 736"/>
                <a:gd name="T25" fmla="*/ 99690897 h 721"/>
                <a:gd name="T26" fmla="*/ 135706054 w 736"/>
                <a:gd name="T27" fmla="*/ 83629782 h 721"/>
                <a:gd name="T28" fmla="*/ 133074887 w 736"/>
                <a:gd name="T29" fmla="*/ 84183378 h 721"/>
                <a:gd name="T30" fmla="*/ 127059923 w 736"/>
                <a:gd name="T31" fmla="*/ 83075660 h 721"/>
                <a:gd name="T32" fmla="*/ 119165988 w 736"/>
                <a:gd name="T33" fmla="*/ 82798862 h 721"/>
                <a:gd name="T34" fmla="*/ 117098426 w 736"/>
                <a:gd name="T35" fmla="*/ 80306629 h 721"/>
                <a:gd name="T36" fmla="*/ 115970349 w 736"/>
                <a:gd name="T37" fmla="*/ 70060900 h 721"/>
                <a:gd name="T38" fmla="*/ 114090944 w 736"/>
                <a:gd name="T39" fmla="*/ 60645563 h 721"/>
                <a:gd name="T40" fmla="*/ 112211539 w 736"/>
                <a:gd name="T41" fmla="*/ 51507025 h 721"/>
                <a:gd name="T42" fmla="*/ 114090944 w 736"/>
                <a:gd name="T43" fmla="*/ 46245761 h 721"/>
                <a:gd name="T44" fmla="*/ 115970349 w 736"/>
                <a:gd name="T45" fmla="*/ 40983971 h 721"/>
                <a:gd name="T46" fmla="*/ 114842706 w 736"/>
                <a:gd name="T47" fmla="*/ 27691887 h 721"/>
                <a:gd name="T48" fmla="*/ 102249608 w 736"/>
                <a:gd name="T49" fmla="*/ 19384268 h 721"/>
                <a:gd name="T50" fmla="*/ 89656510 w 736"/>
                <a:gd name="T51" fmla="*/ 18276550 h 721"/>
                <a:gd name="T52" fmla="*/ 88528434 w 736"/>
                <a:gd name="T53" fmla="*/ 22430623 h 721"/>
                <a:gd name="T54" fmla="*/ 87024910 w 736"/>
                <a:gd name="T55" fmla="*/ 27968685 h 721"/>
                <a:gd name="T56" fmla="*/ 82702061 w 736"/>
                <a:gd name="T57" fmla="*/ 33784070 h 721"/>
                <a:gd name="T58" fmla="*/ 73680050 w 736"/>
                <a:gd name="T59" fmla="*/ 35999505 h 721"/>
                <a:gd name="T60" fmla="*/ 68416848 w 736"/>
                <a:gd name="T61" fmla="*/ 31845959 h 721"/>
                <a:gd name="T62" fmla="*/ 63718119 w 736"/>
                <a:gd name="T63" fmla="*/ 22707421 h 721"/>
                <a:gd name="T64" fmla="*/ 59958875 w 736"/>
                <a:gd name="T65" fmla="*/ 10799852 h 721"/>
                <a:gd name="T66" fmla="*/ 58643075 w 736"/>
                <a:gd name="T67" fmla="*/ 0 h 721"/>
                <a:gd name="T68" fmla="*/ 5638649 w 736"/>
                <a:gd name="T69" fmla="*/ 4153546 h 721"/>
                <a:gd name="T70" fmla="*/ 8833854 w 736"/>
                <a:gd name="T71" fmla="*/ 8030821 h 721"/>
                <a:gd name="T72" fmla="*/ 14097056 w 736"/>
                <a:gd name="T73" fmla="*/ 20768783 h 721"/>
                <a:gd name="T74" fmla="*/ 19171666 w 736"/>
                <a:gd name="T75" fmla="*/ 35999505 h 721"/>
                <a:gd name="T76" fmla="*/ 19359823 w 736"/>
                <a:gd name="T77" fmla="*/ 47353479 h 721"/>
                <a:gd name="T78" fmla="*/ 17479985 w 736"/>
                <a:gd name="T79" fmla="*/ 56214693 h 721"/>
                <a:gd name="T80" fmla="*/ 18044023 w 736"/>
                <a:gd name="T81" fmla="*/ 63414594 h 721"/>
                <a:gd name="T82" fmla="*/ 22367305 w 736"/>
                <a:gd name="T83" fmla="*/ 75322163 h 721"/>
                <a:gd name="T84" fmla="*/ 24622591 w 736"/>
                <a:gd name="T85" fmla="*/ 85014297 h 721"/>
                <a:gd name="T86" fmla="*/ 23870829 w 736"/>
                <a:gd name="T87" fmla="*/ 97475988 h 721"/>
                <a:gd name="T88" fmla="*/ 19923428 w 736"/>
                <a:gd name="T89" fmla="*/ 111598466 h 721"/>
                <a:gd name="T90" fmla="*/ 14472937 w 736"/>
                <a:gd name="T91" fmla="*/ 123506036 h 721"/>
                <a:gd name="T92" fmla="*/ 7706211 w 736"/>
                <a:gd name="T93" fmla="*/ 132090452 h 721"/>
                <a:gd name="T94" fmla="*/ 4699163 w 736"/>
                <a:gd name="T95" fmla="*/ 163659613 h 721"/>
                <a:gd name="T96" fmla="*/ 2067562 w 736"/>
                <a:gd name="T97" fmla="*/ 173628545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US"/>
            </a:p>
          </p:txBody>
        </p:sp>
        <p:sp>
          <p:nvSpPr>
            <p:cNvPr id="282" name="Freeform 381">
              <a:extLst>
                <a:ext uri="{FF2B5EF4-FFF2-40B4-BE49-F238E27FC236}">
                  <a16:creationId xmlns:a16="http://schemas.microsoft.com/office/drawing/2014/main" id="{9F10E158-AA5C-43EA-B8B3-BF215DAB751A}"/>
                </a:ext>
              </a:extLst>
            </p:cNvPr>
            <p:cNvSpPr>
              <a:spLocks/>
            </p:cNvSpPr>
            <p:nvPr>
              <p:custDataLst>
                <p:tags r:id="rId270"/>
              </p:custDataLst>
            </p:nvPr>
          </p:nvSpPr>
          <p:spPr bwMode="auto">
            <a:xfrm>
              <a:off x="4308475" y="4171950"/>
              <a:ext cx="15875" cy="60325"/>
            </a:xfrm>
            <a:custGeom>
              <a:avLst/>
              <a:gdLst>
                <a:gd name="T0" fmla="*/ 0 w 39"/>
                <a:gd name="T1" fmla="*/ 117390504 h 31"/>
                <a:gd name="T2" fmla="*/ 1988446 w 39"/>
                <a:gd name="T3" fmla="*/ 106029944 h 31"/>
                <a:gd name="T4" fmla="*/ 3645144 w 39"/>
                <a:gd name="T5" fmla="*/ 106029944 h 31"/>
                <a:gd name="T6" fmla="*/ 4307824 w 39"/>
                <a:gd name="T7" fmla="*/ 106029944 h 31"/>
                <a:gd name="T8" fmla="*/ 4970910 w 39"/>
                <a:gd name="T9" fmla="*/ 106029944 h 31"/>
                <a:gd name="T10" fmla="*/ 5799260 w 39"/>
                <a:gd name="T11" fmla="*/ 102243091 h 31"/>
                <a:gd name="T12" fmla="*/ 6461939 w 39"/>
                <a:gd name="T13" fmla="*/ 94669385 h 31"/>
                <a:gd name="T14" fmla="*/ 6461939 w 39"/>
                <a:gd name="T15" fmla="*/ 0 h 31"/>
                <a:gd name="T16" fmla="*/ 4307824 w 39"/>
                <a:gd name="T17" fmla="*/ 0 h 31"/>
                <a:gd name="T18" fmla="*/ 2816795 w 39"/>
                <a:gd name="T19" fmla="*/ 0 h 31"/>
                <a:gd name="T20" fmla="*/ 1325359 w 39"/>
                <a:gd name="T21" fmla="*/ 0 h 31"/>
                <a:gd name="T22" fmla="*/ 0 w 39"/>
                <a:gd name="T23" fmla="*/ 0 h 31"/>
                <a:gd name="T24" fmla="*/ 0 w 39"/>
                <a:gd name="T25" fmla="*/ 117390504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283" name="Freeform 382">
              <a:extLst>
                <a:ext uri="{FF2B5EF4-FFF2-40B4-BE49-F238E27FC236}">
                  <a16:creationId xmlns:a16="http://schemas.microsoft.com/office/drawing/2014/main" id="{C43C779C-AF00-42D6-8F65-CE1C12D624D2}"/>
                </a:ext>
              </a:extLst>
            </p:cNvPr>
            <p:cNvSpPr>
              <a:spLocks/>
            </p:cNvSpPr>
            <p:nvPr>
              <p:custDataLst>
                <p:tags r:id="rId271"/>
              </p:custDataLst>
            </p:nvPr>
          </p:nvSpPr>
          <p:spPr bwMode="auto">
            <a:xfrm>
              <a:off x="4410075" y="4714875"/>
              <a:ext cx="396875" cy="398463"/>
            </a:xfrm>
            <a:custGeom>
              <a:avLst/>
              <a:gdLst>
                <a:gd name="T0" fmla="*/ 173656766 w 903"/>
                <a:gd name="T1" fmla="*/ 80201633 h 759"/>
                <a:gd name="T2" fmla="*/ 166702883 w 903"/>
                <a:gd name="T3" fmla="*/ 106935336 h 759"/>
                <a:gd name="T4" fmla="*/ 160714597 w 903"/>
                <a:gd name="T5" fmla="*/ 114101352 h 759"/>
                <a:gd name="T6" fmla="*/ 146999775 w 903"/>
                <a:gd name="T7" fmla="*/ 139732591 h 759"/>
                <a:gd name="T8" fmla="*/ 139079855 w 903"/>
                <a:gd name="T9" fmla="*/ 154615331 h 759"/>
                <a:gd name="T10" fmla="*/ 124978706 w 903"/>
                <a:gd name="T11" fmla="*/ 168947363 h 759"/>
                <a:gd name="T12" fmla="*/ 112616248 w 903"/>
                <a:gd name="T13" fmla="*/ 183554486 h 759"/>
                <a:gd name="T14" fmla="*/ 107593999 w 903"/>
                <a:gd name="T15" fmla="*/ 192373674 h 759"/>
                <a:gd name="T16" fmla="*/ 100446733 w 903"/>
                <a:gd name="T17" fmla="*/ 194302986 h 759"/>
                <a:gd name="T18" fmla="*/ 95810811 w 903"/>
                <a:gd name="T19" fmla="*/ 195681066 h 759"/>
                <a:gd name="T20" fmla="*/ 93685794 w 903"/>
                <a:gd name="T21" fmla="*/ 200366538 h 759"/>
                <a:gd name="T22" fmla="*/ 71858108 w 903"/>
                <a:gd name="T23" fmla="*/ 200366538 h 759"/>
                <a:gd name="T24" fmla="*/ 65483496 w 903"/>
                <a:gd name="T25" fmla="*/ 201744093 h 759"/>
                <a:gd name="T26" fmla="*/ 61040518 w 903"/>
                <a:gd name="T27" fmla="*/ 201744093 h 759"/>
                <a:gd name="T28" fmla="*/ 55245615 w 903"/>
                <a:gd name="T29" fmla="*/ 200366538 h 759"/>
                <a:gd name="T30" fmla="*/ 50802637 w 903"/>
                <a:gd name="T31" fmla="*/ 203122173 h 759"/>
                <a:gd name="T32" fmla="*/ 28202298 w 903"/>
                <a:gd name="T33" fmla="*/ 209185725 h 759"/>
                <a:gd name="T34" fmla="*/ 22407395 w 903"/>
                <a:gd name="T35" fmla="*/ 207532029 h 759"/>
                <a:gd name="T36" fmla="*/ 17385147 w 903"/>
                <a:gd name="T37" fmla="*/ 203673405 h 759"/>
                <a:gd name="T38" fmla="*/ 14680859 w 903"/>
                <a:gd name="T39" fmla="*/ 198161610 h 759"/>
                <a:gd name="T40" fmla="*/ 15260129 w 903"/>
                <a:gd name="T41" fmla="*/ 192098058 h 759"/>
                <a:gd name="T42" fmla="*/ 14487476 w 903"/>
                <a:gd name="T43" fmla="*/ 173081078 h 759"/>
                <a:gd name="T44" fmla="*/ 15260129 w 903"/>
                <a:gd name="T45" fmla="*/ 167569283 h 759"/>
                <a:gd name="T46" fmla="*/ 13135112 w 903"/>
                <a:gd name="T47" fmla="*/ 157647107 h 759"/>
                <a:gd name="T48" fmla="*/ 4249595 w 903"/>
                <a:gd name="T49" fmla="*/ 142213135 h 759"/>
                <a:gd name="T50" fmla="*/ 2317961 w 903"/>
                <a:gd name="T51" fmla="*/ 133393948 h 759"/>
                <a:gd name="T52" fmla="*/ 1931634 w 903"/>
                <a:gd name="T53" fmla="*/ 120991228 h 759"/>
                <a:gd name="T54" fmla="*/ 0 w 903"/>
                <a:gd name="T55" fmla="*/ 103904085 h 759"/>
                <a:gd name="T56" fmla="*/ 7533593 w 903"/>
                <a:gd name="T57" fmla="*/ 103904085 h 759"/>
                <a:gd name="T58" fmla="*/ 11010534 w 903"/>
                <a:gd name="T59" fmla="*/ 109140264 h 759"/>
                <a:gd name="T60" fmla="*/ 18157800 w 903"/>
                <a:gd name="T61" fmla="*/ 112998888 h 759"/>
                <a:gd name="T62" fmla="*/ 26077281 w 903"/>
                <a:gd name="T63" fmla="*/ 113274504 h 759"/>
                <a:gd name="T64" fmla="*/ 30906586 w 903"/>
                <a:gd name="T65" fmla="*/ 110242728 h 759"/>
                <a:gd name="T66" fmla="*/ 35156181 w 903"/>
                <a:gd name="T67" fmla="*/ 102526005 h 759"/>
                <a:gd name="T68" fmla="*/ 38053852 w 903"/>
                <a:gd name="T69" fmla="*/ 63113966 h 759"/>
                <a:gd name="T70" fmla="*/ 39405776 w 903"/>
                <a:gd name="T71" fmla="*/ 50711771 h 759"/>
                <a:gd name="T72" fmla="*/ 40565196 w 903"/>
                <a:gd name="T73" fmla="*/ 46301914 h 759"/>
                <a:gd name="T74" fmla="*/ 46166715 w 903"/>
                <a:gd name="T75" fmla="*/ 49058074 h 759"/>
                <a:gd name="T76" fmla="*/ 47325696 w 903"/>
                <a:gd name="T77" fmla="*/ 65594510 h 759"/>
                <a:gd name="T78" fmla="*/ 47712022 w 903"/>
                <a:gd name="T79" fmla="*/ 75516161 h 759"/>
                <a:gd name="T80" fmla="*/ 49450713 w 903"/>
                <a:gd name="T81" fmla="*/ 79099169 h 759"/>
                <a:gd name="T82" fmla="*/ 55438998 w 903"/>
                <a:gd name="T83" fmla="*/ 81304097 h 759"/>
                <a:gd name="T84" fmla="*/ 60267864 w 903"/>
                <a:gd name="T85" fmla="*/ 80752865 h 759"/>
                <a:gd name="T86" fmla="*/ 64324516 w 903"/>
                <a:gd name="T87" fmla="*/ 74964929 h 759"/>
                <a:gd name="T88" fmla="*/ 67608513 w 903"/>
                <a:gd name="T89" fmla="*/ 64492046 h 759"/>
                <a:gd name="T90" fmla="*/ 71085455 w 903"/>
                <a:gd name="T91" fmla="*/ 55397243 h 759"/>
                <a:gd name="T92" fmla="*/ 74755340 w 903"/>
                <a:gd name="T93" fmla="*/ 52641083 h 759"/>
                <a:gd name="T94" fmla="*/ 79970972 w 903"/>
                <a:gd name="T95" fmla="*/ 53192315 h 759"/>
                <a:gd name="T96" fmla="*/ 87118238 w 903"/>
                <a:gd name="T97" fmla="*/ 57326030 h 759"/>
                <a:gd name="T98" fmla="*/ 92333430 w 903"/>
                <a:gd name="T99" fmla="*/ 59530958 h 759"/>
                <a:gd name="T100" fmla="*/ 98901426 w 903"/>
                <a:gd name="T101" fmla="*/ 58704110 h 759"/>
                <a:gd name="T102" fmla="*/ 102571311 w 903"/>
                <a:gd name="T103" fmla="*/ 55121627 h 759"/>
                <a:gd name="T104" fmla="*/ 108945923 w 903"/>
                <a:gd name="T105" fmla="*/ 35002183 h 759"/>
                <a:gd name="T106" fmla="*/ 119763074 w 903"/>
                <a:gd name="T107" fmla="*/ 22048756 h 759"/>
                <a:gd name="T108" fmla="*/ 141397816 w 903"/>
                <a:gd name="T109" fmla="*/ 3031776 h 759"/>
                <a:gd name="T110" fmla="*/ 155692348 w 903"/>
                <a:gd name="T111" fmla="*/ 826848 h 759"/>
                <a:gd name="T112" fmla="*/ 160328270 w 903"/>
                <a:gd name="T113" fmla="*/ 1653696 h 759"/>
                <a:gd name="T114" fmla="*/ 164964192 w 903"/>
                <a:gd name="T115" fmla="*/ 9646035 h 759"/>
                <a:gd name="T116" fmla="*/ 168634517 w 903"/>
                <a:gd name="T117" fmla="*/ 19568212 h 759"/>
                <a:gd name="T118" fmla="*/ 170566151 w 903"/>
                <a:gd name="T119" fmla="*/ 29489863 h 759"/>
                <a:gd name="T120" fmla="*/ 167668480 w 903"/>
                <a:gd name="T121" fmla="*/ 57050414 h 759"/>
                <a:gd name="T122" fmla="*/ 160328270 w 903"/>
                <a:gd name="T123" fmla="*/ 56224091 h 759"/>
                <a:gd name="T124" fmla="*/ 159555617 w 903"/>
                <a:gd name="T125" fmla="*/ 77445473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4" name="Freeform 383">
              <a:extLst>
                <a:ext uri="{FF2B5EF4-FFF2-40B4-BE49-F238E27FC236}">
                  <a16:creationId xmlns:a16="http://schemas.microsoft.com/office/drawing/2014/main" id="{23C1FD20-CF04-49BE-8D31-CFC15E5CFC7F}"/>
                </a:ext>
              </a:extLst>
            </p:cNvPr>
            <p:cNvSpPr>
              <a:spLocks/>
            </p:cNvSpPr>
            <p:nvPr>
              <p:custDataLst>
                <p:tags r:id="rId272"/>
              </p:custDataLst>
            </p:nvPr>
          </p:nvSpPr>
          <p:spPr bwMode="auto">
            <a:xfrm>
              <a:off x="4557713" y="3282950"/>
              <a:ext cx="411162" cy="611188"/>
            </a:xfrm>
            <a:custGeom>
              <a:avLst/>
              <a:gdLst>
                <a:gd name="T0" fmla="*/ 141060831 w 943"/>
                <a:gd name="T1" fmla="*/ 1359526 h 1172"/>
                <a:gd name="T2" fmla="*/ 145433188 w 943"/>
                <a:gd name="T3" fmla="*/ 6254758 h 1172"/>
                <a:gd name="T4" fmla="*/ 152657518 w 943"/>
                <a:gd name="T5" fmla="*/ 8158721 h 1172"/>
                <a:gd name="T6" fmla="*/ 154748645 w 943"/>
                <a:gd name="T7" fmla="*/ 14957394 h 1172"/>
                <a:gd name="T8" fmla="*/ 158740797 w 943"/>
                <a:gd name="T9" fmla="*/ 29642569 h 1172"/>
                <a:gd name="T10" fmla="*/ 159121002 w 943"/>
                <a:gd name="T11" fmla="*/ 50855243 h 1172"/>
                <a:gd name="T12" fmla="*/ 162923488 w 943"/>
                <a:gd name="T13" fmla="*/ 66084334 h 1172"/>
                <a:gd name="T14" fmla="*/ 175280584 w 943"/>
                <a:gd name="T15" fmla="*/ 79409983 h 1172"/>
                <a:gd name="T16" fmla="*/ 167105742 w 943"/>
                <a:gd name="T17" fmla="*/ 98174780 h 1172"/>
                <a:gd name="T18" fmla="*/ 161782873 w 943"/>
                <a:gd name="T19" fmla="*/ 111500430 h 1172"/>
                <a:gd name="T20" fmla="*/ 153798133 w 943"/>
                <a:gd name="T21" fmla="*/ 172690052 h 1172"/>
                <a:gd name="T22" fmla="*/ 146383700 w 943"/>
                <a:gd name="T23" fmla="*/ 184111740 h 1172"/>
                <a:gd name="T24" fmla="*/ 145052983 w 943"/>
                <a:gd name="T25" fmla="*/ 196077864 h 1172"/>
                <a:gd name="T26" fmla="*/ 141631139 w 943"/>
                <a:gd name="T27" fmla="*/ 199885267 h 1172"/>
                <a:gd name="T28" fmla="*/ 137448884 w 943"/>
                <a:gd name="T29" fmla="*/ 217018319 h 1172"/>
                <a:gd name="T30" fmla="*/ 131555271 w 943"/>
                <a:gd name="T31" fmla="*/ 238502168 h 1172"/>
                <a:gd name="T32" fmla="*/ 125852197 w 943"/>
                <a:gd name="T33" fmla="*/ 245573059 h 1172"/>
                <a:gd name="T34" fmla="*/ 126232402 w 943"/>
                <a:gd name="T35" fmla="*/ 254003477 h 1172"/>
                <a:gd name="T36" fmla="*/ 130414657 w 943"/>
                <a:gd name="T37" fmla="*/ 255363524 h 1172"/>
                <a:gd name="T38" fmla="*/ 134787449 w 943"/>
                <a:gd name="T39" fmla="*/ 258354794 h 1172"/>
                <a:gd name="T40" fmla="*/ 141060831 w 943"/>
                <a:gd name="T41" fmla="*/ 264065638 h 1172"/>
                <a:gd name="T42" fmla="*/ 143722266 w 943"/>
                <a:gd name="T43" fmla="*/ 273856103 h 1172"/>
                <a:gd name="T44" fmla="*/ 147334649 w 943"/>
                <a:gd name="T45" fmla="*/ 283646567 h 1172"/>
                <a:gd name="T46" fmla="*/ 152657518 w 943"/>
                <a:gd name="T47" fmla="*/ 286366141 h 1172"/>
                <a:gd name="T48" fmla="*/ 153798133 w 943"/>
                <a:gd name="T49" fmla="*/ 297516132 h 1172"/>
                <a:gd name="T50" fmla="*/ 136498372 w 943"/>
                <a:gd name="T51" fmla="*/ 303226976 h 1172"/>
                <a:gd name="T52" fmla="*/ 130604759 w 943"/>
                <a:gd name="T53" fmla="*/ 314649185 h 1172"/>
                <a:gd name="T54" fmla="*/ 113685203 w 943"/>
                <a:gd name="T55" fmla="*/ 318184369 h 1172"/>
                <a:gd name="T56" fmla="*/ 97906262 w 943"/>
                <a:gd name="T57" fmla="*/ 314920881 h 1172"/>
                <a:gd name="T58" fmla="*/ 88210600 w 943"/>
                <a:gd name="T59" fmla="*/ 305402634 h 1172"/>
                <a:gd name="T60" fmla="*/ 74142581 w 943"/>
                <a:gd name="T61" fmla="*/ 305946549 h 1172"/>
                <a:gd name="T62" fmla="*/ 60644869 w 943"/>
                <a:gd name="T63" fmla="*/ 304586502 h 1172"/>
                <a:gd name="T64" fmla="*/ 56462179 w 943"/>
                <a:gd name="T65" fmla="*/ 300235705 h 1172"/>
                <a:gd name="T66" fmla="*/ 55891871 w 943"/>
                <a:gd name="T67" fmla="*/ 292348681 h 1172"/>
                <a:gd name="T68" fmla="*/ 52089822 w 943"/>
                <a:gd name="T69" fmla="*/ 279839165 h 1172"/>
                <a:gd name="T70" fmla="*/ 41063442 w 943"/>
                <a:gd name="T71" fmla="*/ 264881771 h 1172"/>
                <a:gd name="T72" fmla="*/ 36691085 w 943"/>
                <a:gd name="T73" fmla="*/ 251556121 h 1172"/>
                <a:gd name="T74" fmla="*/ 28896448 w 943"/>
                <a:gd name="T75" fmla="*/ 245573059 h 1172"/>
                <a:gd name="T76" fmla="*/ 22813169 w 943"/>
                <a:gd name="T77" fmla="*/ 230071751 h 1172"/>
                <a:gd name="T78" fmla="*/ 18440376 w 943"/>
                <a:gd name="T79" fmla="*/ 214298746 h 1172"/>
                <a:gd name="T80" fmla="*/ 12357097 w 943"/>
                <a:gd name="T81" fmla="*/ 206140025 h 1172"/>
                <a:gd name="T82" fmla="*/ 6273382 w 943"/>
                <a:gd name="T83" fmla="*/ 183840043 h 1172"/>
                <a:gd name="T84" fmla="*/ 760410 w 943"/>
                <a:gd name="T85" fmla="*/ 166163076 h 1172"/>
                <a:gd name="T86" fmla="*/ 3421845 w 943"/>
                <a:gd name="T87" fmla="*/ 156916526 h 1172"/>
                <a:gd name="T88" fmla="*/ 5512972 w 943"/>
                <a:gd name="T89" fmla="*/ 141687435 h 1172"/>
                <a:gd name="T90" fmla="*/ 12166994 w 943"/>
                <a:gd name="T91" fmla="*/ 128905700 h 1172"/>
                <a:gd name="T92" fmla="*/ 21482451 w 943"/>
                <a:gd name="T93" fmla="*/ 60373490 h 1172"/>
                <a:gd name="T94" fmla="*/ 23383476 w 943"/>
                <a:gd name="T95" fmla="*/ 48679584 h 1172"/>
                <a:gd name="T96" fmla="*/ 29086550 w 943"/>
                <a:gd name="T97" fmla="*/ 46503926 h 1172"/>
                <a:gd name="T98" fmla="*/ 30417268 w 943"/>
                <a:gd name="T99" fmla="*/ 33178276 h 1172"/>
                <a:gd name="T100" fmla="*/ 30227165 w 943"/>
                <a:gd name="T101" fmla="*/ 18220882 h 1172"/>
                <a:gd name="T102" fmla="*/ 129083939 w 943"/>
                <a:gd name="T103" fmla="*/ 1876479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285" name="Group 384">
              <a:extLst>
                <a:ext uri="{FF2B5EF4-FFF2-40B4-BE49-F238E27FC236}">
                  <a16:creationId xmlns:a16="http://schemas.microsoft.com/office/drawing/2014/main" id="{16A6AB63-9E38-4E5F-A928-66187CB4C6F9}"/>
                </a:ext>
              </a:extLst>
            </p:cNvPr>
            <p:cNvGrpSpPr>
              <a:grpSpLocks/>
            </p:cNvGrpSpPr>
            <p:nvPr>
              <p:custDataLst>
                <p:tags r:id="rId273"/>
              </p:custDataLst>
            </p:nvPr>
          </p:nvGrpSpPr>
          <p:grpSpPr bwMode="auto">
            <a:xfrm>
              <a:off x="3341688" y="3484563"/>
              <a:ext cx="80962" cy="82550"/>
              <a:chOff x="2352" y="2343"/>
              <a:chExt cx="65" cy="53"/>
            </a:xfrm>
          </p:grpSpPr>
          <p:sp>
            <p:nvSpPr>
              <p:cNvPr id="454" name="Freeform 385">
                <a:extLst>
                  <a:ext uri="{FF2B5EF4-FFF2-40B4-BE49-F238E27FC236}">
                    <a16:creationId xmlns:a16="http://schemas.microsoft.com/office/drawing/2014/main" id="{B278B859-C4D8-478B-916B-C854FE104DA5}"/>
                  </a:ext>
                </a:extLst>
              </p:cNvPr>
              <p:cNvSpPr>
                <a:spLocks/>
              </p:cNvSpPr>
              <p:nvPr/>
            </p:nvSpPr>
            <p:spPr bwMode="auto">
              <a:xfrm>
                <a:off x="2352" y="2343"/>
                <a:ext cx="16" cy="11"/>
              </a:xfrm>
              <a:custGeom>
                <a:avLst/>
                <a:gdLst>
                  <a:gd name="T0" fmla="*/ 4 w 51"/>
                  <a:gd name="T1" fmla="*/ 0 h 33"/>
                  <a:gd name="T2" fmla="*/ 0 w 51"/>
                  <a:gd name="T3" fmla="*/ 1 h 33"/>
                  <a:gd name="T4" fmla="*/ 0 w 51"/>
                  <a:gd name="T5" fmla="*/ 3 h 33"/>
                  <a:gd name="T6" fmla="*/ 1 w 51"/>
                  <a:gd name="T7" fmla="*/ 4 h 33"/>
                  <a:gd name="T8" fmla="*/ 3 w 51"/>
                  <a:gd name="T9" fmla="*/ 3 h 33"/>
                  <a:gd name="T10" fmla="*/ 5 w 51"/>
                  <a:gd name="T11" fmla="*/ 2 h 33"/>
                  <a:gd name="T12" fmla="*/ 5 w 51"/>
                  <a:gd name="T13" fmla="*/ 1 h 33"/>
                  <a:gd name="T14" fmla="*/ 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US"/>
              </a:p>
            </p:txBody>
          </p:sp>
          <p:sp>
            <p:nvSpPr>
              <p:cNvPr id="455" name="Freeform 386">
                <a:extLst>
                  <a:ext uri="{FF2B5EF4-FFF2-40B4-BE49-F238E27FC236}">
                    <a16:creationId xmlns:a16="http://schemas.microsoft.com/office/drawing/2014/main" id="{FC9748A9-1CCB-4151-A143-D9A3E17E313C}"/>
                  </a:ext>
                </a:extLst>
              </p:cNvPr>
              <p:cNvSpPr>
                <a:spLocks/>
              </p:cNvSpPr>
              <p:nvPr/>
            </p:nvSpPr>
            <p:spPr bwMode="auto">
              <a:xfrm>
                <a:off x="2372" y="2354"/>
                <a:ext cx="20" cy="7"/>
              </a:xfrm>
              <a:custGeom>
                <a:avLst/>
                <a:gdLst>
                  <a:gd name="T0" fmla="*/ 7 w 61"/>
                  <a:gd name="T1" fmla="*/ 1 h 20"/>
                  <a:gd name="T2" fmla="*/ 6 w 61"/>
                  <a:gd name="T3" fmla="*/ 0 h 20"/>
                  <a:gd name="T4" fmla="*/ 0 w 61"/>
                  <a:gd name="T5" fmla="*/ 0 h 20"/>
                  <a:gd name="T6" fmla="*/ 0 w 61"/>
                  <a:gd name="T7" fmla="*/ 2 h 20"/>
                  <a:gd name="T8" fmla="*/ 1 w 61"/>
                  <a:gd name="T9" fmla="*/ 2 h 20"/>
                  <a:gd name="T10" fmla="*/ 2 w 61"/>
                  <a:gd name="T11" fmla="*/ 2 h 20"/>
                  <a:gd name="T12" fmla="*/ 7 w 61"/>
                  <a:gd name="T13" fmla="*/ 1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US"/>
              </a:p>
            </p:txBody>
          </p:sp>
          <p:sp>
            <p:nvSpPr>
              <p:cNvPr id="456" name="Freeform 387">
                <a:extLst>
                  <a:ext uri="{FF2B5EF4-FFF2-40B4-BE49-F238E27FC236}">
                    <a16:creationId xmlns:a16="http://schemas.microsoft.com/office/drawing/2014/main" id="{3C4CE37E-FCE8-4788-AD97-5B54EDDA0FE2}"/>
                  </a:ext>
                </a:extLst>
              </p:cNvPr>
              <p:cNvSpPr>
                <a:spLocks/>
              </p:cNvSpPr>
              <p:nvPr/>
            </p:nvSpPr>
            <p:spPr bwMode="auto">
              <a:xfrm>
                <a:off x="2407" y="2346"/>
                <a:ext cx="5" cy="12"/>
              </a:xfrm>
              <a:custGeom>
                <a:avLst/>
                <a:gdLst>
                  <a:gd name="T0" fmla="*/ 0 w 15"/>
                  <a:gd name="T1" fmla="*/ 0 h 36"/>
                  <a:gd name="T2" fmla="*/ 0 w 15"/>
                  <a:gd name="T3" fmla="*/ 2 h 36"/>
                  <a:gd name="T4" fmla="*/ 0 w 15"/>
                  <a:gd name="T5" fmla="*/ 4 h 36"/>
                  <a:gd name="T6" fmla="*/ 1 w 15"/>
                  <a:gd name="T7" fmla="*/ 4 h 36"/>
                  <a:gd name="T8" fmla="*/ 2 w 15"/>
                  <a:gd name="T9" fmla="*/ 2 h 36"/>
                  <a:gd name="T10" fmla="*/ 0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US"/>
              </a:p>
            </p:txBody>
          </p:sp>
          <p:sp>
            <p:nvSpPr>
              <p:cNvPr id="457" name="Freeform 388">
                <a:extLst>
                  <a:ext uri="{FF2B5EF4-FFF2-40B4-BE49-F238E27FC236}">
                    <a16:creationId xmlns:a16="http://schemas.microsoft.com/office/drawing/2014/main" id="{0C3104A8-D19A-4955-81A0-D9CE3391F62F}"/>
                  </a:ext>
                </a:extLst>
              </p:cNvPr>
              <p:cNvSpPr>
                <a:spLocks/>
              </p:cNvSpPr>
              <p:nvPr/>
            </p:nvSpPr>
            <p:spPr bwMode="auto">
              <a:xfrm>
                <a:off x="2406" y="2361"/>
                <a:ext cx="11" cy="11"/>
              </a:xfrm>
              <a:custGeom>
                <a:avLst/>
                <a:gdLst>
                  <a:gd name="T0" fmla="*/ 0 w 37"/>
                  <a:gd name="T1" fmla="*/ 0 h 33"/>
                  <a:gd name="T2" fmla="*/ 2 w 37"/>
                  <a:gd name="T3" fmla="*/ 0 h 33"/>
                  <a:gd name="T4" fmla="*/ 3 w 37"/>
                  <a:gd name="T5" fmla="*/ 1 h 33"/>
                  <a:gd name="T6" fmla="*/ 3 w 37"/>
                  <a:gd name="T7" fmla="*/ 2 h 33"/>
                  <a:gd name="T8" fmla="*/ 2 w 37"/>
                  <a:gd name="T9" fmla="*/ 4 h 33"/>
                  <a:gd name="T10" fmla="*/ 1 w 37"/>
                  <a:gd name="T11" fmla="*/ 4 h 33"/>
                  <a:gd name="T12" fmla="*/ 0 w 37"/>
                  <a:gd name="T13" fmla="*/ 3 h 33"/>
                  <a:gd name="T14" fmla="*/ 0 w 37"/>
                  <a:gd name="T15" fmla="*/ 2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US"/>
              </a:p>
            </p:txBody>
          </p:sp>
          <p:sp>
            <p:nvSpPr>
              <p:cNvPr id="458" name="Freeform 389">
                <a:extLst>
                  <a:ext uri="{FF2B5EF4-FFF2-40B4-BE49-F238E27FC236}">
                    <a16:creationId xmlns:a16="http://schemas.microsoft.com/office/drawing/2014/main" id="{89FF6740-A54D-460E-904A-03418F51E942}"/>
                  </a:ext>
                </a:extLst>
              </p:cNvPr>
              <p:cNvSpPr>
                <a:spLocks/>
              </p:cNvSpPr>
              <p:nvPr/>
            </p:nvSpPr>
            <p:spPr bwMode="auto">
              <a:xfrm>
                <a:off x="2388" y="2378"/>
                <a:ext cx="16" cy="18"/>
              </a:xfrm>
              <a:custGeom>
                <a:avLst/>
                <a:gdLst>
                  <a:gd name="T0" fmla="*/ 0 w 49"/>
                  <a:gd name="T1" fmla="*/ 0 h 54"/>
                  <a:gd name="T2" fmla="*/ 0 w 49"/>
                  <a:gd name="T3" fmla="*/ 0 h 54"/>
                  <a:gd name="T4" fmla="*/ 0 w 49"/>
                  <a:gd name="T5" fmla="*/ 6 h 54"/>
                  <a:gd name="T6" fmla="*/ 2 w 49"/>
                  <a:gd name="T7" fmla="*/ 6 h 54"/>
                  <a:gd name="T8" fmla="*/ 5 w 49"/>
                  <a:gd name="T9" fmla="*/ 5 h 54"/>
                  <a:gd name="T10" fmla="*/ 5 w 49"/>
                  <a:gd name="T11" fmla="*/ 3 h 54"/>
                  <a:gd name="T12" fmla="*/ 4 w 49"/>
                  <a:gd name="T13" fmla="*/ 2 h 54"/>
                  <a:gd name="T14" fmla="*/ 2 w 49"/>
                  <a:gd name="T15" fmla="*/ 1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US"/>
              </a:p>
            </p:txBody>
          </p:sp>
          <p:sp>
            <p:nvSpPr>
              <p:cNvPr id="459" name="Freeform 390">
                <a:extLst>
                  <a:ext uri="{FF2B5EF4-FFF2-40B4-BE49-F238E27FC236}">
                    <a16:creationId xmlns:a16="http://schemas.microsoft.com/office/drawing/2014/main" id="{8238FF42-D2E4-4689-80C4-425725FBF81A}"/>
                  </a:ext>
                </a:extLst>
              </p:cNvPr>
              <p:cNvSpPr>
                <a:spLocks/>
              </p:cNvSpPr>
              <p:nvPr/>
            </p:nvSpPr>
            <p:spPr bwMode="auto">
              <a:xfrm>
                <a:off x="2374" y="2388"/>
                <a:ext cx="9" cy="7"/>
              </a:xfrm>
              <a:custGeom>
                <a:avLst/>
                <a:gdLst>
                  <a:gd name="T0" fmla="*/ 2 w 26"/>
                  <a:gd name="T1" fmla="*/ 0 h 22"/>
                  <a:gd name="T2" fmla="*/ 0 w 26"/>
                  <a:gd name="T3" fmla="*/ 0 h 22"/>
                  <a:gd name="T4" fmla="*/ 0 w 26"/>
                  <a:gd name="T5" fmla="*/ 2 h 22"/>
                  <a:gd name="T6" fmla="*/ 1 w 26"/>
                  <a:gd name="T7" fmla="*/ 2 h 22"/>
                  <a:gd name="T8" fmla="*/ 2 w 26"/>
                  <a:gd name="T9" fmla="*/ 2 h 22"/>
                  <a:gd name="T10" fmla="*/ 3 w 26"/>
                  <a:gd name="T11" fmla="*/ 1 h 22"/>
                  <a:gd name="T12" fmla="*/ 2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US"/>
              </a:p>
            </p:txBody>
          </p:sp>
        </p:grpSp>
        <p:grpSp>
          <p:nvGrpSpPr>
            <p:cNvPr id="286" name="Group 391">
              <a:extLst>
                <a:ext uri="{FF2B5EF4-FFF2-40B4-BE49-F238E27FC236}">
                  <a16:creationId xmlns:a16="http://schemas.microsoft.com/office/drawing/2014/main" id="{EDA21C5C-5CE5-46DB-9508-1DB3BA7F331A}"/>
                </a:ext>
              </a:extLst>
            </p:cNvPr>
            <p:cNvGrpSpPr>
              <a:grpSpLocks/>
            </p:cNvGrpSpPr>
            <p:nvPr>
              <p:custDataLst>
                <p:tags r:id="rId274"/>
              </p:custDataLst>
            </p:nvPr>
          </p:nvGrpSpPr>
          <p:grpSpPr bwMode="auto">
            <a:xfrm>
              <a:off x="1187450" y="1544638"/>
              <a:ext cx="1897063" cy="1133475"/>
              <a:chOff x="527" y="1110"/>
              <a:chExt cx="1410" cy="709"/>
            </a:xfrm>
            <a:solidFill>
              <a:schemeClr val="accent6"/>
            </a:solidFill>
          </p:grpSpPr>
          <p:sp>
            <p:nvSpPr>
              <p:cNvPr id="412" name="Freeform 392">
                <a:extLst>
                  <a:ext uri="{FF2B5EF4-FFF2-40B4-BE49-F238E27FC236}">
                    <a16:creationId xmlns:a16="http://schemas.microsoft.com/office/drawing/2014/main" id="{A0D7B052-D470-4031-A5F1-A423D7D2E86B}"/>
                  </a:ext>
                </a:extLst>
              </p:cNvPr>
              <p:cNvSpPr>
                <a:spLocks/>
              </p:cNvSpPr>
              <p:nvPr/>
            </p:nvSpPr>
            <p:spPr bwMode="auto">
              <a:xfrm>
                <a:off x="1401" y="1427"/>
                <a:ext cx="31" cy="17"/>
              </a:xfrm>
              <a:custGeom>
                <a:avLst/>
                <a:gdLst>
                  <a:gd name="T0" fmla="*/ 0 w 98"/>
                  <a:gd name="T1" fmla="*/ 4 h 54"/>
                  <a:gd name="T2" fmla="*/ 1 w 98"/>
                  <a:gd name="T3" fmla="*/ 4 h 54"/>
                  <a:gd name="T4" fmla="*/ 1 w 98"/>
                  <a:gd name="T5" fmla="*/ 5 h 54"/>
                  <a:gd name="T6" fmla="*/ 2 w 98"/>
                  <a:gd name="T7" fmla="*/ 5 h 54"/>
                  <a:gd name="T8" fmla="*/ 3 w 98"/>
                  <a:gd name="T9" fmla="*/ 5 h 54"/>
                  <a:gd name="T10" fmla="*/ 4 w 98"/>
                  <a:gd name="T11" fmla="*/ 5 h 54"/>
                  <a:gd name="T12" fmla="*/ 4 w 98"/>
                  <a:gd name="T13" fmla="*/ 5 h 54"/>
                  <a:gd name="T14" fmla="*/ 5 w 98"/>
                  <a:gd name="T15" fmla="*/ 5 h 54"/>
                  <a:gd name="T16" fmla="*/ 6 w 98"/>
                  <a:gd name="T17" fmla="*/ 5 h 54"/>
                  <a:gd name="T18" fmla="*/ 7 w 98"/>
                  <a:gd name="T19" fmla="*/ 4 h 54"/>
                  <a:gd name="T20" fmla="*/ 8 w 98"/>
                  <a:gd name="T21" fmla="*/ 3 h 54"/>
                  <a:gd name="T22" fmla="*/ 9 w 98"/>
                  <a:gd name="T23" fmla="*/ 3 h 54"/>
                  <a:gd name="T24" fmla="*/ 9 w 98"/>
                  <a:gd name="T25" fmla="*/ 2 h 54"/>
                  <a:gd name="T26" fmla="*/ 9 w 98"/>
                  <a:gd name="T27" fmla="*/ 1 h 54"/>
                  <a:gd name="T28" fmla="*/ 10 w 98"/>
                  <a:gd name="T29" fmla="*/ 0 h 54"/>
                  <a:gd name="T30" fmla="*/ 9 w 98"/>
                  <a:gd name="T31" fmla="*/ 0 h 54"/>
                  <a:gd name="T32" fmla="*/ 8 w 98"/>
                  <a:gd name="T33" fmla="*/ 0 h 54"/>
                  <a:gd name="T34" fmla="*/ 8 w 98"/>
                  <a:gd name="T35" fmla="*/ 0 h 54"/>
                  <a:gd name="T36" fmla="*/ 7 w 98"/>
                  <a:gd name="T37" fmla="*/ 0 h 54"/>
                  <a:gd name="T38" fmla="*/ 6 w 98"/>
                  <a:gd name="T39" fmla="*/ 0 h 54"/>
                  <a:gd name="T40" fmla="*/ 5 w 98"/>
                  <a:gd name="T41" fmla="*/ 0 h 54"/>
                  <a:gd name="T42" fmla="*/ 4 w 98"/>
                  <a:gd name="T43" fmla="*/ 1 h 54"/>
                  <a:gd name="T44" fmla="*/ 4 w 98"/>
                  <a:gd name="T45" fmla="*/ 1 h 54"/>
                  <a:gd name="T46" fmla="*/ 2 w 98"/>
                  <a:gd name="T47" fmla="*/ 2 h 54"/>
                  <a:gd name="T48" fmla="*/ 1 w 98"/>
                  <a:gd name="T49" fmla="*/ 3 h 54"/>
                  <a:gd name="T50" fmla="*/ 1 w 98"/>
                  <a:gd name="T51" fmla="*/ 3 h 54"/>
                  <a:gd name="T52" fmla="*/ 0 w 98"/>
                  <a:gd name="T53" fmla="*/ 3 h 54"/>
                  <a:gd name="T54" fmla="*/ 0 w 98"/>
                  <a:gd name="T55" fmla="*/ 4 h 54"/>
                  <a:gd name="T56" fmla="*/ 0 w 98"/>
                  <a:gd name="T57" fmla="*/ 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3" name="Freeform 393">
                <a:extLst>
                  <a:ext uri="{FF2B5EF4-FFF2-40B4-BE49-F238E27FC236}">
                    <a16:creationId xmlns:a16="http://schemas.microsoft.com/office/drawing/2014/main" id="{7308A4CC-B7D2-442A-8CDA-9A4C550E79DA}"/>
                  </a:ext>
                </a:extLst>
              </p:cNvPr>
              <p:cNvSpPr>
                <a:spLocks/>
              </p:cNvSpPr>
              <p:nvPr/>
            </p:nvSpPr>
            <p:spPr bwMode="auto">
              <a:xfrm>
                <a:off x="1387" y="1551"/>
                <a:ext cx="21" cy="8"/>
              </a:xfrm>
              <a:custGeom>
                <a:avLst/>
                <a:gdLst>
                  <a:gd name="T0" fmla="*/ 0 w 67"/>
                  <a:gd name="T1" fmla="*/ 2 h 28"/>
                  <a:gd name="T2" fmla="*/ 1 w 67"/>
                  <a:gd name="T3" fmla="*/ 2 h 28"/>
                  <a:gd name="T4" fmla="*/ 2 w 67"/>
                  <a:gd name="T5" fmla="*/ 2 h 28"/>
                  <a:gd name="T6" fmla="*/ 3 w 67"/>
                  <a:gd name="T7" fmla="*/ 2 h 28"/>
                  <a:gd name="T8" fmla="*/ 4 w 67"/>
                  <a:gd name="T9" fmla="*/ 2 h 28"/>
                  <a:gd name="T10" fmla="*/ 5 w 67"/>
                  <a:gd name="T11" fmla="*/ 1 h 28"/>
                  <a:gd name="T12" fmla="*/ 6 w 67"/>
                  <a:gd name="T13" fmla="*/ 1 h 28"/>
                  <a:gd name="T14" fmla="*/ 6 w 67"/>
                  <a:gd name="T15" fmla="*/ 1 h 28"/>
                  <a:gd name="T16" fmla="*/ 7 w 67"/>
                  <a:gd name="T17" fmla="*/ 0 h 28"/>
                  <a:gd name="T18" fmla="*/ 6 w 67"/>
                  <a:gd name="T19" fmla="*/ 0 h 28"/>
                  <a:gd name="T20" fmla="*/ 4 w 67"/>
                  <a:gd name="T21" fmla="*/ 0 h 28"/>
                  <a:gd name="T22" fmla="*/ 3 w 67"/>
                  <a:gd name="T23" fmla="*/ 0 h 28"/>
                  <a:gd name="T24" fmla="*/ 3 w 67"/>
                  <a:gd name="T25" fmla="*/ 0 h 28"/>
                  <a:gd name="T26" fmla="*/ 2 w 67"/>
                  <a:gd name="T27" fmla="*/ 1 h 28"/>
                  <a:gd name="T28" fmla="*/ 1 w 67"/>
                  <a:gd name="T29" fmla="*/ 1 h 28"/>
                  <a:gd name="T30" fmla="*/ 1 w 67"/>
                  <a:gd name="T31" fmla="*/ 1 h 28"/>
                  <a:gd name="T32" fmla="*/ 0 w 67"/>
                  <a:gd name="T33" fmla="*/ 1 h 28"/>
                  <a:gd name="T34" fmla="*/ 0 w 67"/>
                  <a:gd name="T35" fmla="*/ 2 h 28"/>
                  <a:gd name="T36" fmla="*/ 0 w 67"/>
                  <a:gd name="T37" fmla="*/ 2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4" name="Freeform 394">
                <a:extLst>
                  <a:ext uri="{FF2B5EF4-FFF2-40B4-BE49-F238E27FC236}">
                    <a16:creationId xmlns:a16="http://schemas.microsoft.com/office/drawing/2014/main" id="{87CDE295-2545-44E4-A8CE-D5D9F7C705BE}"/>
                  </a:ext>
                </a:extLst>
              </p:cNvPr>
              <p:cNvSpPr>
                <a:spLocks/>
              </p:cNvSpPr>
              <p:nvPr/>
            </p:nvSpPr>
            <p:spPr bwMode="auto">
              <a:xfrm>
                <a:off x="1332" y="1608"/>
                <a:ext cx="11" cy="11"/>
              </a:xfrm>
              <a:custGeom>
                <a:avLst/>
                <a:gdLst>
                  <a:gd name="T0" fmla="*/ 0 w 32"/>
                  <a:gd name="T1" fmla="*/ 2 h 36"/>
                  <a:gd name="T2" fmla="*/ 0 w 32"/>
                  <a:gd name="T3" fmla="*/ 2 h 36"/>
                  <a:gd name="T4" fmla="*/ 0 w 32"/>
                  <a:gd name="T5" fmla="*/ 3 h 36"/>
                  <a:gd name="T6" fmla="*/ 1 w 32"/>
                  <a:gd name="T7" fmla="*/ 3 h 36"/>
                  <a:gd name="T8" fmla="*/ 1 w 32"/>
                  <a:gd name="T9" fmla="*/ 3 h 36"/>
                  <a:gd name="T10" fmla="*/ 1 w 32"/>
                  <a:gd name="T11" fmla="*/ 3 h 36"/>
                  <a:gd name="T12" fmla="*/ 1 w 32"/>
                  <a:gd name="T13" fmla="*/ 3 h 36"/>
                  <a:gd name="T14" fmla="*/ 4 w 32"/>
                  <a:gd name="T15" fmla="*/ 3 h 36"/>
                  <a:gd name="T16" fmla="*/ 4 w 32"/>
                  <a:gd name="T17" fmla="*/ 2 h 36"/>
                  <a:gd name="T18" fmla="*/ 4 w 32"/>
                  <a:gd name="T19" fmla="*/ 1 h 36"/>
                  <a:gd name="T20" fmla="*/ 3 w 32"/>
                  <a:gd name="T21" fmla="*/ 1 h 36"/>
                  <a:gd name="T22" fmla="*/ 3 w 32"/>
                  <a:gd name="T23" fmla="*/ 0 h 36"/>
                  <a:gd name="T24" fmla="*/ 2 w 32"/>
                  <a:gd name="T25" fmla="*/ 0 h 36"/>
                  <a:gd name="T26" fmla="*/ 1 w 32"/>
                  <a:gd name="T27" fmla="*/ 1 h 36"/>
                  <a:gd name="T28" fmla="*/ 1 w 32"/>
                  <a:gd name="T29" fmla="*/ 1 h 36"/>
                  <a:gd name="T30" fmla="*/ 0 w 32"/>
                  <a:gd name="T31" fmla="*/ 1 h 36"/>
                  <a:gd name="T32" fmla="*/ 0 w 32"/>
                  <a:gd name="T33" fmla="*/ 2 h 36"/>
                  <a:gd name="T34" fmla="*/ 0 w 32"/>
                  <a:gd name="T35" fmla="*/ 2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5" name="Freeform 395">
                <a:extLst>
                  <a:ext uri="{FF2B5EF4-FFF2-40B4-BE49-F238E27FC236}">
                    <a16:creationId xmlns:a16="http://schemas.microsoft.com/office/drawing/2014/main" id="{773ABF6D-50B1-4630-B0E7-C63822418447}"/>
                  </a:ext>
                </a:extLst>
              </p:cNvPr>
              <p:cNvSpPr>
                <a:spLocks/>
              </p:cNvSpPr>
              <p:nvPr/>
            </p:nvSpPr>
            <p:spPr bwMode="auto">
              <a:xfrm>
                <a:off x="1279" y="1314"/>
                <a:ext cx="46" cy="17"/>
              </a:xfrm>
              <a:custGeom>
                <a:avLst/>
                <a:gdLst>
                  <a:gd name="T0" fmla="*/ 0 w 146"/>
                  <a:gd name="T1" fmla="*/ 5 h 52"/>
                  <a:gd name="T2" fmla="*/ 1 w 146"/>
                  <a:gd name="T3" fmla="*/ 5 h 52"/>
                  <a:gd name="T4" fmla="*/ 2 w 146"/>
                  <a:gd name="T5" fmla="*/ 5 h 52"/>
                  <a:gd name="T6" fmla="*/ 3 w 146"/>
                  <a:gd name="T7" fmla="*/ 6 h 52"/>
                  <a:gd name="T8" fmla="*/ 4 w 146"/>
                  <a:gd name="T9" fmla="*/ 6 h 52"/>
                  <a:gd name="T10" fmla="*/ 6 w 146"/>
                  <a:gd name="T11" fmla="*/ 6 h 52"/>
                  <a:gd name="T12" fmla="*/ 8 w 146"/>
                  <a:gd name="T13" fmla="*/ 6 h 52"/>
                  <a:gd name="T14" fmla="*/ 12 w 146"/>
                  <a:gd name="T15" fmla="*/ 5 h 52"/>
                  <a:gd name="T16" fmla="*/ 14 w 146"/>
                  <a:gd name="T17" fmla="*/ 5 h 52"/>
                  <a:gd name="T18" fmla="*/ 14 w 146"/>
                  <a:gd name="T19" fmla="*/ 4 h 52"/>
                  <a:gd name="T20" fmla="*/ 14 w 146"/>
                  <a:gd name="T21" fmla="*/ 3 h 52"/>
                  <a:gd name="T22" fmla="*/ 14 w 146"/>
                  <a:gd name="T23" fmla="*/ 3 h 52"/>
                  <a:gd name="T24" fmla="*/ 14 w 146"/>
                  <a:gd name="T25" fmla="*/ 2 h 52"/>
                  <a:gd name="T26" fmla="*/ 13 w 146"/>
                  <a:gd name="T27" fmla="*/ 2 h 52"/>
                  <a:gd name="T28" fmla="*/ 13 w 146"/>
                  <a:gd name="T29" fmla="*/ 1 h 52"/>
                  <a:gd name="T30" fmla="*/ 12 w 146"/>
                  <a:gd name="T31" fmla="*/ 1 h 52"/>
                  <a:gd name="T32" fmla="*/ 12 w 146"/>
                  <a:gd name="T33" fmla="*/ 1 h 52"/>
                  <a:gd name="T34" fmla="*/ 11 w 146"/>
                  <a:gd name="T35" fmla="*/ 0 h 52"/>
                  <a:gd name="T36" fmla="*/ 10 w 146"/>
                  <a:gd name="T37" fmla="*/ 0 h 52"/>
                  <a:gd name="T38" fmla="*/ 9 w 146"/>
                  <a:gd name="T39" fmla="*/ 0 h 52"/>
                  <a:gd name="T40" fmla="*/ 8 w 146"/>
                  <a:gd name="T41" fmla="*/ 0 h 52"/>
                  <a:gd name="T42" fmla="*/ 7 w 146"/>
                  <a:gd name="T43" fmla="*/ 1 h 52"/>
                  <a:gd name="T44" fmla="*/ 5 w 146"/>
                  <a:gd name="T45" fmla="*/ 1 h 52"/>
                  <a:gd name="T46" fmla="*/ 4 w 146"/>
                  <a:gd name="T47" fmla="*/ 2 h 52"/>
                  <a:gd name="T48" fmla="*/ 3 w 146"/>
                  <a:gd name="T49" fmla="*/ 2 h 52"/>
                  <a:gd name="T50" fmla="*/ 2 w 146"/>
                  <a:gd name="T51" fmla="*/ 3 h 52"/>
                  <a:gd name="T52" fmla="*/ 1 w 146"/>
                  <a:gd name="T53" fmla="*/ 3 h 52"/>
                  <a:gd name="T54" fmla="*/ 1 w 146"/>
                  <a:gd name="T55" fmla="*/ 4 h 52"/>
                  <a:gd name="T56" fmla="*/ 0 w 146"/>
                  <a:gd name="T57" fmla="*/ 5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6" name="Freeform 396">
                <a:extLst>
                  <a:ext uri="{FF2B5EF4-FFF2-40B4-BE49-F238E27FC236}">
                    <a16:creationId xmlns:a16="http://schemas.microsoft.com/office/drawing/2014/main" id="{58383AC6-9281-43C7-9DAC-A64BCA44917E}"/>
                  </a:ext>
                </a:extLst>
              </p:cNvPr>
              <p:cNvSpPr>
                <a:spLocks/>
              </p:cNvSpPr>
              <p:nvPr/>
            </p:nvSpPr>
            <p:spPr bwMode="auto">
              <a:xfrm>
                <a:off x="1261" y="1252"/>
                <a:ext cx="20" cy="10"/>
              </a:xfrm>
              <a:custGeom>
                <a:avLst/>
                <a:gdLst>
                  <a:gd name="T0" fmla="*/ 7 w 60"/>
                  <a:gd name="T1" fmla="*/ 0 h 31"/>
                  <a:gd name="T2" fmla="*/ 5 w 60"/>
                  <a:gd name="T3" fmla="*/ 0 h 31"/>
                  <a:gd name="T4" fmla="*/ 4 w 60"/>
                  <a:gd name="T5" fmla="*/ 0 h 31"/>
                  <a:gd name="T6" fmla="*/ 3 w 60"/>
                  <a:gd name="T7" fmla="*/ 0 h 31"/>
                  <a:gd name="T8" fmla="*/ 3 w 60"/>
                  <a:gd name="T9" fmla="*/ 0 h 31"/>
                  <a:gd name="T10" fmla="*/ 2 w 60"/>
                  <a:gd name="T11" fmla="*/ 0 h 31"/>
                  <a:gd name="T12" fmla="*/ 1 w 60"/>
                  <a:gd name="T13" fmla="*/ 0 h 31"/>
                  <a:gd name="T14" fmla="*/ 1 w 60"/>
                  <a:gd name="T15" fmla="*/ 0 h 31"/>
                  <a:gd name="T16" fmla="*/ 0 w 60"/>
                  <a:gd name="T17" fmla="*/ 1 h 31"/>
                  <a:gd name="T18" fmla="*/ 0 w 60"/>
                  <a:gd name="T19" fmla="*/ 1 h 31"/>
                  <a:gd name="T20" fmla="*/ 0 w 60"/>
                  <a:gd name="T21" fmla="*/ 1 h 31"/>
                  <a:gd name="T22" fmla="*/ 0 w 60"/>
                  <a:gd name="T23" fmla="*/ 2 h 31"/>
                  <a:gd name="T24" fmla="*/ 0 w 60"/>
                  <a:gd name="T25" fmla="*/ 2 h 31"/>
                  <a:gd name="T26" fmla="*/ 1 w 60"/>
                  <a:gd name="T27" fmla="*/ 2 h 31"/>
                  <a:gd name="T28" fmla="*/ 1 w 60"/>
                  <a:gd name="T29" fmla="*/ 3 h 31"/>
                  <a:gd name="T30" fmla="*/ 1 w 60"/>
                  <a:gd name="T31" fmla="*/ 3 h 31"/>
                  <a:gd name="T32" fmla="*/ 2 w 60"/>
                  <a:gd name="T33" fmla="*/ 3 h 31"/>
                  <a:gd name="T34" fmla="*/ 2 w 60"/>
                  <a:gd name="T35" fmla="*/ 3 h 31"/>
                  <a:gd name="T36" fmla="*/ 3 w 60"/>
                  <a:gd name="T37" fmla="*/ 3 h 31"/>
                  <a:gd name="T38" fmla="*/ 4 w 60"/>
                  <a:gd name="T39" fmla="*/ 3 h 31"/>
                  <a:gd name="T40" fmla="*/ 4 w 60"/>
                  <a:gd name="T41" fmla="*/ 3 h 31"/>
                  <a:gd name="T42" fmla="*/ 5 w 60"/>
                  <a:gd name="T43" fmla="*/ 3 h 31"/>
                  <a:gd name="T44" fmla="*/ 5 w 60"/>
                  <a:gd name="T45" fmla="*/ 2 h 31"/>
                  <a:gd name="T46" fmla="*/ 6 w 60"/>
                  <a:gd name="T47" fmla="*/ 1 h 31"/>
                  <a:gd name="T48" fmla="*/ 7 w 60"/>
                  <a:gd name="T49" fmla="*/ 1 h 31"/>
                  <a:gd name="T50" fmla="*/ 7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7" name="Freeform 397">
                <a:extLst>
                  <a:ext uri="{FF2B5EF4-FFF2-40B4-BE49-F238E27FC236}">
                    <a16:creationId xmlns:a16="http://schemas.microsoft.com/office/drawing/2014/main" id="{F7E22D65-6B18-4719-9E00-71571D17ECF3}"/>
                  </a:ext>
                </a:extLst>
              </p:cNvPr>
              <p:cNvSpPr>
                <a:spLocks/>
              </p:cNvSpPr>
              <p:nvPr/>
            </p:nvSpPr>
            <p:spPr bwMode="auto">
              <a:xfrm>
                <a:off x="1730" y="1713"/>
                <a:ext cx="26" cy="20"/>
              </a:xfrm>
              <a:custGeom>
                <a:avLst/>
                <a:gdLst>
                  <a:gd name="T0" fmla="*/ 0 w 80"/>
                  <a:gd name="T1" fmla="*/ 5 h 62"/>
                  <a:gd name="T2" fmla="*/ 0 w 80"/>
                  <a:gd name="T3" fmla="*/ 5 h 62"/>
                  <a:gd name="T4" fmla="*/ 0 w 80"/>
                  <a:gd name="T5" fmla="*/ 5 h 62"/>
                  <a:gd name="T6" fmla="*/ 0 w 80"/>
                  <a:gd name="T7" fmla="*/ 5 h 62"/>
                  <a:gd name="T8" fmla="*/ 0 w 80"/>
                  <a:gd name="T9" fmla="*/ 5 h 62"/>
                  <a:gd name="T10" fmla="*/ 1 w 80"/>
                  <a:gd name="T11" fmla="*/ 6 h 62"/>
                  <a:gd name="T12" fmla="*/ 2 w 80"/>
                  <a:gd name="T13" fmla="*/ 6 h 62"/>
                  <a:gd name="T14" fmla="*/ 3 w 80"/>
                  <a:gd name="T15" fmla="*/ 6 h 62"/>
                  <a:gd name="T16" fmla="*/ 4 w 80"/>
                  <a:gd name="T17" fmla="*/ 6 h 62"/>
                  <a:gd name="T18" fmla="*/ 5 w 80"/>
                  <a:gd name="T19" fmla="*/ 6 h 62"/>
                  <a:gd name="T20" fmla="*/ 5 w 80"/>
                  <a:gd name="T21" fmla="*/ 6 h 62"/>
                  <a:gd name="T22" fmla="*/ 6 w 80"/>
                  <a:gd name="T23" fmla="*/ 6 h 62"/>
                  <a:gd name="T24" fmla="*/ 6 w 80"/>
                  <a:gd name="T25" fmla="*/ 5 h 62"/>
                  <a:gd name="T26" fmla="*/ 7 w 80"/>
                  <a:gd name="T27" fmla="*/ 5 h 62"/>
                  <a:gd name="T28" fmla="*/ 7 w 80"/>
                  <a:gd name="T29" fmla="*/ 4 h 62"/>
                  <a:gd name="T30" fmla="*/ 8 w 80"/>
                  <a:gd name="T31" fmla="*/ 3 h 62"/>
                  <a:gd name="T32" fmla="*/ 8 w 80"/>
                  <a:gd name="T33" fmla="*/ 2 h 62"/>
                  <a:gd name="T34" fmla="*/ 8 w 80"/>
                  <a:gd name="T35" fmla="*/ 1 h 62"/>
                  <a:gd name="T36" fmla="*/ 8 w 80"/>
                  <a:gd name="T37" fmla="*/ 0 h 62"/>
                  <a:gd name="T38" fmla="*/ 7 w 80"/>
                  <a:gd name="T39" fmla="*/ 0 h 62"/>
                  <a:gd name="T40" fmla="*/ 6 w 80"/>
                  <a:gd name="T41" fmla="*/ 0 h 62"/>
                  <a:gd name="T42" fmla="*/ 5 w 80"/>
                  <a:gd name="T43" fmla="*/ 1 h 62"/>
                  <a:gd name="T44" fmla="*/ 4 w 80"/>
                  <a:gd name="T45" fmla="*/ 1 h 62"/>
                  <a:gd name="T46" fmla="*/ 2 w 80"/>
                  <a:gd name="T47" fmla="*/ 2 h 62"/>
                  <a:gd name="T48" fmla="*/ 1 w 80"/>
                  <a:gd name="T49" fmla="*/ 3 h 62"/>
                  <a:gd name="T50" fmla="*/ 1 w 80"/>
                  <a:gd name="T51" fmla="*/ 3 h 62"/>
                  <a:gd name="T52" fmla="*/ 0 w 80"/>
                  <a:gd name="T53" fmla="*/ 4 h 62"/>
                  <a:gd name="T54" fmla="*/ 0 w 80"/>
                  <a:gd name="T55" fmla="*/ 4 h 62"/>
                  <a:gd name="T56" fmla="*/ 0 w 80"/>
                  <a:gd name="T57" fmla="*/ 5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8" name="Freeform 398">
                <a:extLst>
                  <a:ext uri="{FF2B5EF4-FFF2-40B4-BE49-F238E27FC236}">
                    <a16:creationId xmlns:a16="http://schemas.microsoft.com/office/drawing/2014/main" id="{7DE21BCD-68C9-4BD3-8E0C-1E7E5193A2DD}"/>
                  </a:ext>
                </a:extLst>
              </p:cNvPr>
              <p:cNvSpPr>
                <a:spLocks/>
              </p:cNvSpPr>
              <p:nvPr/>
            </p:nvSpPr>
            <p:spPr bwMode="auto">
              <a:xfrm>
                <a:off x="1583" y="1674"/>
                <a:ext cx="33" cy="16"/>
              </a:xfrm>
              <a:custGeom>
                <a:avLst/>
                <a:gdLst>
                  <a:gd name="T0" fmla="*/ 8 w 106"/>
                  <a:gd name="T1" fmla="*/ 1 h 49"/>
                  <a:gd name="T2" fmla="*/ 7 w 106"/>
                  <a:gd name="T3" fmla="*/ 1 h 49"/>
                  <a:gd name="T4" fmla="*/ 7 w 106"/>
                  <a:gd name="T5" fmla="*/ 1 h 49"/>
                  <a:gd name="T6" fmla="*/ 6 w 106"/>
                  <a:gd name="T7" fmla="*/ 1 h 49"/>
                  <a:gd name="T8" fmla="*/ 5 w 106"/>
                  <a:gd name="T9" fmla="*/ 1 h 49"/>
                  <a:gd name="T10" fmla="*/ 5 w 106"/>
                  <a:gd name="T11" fmla="*/ 0 h 49"/>
                  <a:gd name="T12" fmla="*/ 4 w 106"/>
                  <a:gd name="T13" fmla="*/ 0 h 49"/>
                  <a:gd name="T14" fmla="*/ 3 w 106"/>
                  <a:gd name="T15" fmla="*/ 0 h 49"/>
                  <a:gd name="T16" fmla="*/ 2 w 106"/>
                  <a:gd name="T17" fmla="*/ 0 h 49"/>
                  <a:gd name="T18" fmla="*/ 2 w 106"/>
                  <a:gd name="T19" fmla="*/ 0 h 49"/>
                  <a:gd name="T20" fmla="*/ 0 w 106"/>
                  <a:gd name="T21" fmla="*/ 0 h 49"/>
                  <a:gd name="T22" fmla="*/ 1 w 106"/>
                  <a:gd name="T23" fmla="*/ 1 h 49"/>
                  <a:gd name="T24" fmla="*/ 2 w 106"/>
                  <a:gd name="T25" fmla="*/ 2 h 49"/>
                  <a:gd name="T26" fmla="*/ 2 w 106"/>
                  <a:gd name="T27" fmla="*/ 3 h 49"/>
                  <a:gd name="T28" fmla="*/ 3 w 106"/>
                  <a:gd name="T29" fmla="*/ 4 h 49"/>
                  <a:gd name="T30" fmla="*/ 4 w 106"/>
                  <a:gd name="T31" fmla="*/ 5 h 49"/>
                  <a:gd name="T32" fmla="*/ 5 w 106"/>
                  <a:gd name="T33" fmla="*/ 5 h 49"/>
                  <a:gd name="T34" fmla="*/ 6 w 106"/>
                  <a:gd name="T35" fmla="*/ 5 h 49"/>
                  <a:gd name="T36" fmla="*/ 7 w 106"/>
                  <a:gd name="T37" fmla="*/ 5 h 49"/>
                  <a:gd name="T38" fmla="*/ 8 w 106"/>
                  <a:gd name="T39" fmla="*/ 5 h 49"/>
                  <a:gd name="T40" fmla="*/ 8 w 106"/>
                  <a:gd name="T41" fmla="*/ 5 h 49"/>
                  <a:gd name="T42" fmla="*/ 9 w 106"/>
                  <a:gd name="T43" fmla="*/ 4 h 49"/>
                  <a:gd name="T44" fmla="*/ 10 w 106"/>
                  <a:gd name="T45" fmla="*/ 3 h 49"/>
                  <a:gd name="T46" fmla="*/ 10 w 106"/>
                  <a:gd name="T47" fmla="*/ 3 h 49"/>
                  <a:gd name="T48" fmla="*/ 10 w 106"/>
                  <a:gd name="T49" fmla="*/ 3 h 49"/>
                  <a:gd name="T50" fmla="*/ 9 w 106"/>
                  <a:gd name="T51" fmla="*/ 3 h 49"/>
                  <a:gd name="T52" fmla="*/ 9 w 106"/>
                  <a:gd name="T53" fmla="*/ 2 h 49"/>
                  <a:gd name="T54" fmla="*/ 8 w 106"/>
                  <a:gd name="T55" fmla="*/ 2 h 49"/>
                  <a:gd name="T56" fmla="*/ 8 w 106"/>
                  <a:gd name="T57" fmla="*/ 2 h 49"/>
                  <a:gd name="T58" fmla="*/ 8 w 106"/>
                  <a:gd name="T59" fmla="*/ 2 h 49"/>
                  <a:gd name="T60" fmla="*/ 8 w 106"/>
                  <a:gd name="T61" fmla="*/ 1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9" name="Freeform 399">
                <a:extLst>
                  <a:ext uri="{FF2B5EF4-FFF2-40B4-BE49-F238E27FC236}">
                    <a16:creationId xmlns:a16="http://schemas.microsoft.com/office/drawing/2014/main" id="{BED02317-C8AA-4376-938B-5886F5847654}"/>
                  </a:ext>
                </a:extLst>
              </p:cNvPr>
              <p:cNvSpPr>
                <a:spLocks/>
              </p:cNvSpPr>
              <p:nvPr/>
            </p:nvSpPr>
            <p:spPr bwMode="auto">
              <a:xfrm>
                <a:off x="1599" y="1713"/>
                <a:ext cx="15" cy="7"/>
              </a:xfrm>
              <a:custGeom>
                <a:avLst/>
                <a:gdLst>
                  <a:gd name="T0" fmla="*/ 0 w 47"/>
                  <a:gd name="T1" fmla="*/ 2 h 22"/>
                  <a:gd name="T2" fmla="*/ 1 w 47"/>
                  <a:gd name="T3" fmla="*/ 2 h 22"/>
                  <a:gd name="T4" fmla="*/ 1 w 47"/>
                  <a:gd name="T5" fmla="*/ 2 h 22"/>
                  <a:gd name="T6" fmla="*/ 2 w 47"/>
                  <a:gd name="T7" fmla="*/ 2 h 22"/>
                  <a:gd name="T8" fmla="*/ 3 w 47"/>
                  <a:gd name="T9" fmla="*/ 2 h 22"/>
                  <a:gd name="T10" fmla="*/ 4 w 47"/>
                  <a:gd name="T11" fmla="*/ 2 h 22"/>
                  <a:gd name="T12" fmla="*/ 4 w 47"/>
                  <a:gd name="T13" fmla="*/ 2 h 22"/>
                  <a:gd name="T14" fmla="*/ 4 w 47"/>
                  <a:gd name="T15" fmla="*/ 1 h 22"/>
                  <a:gd name="T16" fmla="*/ 4 w 47"/>
                  <a:gd name="T17" fmla="*/ 1 h 22"/>
                  <a:gd name="T18" fmla="*/ 4 w 47"/>
                  <a:gd name="T19" fmla="*/ 1 h 22"/>
                  <a:gd name="T20" fmla="*/ 5 w 47"/>
                  <a:gd name="T21" fmla="*/ 0 h 22"/>
                  <a:gd name="T22" fmla="*/ 0 w 47"/>
                  <a:gd name="T23" fmla="*/ 2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0" name="Freeform 400">
                <a:extLst>
                  <a:ext uri="{FF2B5EF4-FFF2-40B4-BE49-F238E27FC236}">
                    <a16:creationId xmlns:a16="http://schemas.microsoft.com/office/drawing/2014/main" id="{E811BB58-25E0-4B67-B2FC-B36FA6FEC59C}"/>
                  </a:ext>
                </a:extLst>
              </p:cNvPr>
              <p:cNvSpPr>
                <a:spLocks/>
              </p:cNvSpPr>
              <p:nvPr/>
            </p:nvSpPr>
            <p:spPr bwMode="auto">
              <a:xfrm>
                <a:off x="1608" y="1742"/>
                <a:ext cx="17" cy="11"/>
              </a:xfrm>
              <a:custGeom>
                <a:avLst/>
                <a:gdLst>
                  <a:gd name="T0" fmla="*/ 5 w 53"/>
                  <a:gd name="T1" fmla="*/ 0 h 32"/>
                  <a:gd name="T2" fmla="*/ 4 w 53"/>
                  <a:gd name="T3" fmla="*/ 1 h 32"/>
                  <a:gd name="T4" fmla="*/ 2 w 53"/>
                  <a:gd name="T5" fmla="*/ 2 h 32"/>
                  <a:gd name="T6" fmla="*/ 1 w 53"/>
                  <a:gd name="T7" fmla="*/ 3 h 32"/>
                  <a:gd name="T8" fmla="*/ 0 w 53"/>
                  <a:gd name="T9" fmla="*/ 4 h 32"/>
                  <a:gd name="T10" fmla="*/ 1 w 53"/>
                  <a:gd name="T11" fmla="*/ 4 h 32"/>
                  <a:gd name="T12" fmla="*/ 3 w 53"/>
                  <a:gd name="T13" fmla="*/ 4 h 32"/>
                  <a:gd name="T14" fmla="*/ 4 w 53"/>
                  <a:gd name="T15" fmla="*/ 4 h 32"/>
                  <a:gd name="T16" fmla="*/ 5 w 53"/>
                  <a:gd name="T17" fmla="*/ 4 h 32"/>
                  <a:gd name="T18" fmla="*/ 5 w 53"/>
                  <a:gd name="T19" fmla="*/ 3 h 32"/>
                  <a:gd name="T20" fmla="*/ 5 w 53"/>
                  <a:gd name="T21" fmla="*/ 2 h 32"/>
                  <a:gd name="T22" fmla="*/ 5 w 53"/>
                  <a:gd name="T23" fmla="*/ 1 h 32"/>
                  <a:gd name="T24" fmla="*/ 5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1" name="Freeform 401">
                <a:extLst>
                  <a:ext uri="{FF2B5EF4-FFF2-40B4-BE49-F238E27FC236}">
                    <a16:creationId xmlns:a16="http://schemas.microsoft.com/office/drawing/2014/main" id="{B6F8C701-1AC7-4E3B-8C56-2176F9D55DFA}"/>
                  </a:ext>
                </a:extLst>
              </p:cNvPr>
              <p:cNvSpPr>
                <a:spLocks/>
              </p:cNvSpPr>
              <p:nvPr/>
            </p:nvSpPr>
            <p:spPr bwMode="auto">
              <a:xfrm>
                <a:off x="1450" y="1438"/>
                <a:ext cx="14" cy="12"/>
              </a:xfrm>
              <a:custGeom>
                <a:avLst/>
                <a:gdLst>
                  <a:gd name="T0" fmla="*/ 2 w 46"/>
                  <a:gd name="T1" fmla="*/ 0 h 34"/>
                  <a:gd name="T2" fmla="*/ 0 w 46"/>
                  <a:gd name="T3" fmla="*/ 2 h 34"/>
                  <a:gd name="T4" fmla="*/ 0 w 46"/>
                  <a:gd name="T5" fmla="*/ 4 h 34"/>
                  <a:gd name="T6" fmla="*/ 2 w 46"/>
                  <a:gd name="T7" fmla="*/ 4 h 34"/>
                  <a:gd name="T8" fmla="*/ 3 w 46"/>
                  <a:gd name="T9" fmla="*/ 4 h 34"/>
                  <a:gd name="T10" fmla="*/ 3 w 46"/>
                  <a:gd name="T11" fmla="*/ 4 h 34"/>
                  <a:gd name="T12" fmla="*/ 4 w 46"/>
                  <a:gd name="T13" fmla="*/ 3 h 34"/>
                  <a:gd name="T14" fmla="*/ 4 w 46"/>
                  <a:gd name="T15" fmla="*/ 2 h 34"/>
                  <a:gd name="T16" fmla="*/ 4 w 46"/>
                  <a:gd name="T17" fmla="*/ 2 h 34"/>
                  <a:gd name="T18" fmla="*/ 4 w 46"/>
                  <a:gd name="T19" fmla="*/ 2 h 34"/>
                  <a:gd name="T20" fmla="*/ 4 w 46"/>
                  <a:gd name="T21" fmla="*/ 1 h 34"/>
                  <a:gd name="T22" fmla="*/ 4 w 46"/>
                  <a:gd name="T23" fmla="*/ 0 h 34"/>
                  <a:gd name="T24" fmla="*/ 4 w 46"/>
                  <a:gd name="T25" fmla="*/ 0 h 34"/>
                  <a:gd name="T26" fmla="*/ 4 w 46"/>
                  <a:gd name="T27" fmla="*/ 0 h 34"/>
                  <a:gd name="T28" fmla="*/ 4 w 46"/>
                  <a:gd name="T29" fmla="*/ 0 h 34"/>
                  <a:gd name="T30" fmla="*/ 4 w 46"/>
                  <a:gd name="T31" fmla="*/ 0 h 34"/>
                  <a:gd name="T32" fmla="*/ 3 w 46"/>
                  <a:gd name="T33" fmla="*/ 0 h 34"/>
                  <a:gd name="T34" fmla="*/ 2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2" name="Freeform 402">
                <a:extLst>
                  <a:ext uri="{FF2B5EF4-FFF2-40B4-BE49-F238E27FC236}">
                    <a16:creationId xmlns:a16="http://schemas.microsoft.com/office/drawing/2014/main" id="{BA0BAF1B-28DD-4507-9491-55D073184E15}"/>
                  </a:ext>
                </a:extLst>
              </p:cNvPr>
              <p:cNvSpPr>
                <a:spLocks/>
              </p:cNvSpPr>
              <p:nvPr/>
            </p:nvSpPr>
            <p:spPr bwMode="auto">
              <a:xfrm>
                <a:off x="1305" y="1224"/>
                <a:ext cx="16" cy="8"/>
              </a:xfrm>
              <a:custGeom>
                <a:avLst/>
                <a:gdLst>
                  <a:gd name="T0" fmla="*/ 0 w 48"/>
                  <a:gd name="T1" fmla="*/ 3 h 25"/>
                  <a:gd name="T2" fmla="*/ 2 w 48"/>
                  <a:gd name="T3" fmla="*/ 3 h 25"/>
                  <a:gd name="T4" fmla="*/ 3 w 48"/>
                  <a:gd name="T5" fmla="*/ 3 h 25"/>
                  <a:gd name="T6" fmla="*/ 3 w 48"/>
                  <a:gd name="T7" fmla="*/ 3 h 25"/>
                  <a:gd name="T8" fmla="*/ 4 w 48"/>
                  <a:gd name="T9" fmla="*/ 2 h 25"/>
                  <a:gd name="T10" fmla="*/ 4 w 48"/>
                  <a:gd name="T11" fmla="*/ 2 h 25"/>
                  <a:gd name="T12" fmla="*/ 4 w 48"/>
                  <a:gd name="T13" fmla="*/ 2 h 25"/>
                  <a:gd name="T14" fmla="*/ 5 w 48"/>
                  <a:gd name="T15" fmla="*/ 1 h 25"/>
                  <a:gd name="T16" fmla="*/ 5 w 48"/>
                  <a:gd name="T17" fmla="*/ 0 h 25"/>
                  <a:gd name="T18" fmla="*/ 4 w 48"/>
                  <a:gd name="T19" fmla="*/ 0 h 25"/>
                  <a:gd name="T20" fmla="*/ 4 w 48"/>
                  <a:gd name="T21" fmla="*/ 0 h 25"/>
                  <a:gd name="T22" fmla="*/ 3 w 48"/>
                  <a:gd name="T23" fmla="*/ 1 h 25"/>
                  <a:gd name="T24" fmla="*/ 2 w 48"/>
                  <a:gd name="T25" fmla="*/ 1 h 25"/>
                  <a:gd name="T26" fmla="*/ 1 w 48"/>
                  <a:gd name="T27" fmla="*/ 2 h 25"/>
                  <a:gd name="T28" fmla="*/ 0 w 48"/>
                  <a:gd name="T29" fmla="*/ 3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3" name="Freeform 403">
                <a:extLst>
                  <a:ext uri="{FF2B5EF4-FFF2-40B4-BE49-F238E27FC236}">
                    <a16:creationId xmlns:a16="http://schemas.microsoft.com/office/drawing/2014/main" id="{561950E2-3C9B-4E65-80F9-14CAD3098693}"/>
                  </a:ext>
                </a:extLst>
              </p:cNvPr>
              <p:cNvSpPr>
                <a:spLocks/>
              </p:cNvSpPr>
              <p:nvPr/>
            </p:nvSpPr>
            <p:spPr bwMode="auto">
              <a:xfrm>
                <a:off x="1343" y="1188"/>
                <a:ext cx="8" cy="11"/>
              </a:xfrm>
              <a:custGeom>
                <a:avLst/>
                <a:gdLst>
                  <a:gd name="T0" fmla="*/ 0 w 30"/>
                  <a:gd name="T1" fmla="*/ 0 h 37"/>
                  <a:gd name="T2" fmla="*/ 0 w 30"/>
                  <a:gd name="T3" fmla="*/ 3 h 37"/>
                  <a:gd name="T4" fmla="*/ 1 w 30"/>
                  <a:gd name="T5" fmla="*/ 3 h 37"/>
                  <a:gd name="T6" fmla="*/ 1 w 30"/>
                  <a:gd name="T7" fmla="*/ 3 h 37"/>
                  <a:gd name="T8" fmla="*/ 2 w 30"/>
                  <a:gd name="T9" fmla="*/ 3 h 37"/>
                  <a:gd name="T10" fmla="*/ 2 w 30"/>
                  <a:gd name="T11" fmla="*/ 3 h 37"/>
                  <a:gd name="T12" fmla="*/ 2 w 30"/>
                  <a:gd name="T13" fmla="*/ 3 h 37"/>
                  <a:gd name="T14" fmla="*/ 2 w 30"/>
                  <a:gd name="T15" fmla="*/ 2 h 37"/>
                  <a:gd name="T16" fmla="*/ 2 w 30"/>
                  <a:gd name="T17" fmla="*/ 2 h 37"/>
                  <a:gd name="T18" fmla="*/ 2 w 30"/>
                  <a:gd name="T19" fmla="*/ 1 h 37"/>
                  <a:gd name="T20" fmla="*/ 2 w 30"/>
                  <a:gd name="T21" fmla="*/ 1 h 37"/>
                  <a:gd name="T22" fmla="*/ 2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4" name="Freeform 404">
                <a:extLst>
                  <a:ext uri="{FF2B5EF4-FFF2-40B4-BE49-F238E27FC236}">
                    <a16:creationId xmlns:a16="http://schemas.microsoft.com/office/drawing/2014/main" id="{A657B23E-E05F-42BC-A82C-4211B600CBC5}"/>
                  </a:ext>
                </a:extLst>
              </p:cNvPr>
              <p:cNvSpPr>
                <a:spLocks/>
              </p:cNvSpPr>
              <p:nvPr/>
            </p:nvSpPr>
            <p:spPr bwMode="auto">
              <a:xfrm>
                <a:off x="1334" y="1208"/>
                <a:ext cx="36" cy="16"/>
              </a:xfrm>
              <a:custGeom>
                <a:avLst/>
                <a:gdLst>
                  <a:gd name="T0" fmla="*/ 4 w 113"/>
                  <a:gd name="T1" fmla="*/ 0 h 46"/>
                  <a:gd name="T2" fmla="*/ 2 w 113"/>
                  <a:gd name="T3" fmla="*/ 0 h 46"/>
                  <a:gd name="T4" fmla="*/ 1 w 113"/>
                  <a:gd name="T5" fmla="*/ 1 h 46"/>
                  <a:gd name="T6" fmla="*/ 1 w 113"/>
                  <a:gd name="T7" fmla="*/ 1 h 46"/>
                  <a:gd name="T8" fmla="*/ 0 w 113"/>
                  <a:gd name="T9" fmla="*/ 1 h 46"/>
                  <a:gd name="T10" fmla="*/ 0 w 113"/>
                  <a:gd name="T11" fmla="*/ 2 h 46"/>
                  <a:gd name="T12" fmla="*/ 0 w 113"/>
                  <a:gd name="T13" fmla="*/ 2 h 46"/>
                  <a:gd name="T14" fmla="*/ 1 w 113"/>
                  <a:gd name="T15" fmla="*/ 3 h 46"/>
                  <a:gd name="T16" fmla="*/ 1 w 113"/>
                  <a:gd name="T17" fmla="*/ 4 h 46"/>
                  <a:gd name="T18" fmla="*/ 2 w 113"/>
                  <a:gd name="T19" fmla="*/ 5 h 46"/>
                  <a:gd name="T20" fmla="*/ 2 w 113"/>
                  <a:gd name="T21" fmla="*/ 5 h 46"/>
                  <a:gd name="T22" fmla="*/ 3 w 113"/>
                  <a:gd name="T23" fmla="*/ 5 h 46"/>
                  <a:gd name="T24" fmla="*/ 3 w 113"/>
                  <a:gd name="T25" fmla="*/ 6 h 46"/>
                  <a:gd name="T26" fmla="*/ 4 w 113"/>
                  <a:gd name="T27" fmla="*/ 6 h 46"/>
                  <a:gd name="T28" fmla="*/ 4 w 113"/>
                  <a:gd name="T29" fmla="*/ 6 h 46"/>
                  <a:gd name="T30" fmla="*/ 6 w 113"/>
                  <a:gd name="T31" fmla="*/ 6 h 46"/>
                  <a:gd name="T32" fmla="*/ 7 w 113"/>
                  <a:gd name="T33" fmla="*/ 5 h 46"/>
                  <a:gd name="T34" fmla="*/ 8 w 113"/>
                  <a:gd name="T35" fmla="*/ 5 h 46"/>
                  <a:gd name="T36" fmla="*/ 8 w 113"/>
                  <a:gd name="T37" fmla="*/ 5 h 46"/>
                  <a:gd name="T38" fmla="*/ 9 w 113"/>
                  <a:gd name="T39" fmla="*/ 5 h 46"/>
                  <a:gd name="T40" fmla="*/ 9 w 113"/>
                  <a:gd name="T41" fmla="*/ 4 h 46"/>
                  <a:gd name="T42" fmla="*/ 10 w 113"/>
                  <a:gd name="T43" fmla="*/ 3 h 46"/>
                  <a:gd name="T44" fmla="*/ 11 w 113"/>
                  <a:gd name="T45" fmla="*/ 2 h 46"/>
                  <a:gd name="T46" fmla="*/ 11 w 113"/>
                  <a:gd name="T47" fmla="*/ 1 h 46"/>
                  <a:gd name="T48" fmla="*/ 11 w 113"/>
                  <a:gd name="T49" fmla="*/ 0 h 46"/>
                  <a:gd name="T50" fmla="*/ 10 w 113"/>
                  <a:gd name="T51" fmla="*/ 0 h 46"/>
                  <a:gd name="T52" fmla="*/ 9 w 113"/>
                  <a:gd name="T53" fmla="*/ 0 h 46"/>
                  <a:gd name="T54" fmla="*/ 8 w 113"/>
                  <a:gd name="T55" fmla="*/ 0 h 46"/>
                  <a:gd name="T56" fmla="*/ 7 w 113"/>
                  <a:gd name="T57" fmla="*/ 0 h 46"/>
                  <a:gd name="T58" fmla="*/ 5 w 113"/>
                  <a:gd name="T59" fmla="*/ 0 h 46"/>
                  <a:gd name="T60" fmla="*/ 4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5" name="Freeform 405">
                <a:extLst>
                  <a:ext uri="{FF2B5EF4-FFF2-40B4-BE49-F238E27FC236}">
                    <a16:creationId xmlns:a16="http://schemas.microsoft.com/office/drawing/2014/main" id="{6BE97DF4-AA2A-4148-A7DF-F0E2021F1264}"/>
                  </a:ext>
                </a:extLst>
              </p:cNvPr>
              <p:cNvSpPr>
                <a:spLocks/>
              </p:cNvSpPr>
              <p:nvPr/>
            </p:nvSpPr>
            <p:spPr bwMode="auto">
              <a:xfrm>
                <a:off x="1365" y="1201"/>
                <a:ext cx="49" cy="28"/>
              </a:xfrm>
              <a:custGeom>
                <a:avLst/>
                <a:gdLst>
                  <a:gd name="T0" fmla="*/ 0 w 153"/>
                  <a:gd name="T1" fmla="*/ 9 h 82"/>
                  <a:gd name="T2" fmla="*/ 0 w 153"/>
                  <a:gd name="T3" fmla="*/ 10 h 82"/>
                  <a:gd name="T4" fmla="*/ 1 w 153"/>
                  <a:gd name="T5" fmla="*/ 10 h 82"/>
                  <a:gd name="T6" fmla="*/ 1 w 153"/>
                  <a:gd name="T7" fmla="*/ 10 h 82"/>
                  <a:gd name="T8" fmla="*/ 1 w 153"/>
                  <a:gd name="T9" fmla="*/ 10 h 82"/>
                  <a:gd name="T10" fmla="*/ 2 w 153"/>
                  <a:gd name="T11" fmla="*/ 9 h 82"/>
                  <a:gd name="T12" fmla="*/ 4 w 153"/>
                  <a:gd name="T13" fmla="*/ 9 h 82"/>
                  <a:gd name="T14" fmla="*/ 4 w 153"/>
                  <a:gd name="T15" fmla="*/ 9 h 82"/>
                  <a:gd name="T16" fmla="*/ 5 w 153"/>
                  <a:gd name="T17" fmla="*/ 9 h 82"/>
                  <a:gd name="T18" fmla="*/ 6 w 153"/>
                  <a:gd name="T19" fmla="*/ 9 h 82"/>
                  <a:gd name="T20" fmla="*/ 7 w 153"/>
                  <a:gd name="T21" fmla="*/ 9 h 82"/>
                  <a:gd name="T22" fmla="*/ 9 w 153"/>
                  <a:gd name="T23" fmla="*/ 8 h 82"/>
                  <a:gd name="T24" fmla="*/ 11 w 153"/>
                  <a:gd name="T25" fmla="*/ 7 h 82"/>
                  <a:gd name="T26" fmla="*/ 12 w 153"/>
                  <a:gd name="T27" fmla="*/ 6 h 82"/>
                  <a:gd name="T28" fmla="*/ 12 w 153"/>
                  <a:gd name="T29" fmla="*/ 6 h 82"/>
                  <a:gd name="T30" fmla="*/ 13 w 153"/>
                  <a:gd name="T31" fmla="*/ 5 h 82"/>
                  <a:gd name="T32" fmla="*/ 14 w 153"/>
                  <a:gd name="T33" fmla="*/ 4 h 82"/>
                  <a:gd name="T34" fmla="*/ 14 w 153"/>
                  <a:gd name="T35" fmla="*/ 4 h 82"/>
                  <a:gd name="T36" fmla="*/ 15 w 153"/>
                  <a:gd name="T37" fmla="*/ 3 h 82"/>
                  <a:gd name="T38" fmla="*/ 15 w 153"/>
                  <a:gd name="T39" fmla="*/ 2 h 82"/>
                  <a:gd name="T40" fmla="*/ 16 w 153"/>
                  <a:gd name="T41" fmla="*/ 1 h 82"/>
                  <a:gd name="T42" fmla="*/ 14 w 153"/>
                  <a:gd name="T43" fmla="*/ 1 h 82"/>
                  <a:gd name="T44" fmla="*/ 12 w 153"/>
                  <a:gd name="T45" fmla="*/ 0 h 82"/>
                  <a:gd name="T46" fmla="*/ 10 w 153"/>
                  <a:gd name="T47" fmla="*/ 0 h 82"/>
                  <a:gd name="T48" fmla="*/ 8 w 153"/>
                  <a:gd name="T49" fmla="*/ 0 h 82"/>
                  <a:gd name="T50" fmla="*/ 7 w 153"/>
                  <a:gd name="T51" fmla="*/ 0 h 82"/>
                  <a:gd name="T52" fmla="*/ 6 w 153"/>
                  <a:gd name="T53" fmla="*/ 0 h 82"/>
                  <a:gd name="T54" fmla="*/ 5 w 153"/>
                  <a:gd name="T55" fmla="*/ 0 h 82"/>
                  <a:gd name="T56" fmla="*/ 4 w 153"/>
                  <a:gd name="T57" fmla="*/ 0 h 82"/>
                  <a:gd name="T58" fmla="*/ 4 w 153"/>
                  <a:gd name="T59" fmla="*/ 1 h 82"/>
                  <a:gd name="T60" fmla="*/ 4 w 153"/>
                  <a:gd name="T61" fmla="*/ 1 h 82"/>
                  <a:gd name="T62" fmla="*/ 3 w 153"/>
                  <a:gd name="T63" fmla="*/ 2 h 82"/>
                  <a:gd name="T64" fmla="*/ 3 w 153"/>
                  <a:gd name="T65" fmla="*/ 2 h 82"/>
                  <a:gd name="T66" fmla="*/ 3 w 153"/>
                  <a:gd name="T67" fmla="*/ 3 h 82"/>
                  <a:gd name="T68" fmla="*/ 4 w 153"/>
                  <a:gd name="T69" fmla="*/ 3 h 82"/>
                  <a:gd name="T70" fmla="*/ 4 w 153"/>
                  <a:gd name="T71" fmla="*/ 4 h 82"/>
                  <a:gd name="T72" fmla="*/ 4 w 153"/>
                  <a:gd name="T73" fmla="*/ 4 h 82"/>
                  <a:gd name="T74" fmla="*/ 4 w 153"/>
                  <a:gd name="T75" fmla="*/ 4 h 82"/>
                  <a:gd name="T76" fmla="*/ 5 w 153"/>
                  <a:gd name="T77" fmla="*/ 4 h 82"/>
                  <a:gd name="T78" fmla="*/ 4 w 153"/>
                  <a:gd name="T79" fmla="*/ 5 h 82"/>
                  <a:gd name="T80" fmla="*/ 4 w 153"/>
                  <a:gd name="T81" fmla="*/ 5 h 82"/>
                  <a:gd name="T82" fmla="*/ 3 w 153"/>
                  <a:gd name="T83" fmla="*/ 6 h 82"/>
                  <a:gd name="T84" fmla="*/ 2 w 153"/>
                  <a:gd name="T85" fmla="*/ 6 h 82"/>
                  <a:gd name="T86" fmla="*/ 2 w 153"/>
                  <a:gd name="T87" fmla="*/ 8 h 82"/>
                  <a:gd name="T88" fmla="*/ 1 w 153"/>
                  <a:gd name="T89" fmla="*/ 8 h 82"/>
                  <a:gd name="T90" fmla="*/ 1 w 153"/>
                  <a:gd name="T91" fmla="*/ 9 h 82"/>
                  <a:gd name="T92" fmla="*/ 0 w 153"/>
                  <a:gd name="T93" fmla="*/ 9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6" name="Freeform 406">
                <a:extLst>
                  <a:ext uri="{FF2B5EF4-FFF2-40B4-BE49-F238E27FC236}">
                    <a16:creationId xmlns:a16="http://schemas.microsoft.com/office/drawing/2014/main" id="{473AC792-6926-4A19-A5EC-079128864546}"/>
                  </a:ext>
                </a:extLst>
              </p:cNvPr>
              <p:cNvSpPr>
                <a:spLocks/>
              </p:cNvSpPr>
              <p:nvPr/>
            </p:nvSpPr>
            <p:spPr bwMode="auto">
              <a:xfrm>
                <a:off x="1414" y="1217"/>
                <a:ext cx="29" cy="17"/>
              </a:xfrm>
              <a:custGeom>
                <a:avLst/>
                <a:gdLst>
                  <a:gd name="T0" fmla="*/ 0 w 86"/>
                  <a:gd name="T1" fmla="*/ 4 h 50"/>
                  <a:gd name="T2" fmla="*/ 1 w 86"/>
                  <a:gd name="T3" fmla="*/ 5 h 50"/>
                  <a:gd name="T4" fmla="*/ 1 w 86"/>
                  <a:gd name="T5" fmla="*/ 5 h 50"/>
                  <a:gd name="T6" fmla="*/ 2 w 86"/>
                  <a:gd name="T7" fmla="*/ 5 h 50"/>
                  <a:gd name="T8" fmla="*/ 3 w 86"/>
                  <a:gd name="T9" fmla="*/ 5 h 50"/>
                  <a:gd name="T10" fmla="*/ 4 w 86"/>
                  <a:gd name="T11" fmla="*/ 6 h 50"/>
                  <a:gd name="T12" fmla="*/ 5 w 86"/>
                  <a:gd name="T13" fmla="*/ 6 h 50"/>
                  <a:gd name="T14" fmla="*/ 7 w 86"/>
                  <a:gd name="T15" fmla="*/ 6 h 50"/>
                  <a:gd name="T16" fmla="*/ 8 w 86"/>
                  <a:gd name="T17" fmla="*/ 5 h 50"/>
                  <a:gd name="T18" fmla="*/ 8 w 86"/>
                  <a:gd name="T19" fmla="*/ 5 h 50"/>
                  <a:gd name="T20" fmla="*/ 9 w 86"/>
                  <a:gd name="T21" fmla="*/ 5 h 50"/>
                  <a:gd name="T22" fmla="*/ 9 w 86"/>
                  <a:gd name="T23" fmla="*/ 5 h 50"/>
                  <a:gd name="T24" fmla="*/ 9 w 86"/>
                  <a:gd name="T25" fmla="*/ 4 h 50"/>
                  <a:gd name="T26" fmla="*/ 10 w 86"/>
                  <a:gd name="T27" fmla="*/ 4 h 50"/>
                  <a:gd name="T28" fmla="*/ 10 w 86"/>
                  <a:gd name="T29" fmla="*/ 3 h 50"/>
                  <a:gd name="T30" fmla="*/ 10 w 86"/>
                  <a:gd name="T31" fmla="*/ 2 h 50"/>
                  <a:gd name="T32" fmla="*/ 9 w 86"/>
                  <a:gd name="T33" fmla="*/ 1 h 50"/>
                  <a:gd name="T34" fmla="*/ 9 w 86"/>
                  <a:gd name="T35" fmla="*/ 1 h 50"/>
                  <a:gd name="T36" fmla="*/ 9 w 86"/>
                  <a:gd name="T37" fmla="*/ 1 h 50"/>
                  <a:gd name="T38" fmla="*/ 9 w 86"/>
                  <a:gd name="T39" fmla="*/ 0 h 50"/>
                  <a:gd name="T40" fmla="*/ 8 w 86"/>
                  <a:gd name="T41" fmla="*/ 0 h 50"/>
                  <a:gd name="T42" fmla="*/ 0 w 86"/>
                  <a:gd name="T43" fmla="*/ 4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7" name="Freeform 407">
                <a:extLst>
                  <a:ext uri="{FF2B5EF4-FFF2-40B4-BE49-F238E27FC236}">
                    <a16:creationId xmlns:a16="http://schemas.microsoft.com/office/drawing/2014/main" id="{E536A74E-CEB4-4A13-BB8D-5DE7F8F0B785}"/>
                  </a:ext>
                </a:extLst>
              </p:cNvPr>
              <p:cNvSpPr>
                <a:spLocks/>
              </p:cNvSpPr>
              <p:nvPr/>
            </p:nvSpPr>
            <p:spPr bwMode="auto">
              <a:xfrm>
                <a:off x="1379" y="1163"/>
                <a:ext cx="55" cy="25"/>
              </a:xfrm>
              <a:custGeom>
                <a:avLst/>
                <a:gdLst>
                  <a:gd name="T0" fmla="*/ 12 w 172"/>
                  <a:gd name="T1" fmla="*/ 7 h 74"/>
                  <a:gd name="T2" fmla="*/ 11 w 172"/>
                  <a:gd name="T3" fmla="*/ 7 h 74"/>
                  <a:gd name="T4" fmla="*/ 10 w 172"/>
                  <a:gd name="T5" fmla="*/ 7 h 74"/>
                  <a:gd name="T6" fmla="*/ 9 w 172"/>
                  <a:gd name="T7" fmla="*/ 7 h 74"/>
                  <a:gd name="T8" fmla="*/ 8 w 172"/>
                  <a:gd name="T9" fmla="*/ 7 h 74"/>
                  <a:gd name="T10" fmla="*/ 6 w 172"/>
                  <a:gd name="T11" fmla="*/ 8 h 74"/>
                  <a:gd name="T12" fmla="*/ 4 w 172"/>
                  <a:gd name="T13" fmla="*/ 8 h 74"/>
                  <a:gd name="T14" fmla="*/ 4 w 172"/>
                  <a:gd name="T15" fmla="*/ 7 h 74"/>
                  <a:gd name="T16" fmla="*/ 4 w 172"/>
                  <a:gd name="T17" fmla="*/ 6 h 74"/>
                  <a:gd name="T18" fmla="*/ 3 w 172"/>
                  <a:gd name="T19" fmla="*/ 6 h 74"/>
                  <a:gd name="T20" fmla="*/ 2 w 172"/>
                  <a:gd name="T21" fmla="*/ 5 h 74"/>
                  <a:gd name="T22" fmla="*/ 2 w 172"/>
                  <a:gd name="T23" fmla="*/ 5 h 74"/>
                  <a:gd name="T24" fmla="*/ 1 w 172"/>
                  <a:gd name="T25" fmla="*/ 5 h 74"/>
                  <a:gd name="T26" fmla="*/ 1 w 172"/>
                  <a:gd name="T27" fmla="*/ 5 h 74"/>
                  <a:gd name="T28" fmla="*/ 0 w 172"/>
                  <a:gd name="T29" fmla="*/ 4 h 74"/>
                  <a:gd name="T30" fmla="*/ 0 w 172"/>
                  <a:gd name="T31" fmla="*/ 4 h 74"/>
                  <a:gd name="T32" fmla="*/ 0 w 172"/>
                  <a:gd name="T33" fmla="*/ 3 h 74"/>
                  <a:gd name="T34" fmla="*/ 0 w 172"/>
                  <a:gd name="T35" fmla="*/ 3 h 74"/>
                  <a:gd name="T36" fmla="*/ 0 w 172"/>
                  <a:gd name="T37" fmla="*/ 2 h 74"/>
                  <a:gd name="T38" fmla="*/ 1 w 172"/>
                  <a:gd name="T39" fmla="*/ 2 h 74"/>
                  <a:gd name="T40" fmla="*/ 1 w 172"/>
                  <a:gd name="T41" fmla="*/ 2 h 74"/>
                  <a:gd name="T42" fmla="*/ 1 w 172"/>
                  <a:gd name="T43" fmla="*/ 1 h 74"/>
                  <a:gd name="T44" fmla="*/ 2 w 172"/>
                  <a:gd name="T45" fmla="*/ 1 h 74"/>
                  <a:gd name="T46" fmla="*/ 3 w 172"/>
                  <a:gd name="T47" fmla="*/ 1 h 74"/>
                  <a:gd name="T48" fmla="*/ 3 w 172"/>
                  <a:gd name="T49" fmla="*/ 0 h 74"/>
                  <a:gd name="T50" fmla="*/ 4 w 172"/>
                  <a:gd name="T51" fmla="*/ 0 h 74"/>
                  <a:gd name="T52" fmla="*/ 6 w 172"/>
                  <a:gd name="T53" fmla="*/ 0 h 74"/>
                  <a:gd name="T54" fmla="*/ 7 w 172"/>
                  <a:gd name="T55" fmla="*/ 0 h 74"/>
                  <a:gd name="T56" fmla="*/ 8 w 172"/>
                  <a:gd name="T57" fmla="*/ 0 h 74"/>
                  <a:gd name="T58" fmla="*/ 10 w 172"/>
                  <a:gd name="T59" fmla="*/ 0 h 74"/>
                  <a:gd name="T60" fmla="*/ 11 w 172"/>
                  <a:gd name="T61" fmla="*/ 0 h 74"/>
                  <a:gd name="T62" fmla="*/ 12 w 172"/>
                  <a:gd name="T63" fmla="*/ 1 h 74"/>
                  <a:gd name="T64" fmla="*/ 13 w 172"/>
                  <a:gd name="T65" fmla="*/ 1 h 74"/>
                  <a:gd name="T66" fmla="*/ 14 w 172"/>
                  <a:gd name="T67" fmla="*/ 2 h 74"/>
                  <a:gd name="T68" fmla="*/ 15 w 172"/>
                  <a:gd name="T69" fmla="*/ 2 h 74"/>
                  <a:gd name="T70" fmla="*/ 16 w 172"/>
                  <a:gd name="T71" fmla="*/ 3 h 74"/>
                  <a:gd name="T72" fmla="*/ 18 w 172"/>
                  <a:gd name="T73" fmla="*/ 3 h 74"/>
                  <a:gd name="T74" fmla="*/ 18 w 172"/>
                  <a:gd name="T75" fmla="*/ 5 h 74"/>
                  <a:gd name="T76" fmla="*/ 17 w 172"/>
                  <a:gd name="T77" fmla="*/ 5 h 74"/>
                  <a:gd name="T78" fmla="*/ 17 w 172"/>
                  <a:gd name="T79" fmla="*/ 6 h 74"/>
                  <a:gd name="T80" fmla="*/ 16 w 172"/>
                  <a:gd name="T81" fmla="*/ 6 h 74"/>
                  <a:gd name="T82" fmla="*/ 16 w 172"/>
                  <a:gd name="T83" fmla="*/ 7 h 74"/>
                  <a:gd name="T84" fmla="*/ 16 w 172"/>
                  <a:gd name="T85" fmla="*/ 7 h 74"/>
                  <a:gd name="T86" fmla="*/ 15 w 172"/>
                  <a:gd name="T87" fmla="*/ 7 h 74"/>
                  <a:gd name="T88" fmla="*/ 15 w 172"/>
                  <a:gd name="T89" fmla="*/ 7 h 74"/>
                  <a:gd name="T90" fmla="*/ 14 w 172"/>
                  <a:gd name="T91" fmla="*/ 7 h 74"/>
                  <a:gd name="T92" fmla="*/ 13 w 172"/>
                  <a:gd name="T93" fmla="*/ 7 h 74"/>
                  <a:gd name="T94" fmla="*/ 12 w 172"/>
                  <a:gd name="T95" fmla="*/ 7 h 74"/>
                  <a:gd name="T96" fmla="*/ 12 w 172"/>
                  <a:gd name="T97" fmla="*/ 7 h 74"/>
                  <a:gd name="T98" fmla="*/ 10 w 172"/>
                  <a:gd name="T99" fmla="*/ 6 h 74"/>
                  <a:gd name="T100" fmla="*/ 11 w 172"/>
                  <a:gd name="T101" fmla="*/ 6 h 74"/>
                  <a:gd name="T102" fmla="*/ 12 w 172"/>
                  <a:gd name="T103" fmla="*/ 7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8" name="Freeform 408">
                <a:extLst>
                  <a:ext uri="{FF2B5EF4-FFF2-40B4-BE49-F238E27FC236}">
                    <a16:creationId xmlns:a16="http://schemas.microsoft.com/office/drawing/2014/main" id="{233725BF-FA3F-46A2-92D8-F3048604DEC9}"/>
                  </a:ext>
                </a:extLst>
              </p:cNvPr>
              <p:cNvSpPr>
                <a:spLocks/>
              </p:cNvSpPr>
              <p:nvPr/>
            </p:nvSpPr>
            <p:spPr bwMode="auto">
              <a:xfrm>
                <a:off x="1450" y="1171"/>
                <a:ext cx="38" cy="17"/>
              </a:xfrm>
              <a:custGeom>
                <a:avLst/>
                <a:gdLst>
                  <a:gd name="T0" fmla="*/ 3 w 120"/>
                  <a:gd name="T1" fmla="*/ 6 h 49"/>
                  <a:gd name="T2" fmla="*/ 5 w 120"/>
                  <a:gd name="T3" fmla="*/ 6 h 49"/>
                  <a:gd name="T4" fmla="*/ 6 w 120"/>
                  <a:gd name="T5" fmla="*/ 6 h 49"/>
                  <a:gd name="T6" fmla="*/ 8 w 120"/>
                  <a:gd name="T7" fmla="*/ 6 h 49"/>
                  <a:gd name="T8" fmla="*/ 9 w 120"/>
                  <a:gd name="T9" fmla="*/ 5 h 49"/>
                  <a:gd name="T10" fmla="*/ 10 w 120"/>
                  <a:gd name="T11" fmla="*/ 5 h 49"/>
                  <a:gd name="T12" fmla="*/ 10 w 120"/>
                  <a:gd name="T13" fmla="*/ 5 h 49"/>
                  <a:gd name="T14" fmla="*/ 10 w 120"/>
                  <a:gd name="T15" fmla="*/ 4 h 49"/>
                  <a:gd name="T16" fmla="*/ 11 w 120"/>
                  <a:gd name="T17" fmla="*/ 4 h 49"/>
                  <a:gd name="T18" fmla="*/ 11 w 120"/>
                  <a:gd name="T19" fmla="*/ 3 h 49"/>
                  <a:gd name="T20" fmla="*/ 12 w 120"/>
                  <a:gd name="T21" fmla="*/ 1 h 49"/>
                  <a:gd name="T22" fmla="*/ 10 w 120"/>
                  <a:gd name="T23" fmla="*/ 1 h 49"/>
                  <a:gd name="T24" fmla="*/ 9 w 120"/>
                  <a:gd name="T25" fmla="*/ 0 h 49"/>
                  <a:gd name="T26" fmla="*/ 7 w 120"/>
                  <a:gd name="T27" fmla="*/ 0 h 49"/>
                  <a:gd name="T28" fmla="*/ 5 w 120"/>
                  <a:gd name="T29" fmla="*/ 0 h 49"/>
                  <a:gd name="T30" fmla="*/ 3 w 120"/>
                  <a:gd name="T31" fmla="*/ 0 h 49"/>
                  <a:gd name="T32" fmla="*/ 2 w 120"/>
                  <a:gd name="T33" fmla="*/ 0 h 49"/>
                  <a:gd name="T34" fmla="*/ 1 w 120"/>
                  <a:gd name="T35" fmla="*/ 0 h 49"/>
                  <a:gd name="T36" fmla="*/ 0 w 120"/>
                  <a:gd name="T37" fmla="*/ 1 h 49"/>
                  <a:gd name="T38" fmla="*/ 0 w 120"/>
                  <a:gd name="T39" fmla="*/ 3 h 49"/>
                  <a:gd name="T40" fmla="*/ 0 w 120"/>
                  <a:gd name="T41" fmla="*/ 4 h 49"/>
                  <a:gd name="T42" fmla="*/ 1 w 120"/>
                  <a:gd name="T43" fmla="*/ 5 h 49"/>
                  <a:gd name="T44" fmla="*/ 1 w 120"/>
                  <a:gd name="T45" fmla="*/ 5 h 49"/>
                  <a:gd name="T46" fmla="*/ 1 w 120"/>
                  <a:gd name="T47" fmla="*/ 6 h 49"/>
                  <a:gd name="T48" fmla="*/ 2 w 120"/>
                  <a:gd name="T49" fmla="*/ 6 h 49"/>
                  <a:gd name="T50" fmla="*/ 3 w 120"/>
                  <a:gd name="T51" fmla="*/ 6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9" name="Freeform 409">
                <a:extLst>
                  <a:ext uri="{FF2B5EF4-FFF2-40B4-BE49-F238E27FC236}">
                    <a16:creationId xmlns:a16="http://schemas.microsoft.com/office/drawing/2014/main" id="{E258CDA4-3CA3-45C8-9CDE-F3898B75D951}"/>
                  </a:ext>
                </a:extLst>
              </p:cNvPr>
              <p:cNvSpPr>
                <a:spLocks/>
              </p:cNvSpPr>
              <p:nvPr/>
            </p:nvSpPr>
            <p:spPr bwMode="auto">
              <a:xfrm>
                <a:off x="1441" y="1194"/>
                <a:ext cx="26" cy="19"/>
              </a:xfrm>
              <a:custGeom>
                <a:avLst/>
                <a:gdLst>
                  <a:gd name="T0" fmla="*/ 3 w 85"/>
                  <a:gd name="T1" fmla="*/ 0 h 61"/>
                  <a:gd name="T2" fmla="*/ 2 w 85"/>
                  <a:gd name="T3" fmla="*/ 1 h 61"/>
                  <a:gd name="T4" fmla="*/ 1 w 85"/>
                  <a:gd name="T5" fmla="*/ 1 h 61"/>
                  <a:gd name="T6" fmla="*/ 1 w 85"/>
                  <a:gd name="T7" fmla="*/ 2 h 61"/>
                  <a:gd name="T8" fmla="*/ 0 w 85"/>
                  <a:gd name="T9" fmla="*/ 2 h 61"/>
                  <a:gd name="T10" fmla="*/ 0 w 85"/>
                  <a:gd name="T11" fmla="*/ 2 h 61"/>
                  <a:gd name="T12" fmla="*/ 0 w 85"/>
                  <a:gd name="T13" fmla="*/ 3 h 61"/>
                  <a:gd name="T14" fmla="*/ 0 w 85"/>
                  <a:gd name="T15" fmla="*/ 3 h 61"/>
                  <a:gd name="T16" fmla="*/ 0 w 85"/>
                  <a:gd name="T17" fmla="*/ 4 h 61"/>
                  <a:gd name="T18" fmla="*/ 0 w 85"/>
                  <a:gd name="T19" fmla="*/ 4 h 61"/>
                  <a:gd name="T20" fmla="*/ 1 w 85"/>
                  <a:gd name="T21" fmla="*/ 4 h 61"/>
                  <a:gd name="T22" fmla="*/ 1 w 85"/>
                  <a:gd name="T23" fmla="*/ 5 h 61"/>
                  <a:gd name="T24" fmla="*/ 2 w 85"/>
                  <a:gd name="T25" fmla="*/ 5 h 61"/>
                  <a:gd name="T26" fmla="*/ 2 w 85"/>
                  <a:gd name="T27" fmla="*/ 5 h 61"/>
                  <a:gd name="T28" fmla="*/ 3 w 85"/>
                  <a:gd name="T29" fmla="*/ 6 h 61"/>
                  <a:gd name="T30" fmla="*/ 4 w 85"/>
                  <a:gd name="T31" fmla="*/ 6 h 61"/>
                  <a:gd name="T32" fmla="*/ 5 w 85"/>
                  <a:gd name="T33" fmla="*/ 6 h 61"/>
                  <a:gd name="T34" fmla="*/ 5 w 85"/>
                  <a:gd name="T35" fmla="*/ 6 h 61"/>
                  <a:gd name="T36" fmla="*/ 6 w 85"/>
                  <a:gd name="T37" fmla="*/ 6 h 61"/>
                  <a:gd name="T38" fmla="*/ 6 w 85"/>
                  <a:gd name="T39" fmla="*/ 6 h 61"/>
                  <a:gd name="T40" fmla="*/ 6 w 85"/>
                  <a:gd name="T41" fmla="*/ 6 h 61"/>
                  <a:gd name="T42" fmla="*/ 7 w 85"/>
                  <a:gd name="T43" fmla="*/ 5 h 61"/>
                  <a:gd name="T44" fmla="*/ 7 w 85"/>
                  <a:gd name="T45" fmla="*/ 5 h 61"/>
                  <a:gd name="T46" fmla="*/ 7 w 85"/>
                  <a:gd name="T47" fmla="*/ 4 h 61"/>
                  <a:gd name="T48" fmla="*/ 8 w 85"/>
                  <a:gd name="T49" fmla="*/ 3 h 61"/>
                  <a:gd name="T50" fmla="*/ 8 w 85"/>
                  <a:gd name="T51" fmla="*/ 2 h 61"/>
                  <a:gd name="T52" fmla="*/ 8 w 85"/>
                  <a:gd name="T53" fmla="*/ 2 h 61"/>
                  <a:gd name="T54" fmla="*/ 3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0" name="Freeform 410">
                <a:extLst>
                  <a:ext uri="{FF2B5EF4-FFF2-40B4-BE49-F238E27FC236}">
                    <a16:creationId xmlns:a16="http://schemas.microsoft.com/office/drawing/2014/main" id="{6612AD40-6772-420E-8D85-E6546B5172D5}"/>
                  </a:ext>
                </a:extLst>
              </p:cNvPr>
              <p:cNvSpPr>
                <a:spLocks/>
              </p:cNvSpPr>
              <p:nvPr/>
            </p:nvSpPr>
            <p:spPr bwMode="auto">
              <a:xfrm>
                <a:off x="1254" y="1188"/>
                <a:ext cx="31" cy="6"/>
              </a:xfrm>
              <a:custGeom>
                <a:avLst/>
                <a:gdLst>
                  <a:gd name="T0" fmla="*/ 0 w 100"/>
                  <a:gd name="T1" fmla="*/ 1 h 19"/>
                  <a:gd name="T2" fmla="*/ 1 w 100"/>
                  <a:gd name="T3" fmla="*/ 1 h 19"/>
                  <a:gd name="T4" fmla="*/ 1 w 100"/>
                  <a:gd name="T5" fmla="*/ 2 h 19"/>
                  <a:gd name="T6" fmla="*/ 2 w 100"/>
                  <a:gd name="T7" fmla="*/ 2 h 19"/>
                  <a:gd name="T8" fmla="*/ 2 w 100"/>
                  <a:gd name="T9" fmla="*/ 2 h 19"/>
                  <a:gd name="T10" fmla="*/ 10 w 100"/>
                  <a:gd name="T11" fmla="*/ 1 h 19"/>
                  <a:gd name="T12" fmla="*/ 7 w 100"/>
                  <a:gd name="T13" fmla="*/ 0 h 19"/>
                  <a:gd name="T14" fmla="*/ 5 w 100"/>
                  <a:gd name="T15" fmla="*/ 0 h 19"/>
                  <a:gd name="T16" fmla="*/ 3 w 100"/>
                  <a:gd name="T17" fmla="*/ 0 h 19"/>
                  <a:gd name="T18" fmla="*/ 2 w 100"/>
                  <a:gd name="T19" fmla="*/ 0 h 19"/>
                  <a:gd name="T20" fmla="*/ 1 w 100"/>
                  <a:gd name="T21" fmla="*/ 0 h 19"/>
                  <a:gd name="T22" fmla="*/ 0 w 100"/>
                  <a:gd name="T23" fmla="*/ 1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1" name="Freeform 411">
                <a:extLst>
                  <a:ext uri="{FF2B5EF4-FFF2-40B4-BE49-F238E27FC236}">
                    <a16:creationId xmlns:a16="http://schemas.microsoft.com/office/drawing/2014/main" id="{880B2421-794D-429A-BC55-993397335FFD}"/>
                  </a:ext>
                </a:extLst>
              </p:cNvPr>
              <p:cNvSpPr>
                <a:spLocks/>
              </p:cNvSpPr>
              <p:nvPr/>
            </p:nvSpPr>
            <p:spPr bwMode="auto">
              <a:xfrm>
                <a:off x="1272" y="1168"/>
                <a:ext cx="53" cy="15"/>
              </a:xfrm>
              <a:custGeom>
                <a:avLst/>
                <a:gdLst>
                  <a:gd name="T0" fmla="*/ 0 w 166"/>
                  <a:gd name="T1" fmla="*/ 3 h 45"/>
                  <a:gd name="T2" fmla="*/ 0 w 166"/>
                  <a:gd name="T3" fmla="*/ 3 h 45"/>
                  <a:gd name="T4" fmla="*/ 0 w 166"/>
                  <a:gd name="T5" fmla="*/ 3 h 45"/>
                  <a:gd name="T6" fmla="*/ 1 w 166"/>
                  <a:gd name="T7" fmla="*/ 4 h 45"/>
                  <a:gd name="T8" fmla="*/ 1 w 166"/>
                  <a:gd name="T9" fmla="*/ 4 h 45"/>
                  <a:gd name="T10" fmla="*/ 3 w 166"/>
                  <a:gd name="T11" fmla="*/ 4 h 45"/>
                  <a:gd name="T12" fmla="*/ 4 w 166"/>
                  <a:gd name="T13" fmla="*/ 5 h 45"/>
                  <a:gd name="T14" fmla="*/ 8 w 166"/>
                  <a:gd name="T15" fmla="*/ 5 h 45"/>
                  <a:gd name="T16" fmla="*/ 9 w 166"/>
                  <a:gd name="T17" fmla="*/ 5 h 45"/>
                  <a:gd name="T18" fmla="*/ 17 w 166"/>
                  <a:gd name="T19" fmla="*/ 3 h 45"/>
                  <a:gd name="T20" fmla="*/ 16 w 166"/>
                  <a:gd name="T21" fmla="*/ 3 h 45"/>
                  <a:gd name="T22" fmla="*/ 14 w 166"/>
                  <a:gd name="T23" fmla="*/ 2 h 45"/>
                  <a:gd name="T24" fmla="*/ 11 w 166"/>
                  <a:gd name="T25" fmla="*/ 1 h 45"/>
                  <a:gd name="T26" fmla="*/ 8 w 166"/>
                  <a:gd name="T27" fmla="*/ 0 h 45"/>
                  <a:gd name="T28" fmla="*/ 7 w 166"/>
                  <a:gd name="T29" fmla="*/ 0 h 45"/>
                  <a:gd name="T30" fmla="*/ 5 w 166"/>
                  <a:gd name="T31" fmla="*/ 0 h 45"/>
                  <a:gd name="T32" fmla="*/ 4 w 166"/>
                  <a:gd name="T33" fmla="*/ 0 h 45"/>
                  <a:gd name="T34" fmla="*/ 3 w 166"/>
                  <a:gd name="T35" fmla="*/ 0 h 45"/>
                  <a:gd name="T36" fmla="*/ 2 w 166"/>
                  <a:gd name="T37" fmla="*/ 0 h 45"/>
                  <a:gd name="T38" fmla="*/ 1 w 166"/>
                  <a:gd name="T39" fmla="*/ 1 h 45"/>
                  <a:gd name="T40" fmla="*/ 1 w 166"/>
                  <a:gd name="T41" fmla="*/ 1 h 45"/>
                  <a:gd name="T42" fmla="*/ 1 w 166"/>
                  <a:gd name="T43" fmla="*/ 1 h 45"/>
                  <a:gd name="T44" fmla="*/ 0 w 166"/>
                  <a:gd name="T45" fmla="*/ 1 h 45"/>
                  <a:gd name="T46" fmla="*/ 0 w 166"/>
                  <a:gd name="T47" fmla="*/ 2 h 45"/>
                  <a:gd name="T48" fmla="*/ 0 w 166"/>
                  <a:gd name="T49" fmla="*/ 2 h 45"/>
                  <a:gd name="T50" fmla="*/ 0 w 166"/>
                  <a:gd name="T51" fmla="*/ 3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2" name="Freeform 412">
                <a:extLst>
                  <a:ext uri="{FF2B5EF4-FFF2-40B4-BE49-F238E27FC236}">
                    <a16:creationId xmlns:a16="http://schemas.microsoft.com/office/drawing/2014/main" id="{A6585191-75B1-4F7A-B2B9-49A1D198FED3}"/>
                  </a:ext>
                </a:extLst>
              </p:cNvPr>
              <p:cNvSpPr>
                <a:spLocks/>
              </p:cNvSpPr>
              <p:nvPr/>
            </p:nvSpPr>
            <p:spPr bwMode="auto">
              <a:xfrm>
                <a:off x="1488" y="1422"/>
                <a:ext cx="11" cy="8"/>
              </a:xfrm>
              <a:custGeom>
                <a:avLst/>
                <a:gdLst>
                  <a:gd name="T0" fmla="*/ 0 w 33"/>
                  <a:gd name="T1" fmla="*/ 0 h 25"/>
                  <a:gd name="T2" fmla="*/ 0 w 33"/>
                  <a:gd name="T3" fmla="*/ 1 h 25"/>
                  <a:gd name="T4" fmla="*/ 0 w 33"/>
                  <a:gd name="T5" fmla="*/ 2 h 25"/>
                  <a:gd name="T6" fmla="*/ 1 w 33"/>
                  <a:gd name="T7" fmla="*/ 2 h 25"/>
                  <a:gd name="T8" fmla="*/ 1 w 33"/>
                  <a:gd name="T9" fmla="*/ 2 h 25"/>
                  <a:gd name="T10" fmla="*/ 2 w 33"/>
                  <a:gd name="T11" fmla="*/ 3 h 25"/>
                  <a:gd name="T12" fmla="*/ 2 w 33"/>
                  <a:gd name="T13" fmla="*/ 3 h 25"/>
                  <a:gd name="T14" fmla="*/ 3 w 33"/>
                  <a:gd name="T15" fmla="*/ 3 h 25"/>
                  <a:gd name="T16" fmla="*/ 4 w 33"/>
                  <a:gd name="T17" fmla="*/ 3 h 25"/>
                  <a:gd name="T18" fmla="*/ 4 w 33"/>
                  <a:gd name="T19" fmla="*/ 0 h 25"/>
                  <a:gd name="T20" fmla="*/ 3 w 33"/>
                  <a:gd name="T21" fmla="*/ 0 h 25"/>
                  <a:gd name="T22" fmla="*/ 2 w 33"/>
                  <a:gd name="T23" fmla="*/ 0 h 25"/>
                  <a:gd name="T24" fmla="*/ 1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3" name="Freeform 413">
                <a:extLst>
                  <a:ext uri="{FF2B5EF4-FFF2-40B4-BE49-F238E27FC236}">
                    <a16:creationId xmlns:a16="http://schemas.microsoft.com/office/drawing/2014/main" id="{FF68A6AD-7A21-4E6E-820B-96C3539A5636}"/>
                  </a:ext>
                </a:extLst>
              </p:cNvPr>
              <p:cNvSpPr>
                <a:spLocks/>
              </p:cNvSpPr>
              <p:nvPr/>
            </p:nvSpPr>
            <p:spPr bwMode="auto">
              <a:xfrm>
                <a:off x="1605" y="1729"/>
                <a:ext cx="16" cy="20"/>
              </a:xfrm>
              <a:custGeom>
                <a:avLst/>
                <a:gdLst>
                  <a:gd name="T0" fmla="*/ 0 w 48"/>
                  <a:gd name="T1" fmla="*/ 6 h 62"/>
                  <a:gd name="T2" fmla="*/ 1 w 48"/>
                  <a:gd name="T3" fmla="*/ 6 h 62"/>
                  <a:gd name="T4" fmla="*/ 2 w 48"/>
                  <a:gd name="T5" fmla="*/ 5 h 62"/>
                  <a:gd name="T6" fmla="*/ 3 w 48"/>
                  <a:gd name="T7" fmla="*/ 5 h 62"/>
                  <a:gd name="T8" fmla="*/ 4 w 48"/>
                  <a:gd name="T9" fmla="*/ 4 h 62"/>
                  <a:gd name="T10" fmla="*/ 5 w 48"/>
                  <a:gd name="T11" fmla="*/ 3 h 62"/>
                  <a:gd name="T12" fmla="*/ 5 w 48"/>
                  <a:gd name="T13" fmla="*/ 2 h 62"/>
                  <a:gd name="T14" fmla="*/ 5 w 48"/>
                  <a:gd name="T15" fmla="*/ 1 h 62"/>
                  <a:gd name="T16" fmla="*/ 5 w 48"/>
                  <a:gd name="T17" fmla="*/ 0 h 62"/>
                  <a:gd name="T18" fmla="*/ 4 w 48"/>
                  <a:gd name="T19" fmla="*/ 0 h 62"/>
                  <a:gd name="T20" fmla="*/ 4 w 48"/>
                  <a:gd name="T21" fmla="*/ 1 h 62"/>
                  <a:gd name="T22" fmla="*/ 3 w 48"/>
                  <a:gd name="T23" fmla="*/ 1 h 62"/>
                  <a:gd name="T24" fmla="*/ 2 w 48"/>
                  <a:gd name="T25" fmla="*/ 2 h 62"/>
                  <a:gd name="T26" fmla="*/ 1 w 48"/>
                  <a:gd name="T27" fmla="*/ 2 h 62"/>
                  <a:gd name="T28" fmla="*/ 1 w 48"/>
                  <a:gd name="T29" fmla="*/ 3 h 62"/>
                  <a:gd name="T30" fmla="*/ 0 w 48"/>
                  <a:gd name="T31" fmla="*/ 3 h 62"/>
                  <a:gd name="T32" fmla="*/ 0 w 48"/>
                  <a:gd name="T33" fmla="*/ 4 h 62"/>
                  <a:gd name="T34" fmla="*/ 0 w 48"/>
                  <a:gd name="T35" fmla="*/ 4 h 62"/>
                  <a:gd name="T36" fmla="*/ 0 w 48"/>
                  <a:gd name="T37" fmla="*/ 5 h 62"/>
                  <a:gd name="T38" fmla="*/ 0 w 48"/>
                  <a:gd name="T39" fmla="*/ 5 h 62"/>
                  <a:gd name="T40" fmla="*/ 0 w 48"/>
                  <a:gd name="T41" fmla="*/ 6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4" name="Freeform 414">
                <a:extLst>
                  <a:ext uri="{FF2B5EF4-FFF2-40B4-BE49-F238E27FC236}">
                    <a16:creationId xmlns:a16="http://schemas.microsoft.com/office/drawing/2014/main" id="{3A697317-72E4-40FD-A316-871EA6D246F3}"/>
                  </a:ext>
                </a:extLst>
              </p:cNvPr>
              <p:cNvSpPr>
                <a:spLocks/>
              </p:cNvSpPr>
              <p:nvPr/>
            </p:nvSpPr>
            <p:spPr bwMode="auto">
              <a:xfrm>
                <a:off x="1554" y="1729"/>
                <a:ext cx="36" cy="20"/>
              </a:xfrm>
              <a:custGeom>
                <a:avLst/>
                <a:gdLst>
                  <a:gd name="T0" fmla="*/ 5 w 113"/>
                  <a:gd name="T1" fmla="*/ 0 h 62"/>
                  <a:gd name="T2" fmla="*/ 4 w 113"/>
                  <a:gd name="T3" fmla="*/ 1 h 62"/>
                  <a:gd name="T4" fmla="*/ 2 w 113"/>
                  <a:gd name="T5" fmla="*/ 2 h 62"/>
                  <a:gd name="T6" fmla="*/ 1 w 113"/>
                  <a:gd name="T7" fmla="*/ 3 h 62"/>
                  <a:gd name="T8" fmla="*/ 0 w 113"/>
                  <a:gd name="T9" fmla="*/ 4 h 62"/>
                  <a:gd name="T10" fmla="*/ 2 w 113"/>
                  <a:gd name="T11" fmla="*/ 5 h 62"/>
                  <a:gd name="T12" fmla="*/ 4 w 113"/>
                  <a:gd name="T13" fmla="*/ 5 h 62"/>
                  <a:gd name="T14" fmla="*/ 5 w 113"/>
                  <a:gd name="T15" fmla="*/ 6 h 62"/>
                  <a:gd name="T16" fmla="*/ 6 w 113"/>
                  <a:gd name="T17" fmla="*/ 6 h 62"/>
                  <a:gd name="T18" fmla="*/ 7 w 113"/>
                  <a:gd name="T19" fmla="*/ 6 h 62"/>
                  <a:gd name="T20" fmla="*/ 9 w 113"/>
                  <a:gd name="T21" fmla="*/ 6 h 62"/>
                  <a:gd name="T22" fmla="*/ 10 w 113"/>
                  <a:gd name="T23" fmla="*/ 6 h 62"/>
                  <a:gd name="T24" fmla="*/ 11 w 113"/>
                  <a:gd name="T25" fmla="*/ 6 h 62"/>
                  <a:gd name="T26" fmla="*/ 11 w 113"/>
                  <a:gd name="T27" fmla="*/ 6 h 62"/>
                  <a:gd name="T28" fmla="*/ 11 w 113"/>
                  <a:gd name="T29" fmla="*/ 5 h 62"/>
                  <a:gd name="T30" fmla="*/ 11 w 113"/>
                  <a:gd name="T31" fmla="*/ 5 h 62"/>
                  <a:gd name="T32" fmla="*/ 11 w 113"/>
                  <a:gd name="T33" fmla="*/ 5 h 62"/>
                  <a:gd name="T34" fmla="*/ 9 w 113"/>
                  <a:gd name="T35" fmla="*/ 4 h 62"/>
                  <a:gd name="T36" fmla="*/ 7 w 113"/>
                  <a:gd name="T37" fmla="*/ 3 h 62"/>
                  <a:gd name="T38" fmla="*/ 7 w 113"/>
                  <a:gd name="T39" fmla="*/ 3 h 62"/>
                  <a:gd name="T40" fmla="*/ 6 w 113"/>
                  <a:gd name="T41" fmla="*/ 3 h 62"/>
                  <a:gd name="T42" fmla="*/ 6 w 113"/>
                  <a:gd name="T43" fmla="*/ 2 h 62"/>
                  <a:gd name="T44" fmla="*/ 5 w 113"/>
                  <a:gd name="T45" fmla="*/ 2 h 62"/>
                  <a:gd name="T46" fmla="*/ 5 w 113"/>
                  <a:gd name="T47" fmla="*/ 2 h 62"/>
                  <a:gd name="T48" fmla="*/ 5 w 113"/>
                  <a:gd name="T49" fmla="*/ 1 h 62"/>
                  <a:gd name="T50" fmla="*/ 5 w 113"/>
                  <a:gd name="T51" fmla="*/ 1 h 62"/>
                  <a:gd name="T52" fmla="*/ 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5" name="Freeform 415">
                <a:extLst>
                  <a:ext uri="{FF2B5EF4-FFF2-40B4-BE49-F238E27FC236}">
                    <a16:creationId xmlns:a16="http://schemas.microsoft.com/office/drawing/2014/main" id="{931ADF89-0A49-408B-8A9B-9B122D9564D7}"/>
                  </a:ext>
                </a:extLst>
              </p:cNvPr>
              <p:cNvSpPr>
                <a:spLocks/>
              </p:cNvSpPr>
              <p:nvPr/>
            </p:nvSpPr>
            <p:spPr bwMode="auto">
              <a:xfrm>
                <a:off x="1748" y="1188"/>
                <a:ext cx="29" cy="15"/>
              </a:xfrm>
              <a:custGeom>
                <a:avLst/>
                <a:gdLst>
                  <a:gd name="T0" fmla="*/ 0 w 93"/>
                  <a:gd name="T1" fmla="*/ 0 h 50"/>
                  <a:gd name="T2" fmla="*/ 2 w 93"/>
                  <a:gd name="T3" fmla="*/ 0 h 50"/>
                  <a:gd name="T4" fmla="*/ 3 w 93"/>
                  <a:gd name="T5" fmla="*/ 0 h 50"/>
                  <a:gd name="T6" fmla="*/ 4 w 93"/>
                  <a:gd name="T7" fmla="*/ 0 h 50"/>
                  <a:gd name="T8" fmla="*/ 6 w 93"/>
                  <a:gd name="T9" fmla="*/ 1 h 50"/>
                  <a:gd name="T10" fmla="*/ 6 w 93"/>
                  <a:gd name="T11" fmla="*/ 1 h 50"/>
                  <a:gd name="T12" fmla="*/ 7 w 93"/>
                  <a:gd name="T13" fmla="*/ 1 h 50"/>
                  <a:gd name="T14" fmla="*/ 7 w 93"/>
                  <a:gd name="T15" fmla="*/ 1 h 50"/>
                  <a:gd name="T16" fmla="*/ 8 w 93"/>
                  <a:gd name="T17" fmla="*/ 2 h 50"/>
                  <a:gd name="T18" fmla="*/ 8 w 93"/>
                  <a:gd name="T19" fmla="*/ 2 h 50"/>
                  <a:gd name="T20" fmla="*/ 9 w 93"/>
                  <a:gd name="T21" fmla="*/ 2 h 50"/>
                  <a:gd name="T22" fmla="*/ 9 w 93"/>
                  <a:gd name="T23" fmla="*/ 3 h 50"/>
                  <a:gd name="T24" fmla="*/ 9 w 93"/>
                  <a:gd name="T25" fmla="*/ 3 h 50"/>
                  <a:gd name="T26" fmla="*/ 8 w 93"/>
                  <a:gd name="T27" fmla="*/ 3 h 50"/>
                  <a:gd name="T28" fmla="*/ 7 w 93"/>
                  <a:gd name="T29" fmla="*/ 4 h 50"/>
                  <a:gd name="T30" fmla="*/ 6 w 93"/>
                  <a:gd name="T31" fmla="*/ 4 h 50"/>
                  <a:gd name="T32" fmla="*/ 5 w 93"/>
                  <a:gd name="T33" fmla="*/ 4 h 50"/>
                  <a:gd name="T34" fmla="*/ 4 w 93"/>
                  <a:gd name="T35" fmla="*/ 4 h 50"/>
                  <a:gd name="T36" fmla="*/ 3 w 93"/>
                  <a:gd name="T37" fmla="*/ 5 h 50"/>
                  <a:gd name="T38" fmla="*/ 3 w 93"/>
                  <a:gd name="T39" fmla="*/ 5 h 50"/>
                  <a:gd name="T40" fmla="*/ 3 w 93"/>
                  <a:gd name="T41" fmla="*/ 4 h 50"/>
                  <a:gd name="T42" fmla="*/ 2 w 93"/>
                  <a:gd name="T43" fmla="*/ 4 h 50"/>
                  <a:gd name="T44" fmla="*/ 2 w 93"/>
                  <a:gd name="T45" fmla="*/ 4 h 50"/>
                  <a:gd name="T46" fmla="*/ 2 w 93"/>
                  <a:gd name="T47" fmla="*/ 4 h 50"/>
                  <a:gd name="T48" fmla="*/ 2 w 93"/>
                  <a:gd name="T49" fmla="*/ 3 h 50"/>
                  <a:gd name="T50" fmla="*/ 2 w 93"/>
                  <a:gd name="T51" fmla="*/ 3 h 50"/>
                  <a:gd name="T52" fmla="*/ 2 w 93"/>
                  <a:gd name="T53" fmla="*/ 2 h 50"/>
                  <a:gd name="T54" fmla="*/ 2 w 93"/>
                  <a:gd name="T55" fmla="*/ 2 h 50"/>
                  <a:gd name="T56" fmla="*/ 2 w 93"/>
                  <a:gd name="T57" fmla="*/ 2 h 50"/>
                  <a:gd name="T58" fmla="*/ 0 w 93"/>
                  <a:gd name="T59" fmla="*/ 2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6" name="Freeform 416">
                <a:extLst>
                  <a:ext uri="{FF2B5EF4-FFF2-40B4-BE49-F238E27FC236}">
                    <a16:creationId xmlns:a16="http://schemas.microsoft.com/office/drawing/2014/main" id="{6F5BF1C9-9C13-4472-B136-1D51B7A04D61}"/>
                  </a:ext>
                </a:extLst>
              </p:cNvPr>
              <p:cNvSpPr>
                <a:spLocks/>
              </p:cNvSpPr>
              <p:nvPr/>
            </p:nvSpPr>
            <p:spPr bwMode="auto">
              <a:xfrm>
                <a:off x="1436" y="1246"/>
                <a:ext cx="331" cy="198"/>
              </a:xfrm>
              <a:custGeom>
                <a:avLst/>
                <a:gdLst>
                  <a:gd name="T0" fmla="*/ 2 w 1029"/>
                  <a:gd name="T1" fmla="*/ 12 h 604"/>
                  <a:gd name="T2" fmla="*/ 7 w 1029"/>
                  <a:gd name="T3" fmla="*/ 7 h 604"/>
                  <a:gd name="T4" fmla="*/ 28 w 1029"/>
                  <a:gd name="T5" fmla="*/ 0 h 604"/>
                  <a:gd name="T6" fmla="*/ 21 w 1029"/>
                  <a:gd name="T7" fmla="*/ 5 h 604"/>
                  <a:gd name="T8" fmla="*/ 19 w 1029"/>
                  <a:gd name="T9" fmla="*/ 11 h 604"/>
                  <a:gd name="T10" fmla="*/ 28 w 1029"/>
                  <a:gd name="T11" fmla="*/ 7 h 604"/>
                  <a:gd name="T12" fmla="*/ 41 w 1029"/>
                  <a:gd name="T13" fmla="*/ 2 h 604"/>
                  <a:gd name="T14" fmla="*/ 45 w 1029"/>
                  <a:gd name="T15" fmla="*/ 3 h 604"/>
                  <a:gd name="T16" fmla="*/ 45 w 1029"/>
                  <a:gd name="T17" fmla="*/ 8 h 604"/>
                  <a:gd name="T18" fmla="*/ 60 w 1029"/>
                  <a:gd name="T19" fmla="*/ 9 h 604"/>
                  <a:gd name="T20" fmla="*/ 70 w 1029"/>
                  <a:gd name="T21" fmla="*/ 10 h 604"/>
                  <a:gd name="T22" fmla="*/ 78 w 1029"/>
                  <a:gd name="T23" fmla="*/ 12 h 604"/>
                  <a:gd name="T24" fmla="*/ 78 w 1029"/>
                  <a:gd name="T25" fmla="*/ 14 h 604"/>
                  <a:gd name="T26" fmla="*/ 74 w 1029"/>
                  <a:gd name="T27" fmla="*/ 20 h 604"/>
                  <a:gd name="T28" fmla="*/ 83 w 1029"/>
                  <a:gd name="T29" fmla="*/ 18 h 604"/>
                  <a:gd name="T30" fmla="*/ 90 w 1029"/>
                  <a:gd name="T31" fmla="*/ 21 h 604"/>
                  <a:gd name="T32" fmla="*/ 88 w 1029"/>
                  <a:gd name="T33" fmla="*/ 26 h 604"/>
                  <a:gd name="T34" fmla="*/ 81 w 1029"/>
                  <a:gd name="T35" fmla="*/ 27 h 604"/>
                  <a:gd name="T36" fmla="*/ 89 w 1029"/>
                  <a:gd name="T37" fmla="*/ 30 h 604"/>
                  <a:gd name="T38" fmla="*/ 93 w 1029"/>
                  <a:gd name="T39" fmla="*/ 35 h 604"/>
                  <a:gd name="T40" fmla="*/ 101 w 1029"/>
                  <a:gd name="T41" fmla="*/ 35 h 604"/>
                  <a:gd name="T42" fmla="*/ 106 w 1029"/>
                  <a:gd name="T43" fmla="*/ 38 h 604"/>
                  <a:gd name="T44" fmla="*/ 97 w 1029"/>
                  <a:gd name="T45" fmla="*/ 44 h 604"/>
                  <a:gd name="T46" fmla="*/ 93 w 1029"/>
                  <a:gd name="T47" fmla="*/ 45 h 604"/>
                  <a:gd name="T48" fmla="*/ 90 w 1029"/>
                  <a:gd name="T49" fmla="*/ 48 h 604"/>
                  <a:gd name="T50" fmla="*/ 86 w 1029"/>
                  <a:gd name="T51" fmla="*/ 45 h 604"/>
                  <a:gd name="T52" fmla="*/ 88 w 1029"/>
                  <a:gd name="T53" fmla="*/ 42 h 604"/>
                  <a:gd name="T54" fmla="*/ 82 w 1029"/>
                  <a:gd name="T55" fmla="*/ 41 h 604"/>
                  <a:gd name="T56" fmla="*/ 78 w 1029"/>
                  <a:gd name="T57" fmla="*/ 39 h 604"/>
                  <a:gd name="T58" fmla="*/ 77 w 1029"/>
                  <a:gd name="T59" fmla="*/ 42 h 604"/>
                  <a:gd name="T60" fmla="*/ 77 w 1029"/>
                  <a:gd name="T61" fmla="*/ 48 h 604"/>
                  <a:gd name="T62" fmla="*/ 82 w 1029"/>
                  <a:gd name="T63" fmla="*/ 56 h 604"/>
                  <a:gd name="T64" fmla="*/ 80 w 1029"/>
                  <a:gd name="T65" fmla="*/ 59 h 604"/>
                  <a:gd name="T66" fmla="*/ 73 w 1029"/>
                  <a:gd name="T67" fmla="*/ 60 h 604"/>
                  <a:gd name="T68" fmla="*/ 64 w 1029"/>
                  <a:gd name="T69" fmla="*/ 55 h 604"/>
                  <a:gd name="T70" fmla="*/ 69 w 1029"/>
                  <a:gd name="T71" fmla="*/ 61 h 604"/>
                  <a:gd name="T72" fmla="*/ 69 w 1029"/>
                  <a:gd name="T73" fmla="*/ 65 h 604"/>
                  <a:gd name="T74" fmla="*/ 54 w 1029"/>
                  <a:gd name="T75" fmla="*/ 61 h 604"/>
                  <a:gd name="T76" fmla="*/ 49 w 1029"/>
                  <a:gd name="T77" fmla="*/ 56 h 604"/>
                  <a:gd name="T78" fmla="*/ 42 w 1029"/>
                  <a:gd name="T79" fmla="*/ 51 h 604"/>
                  <a:gd name="T80" fmla="*/ 38 w 1029"/>
                  <a:gd name="T81" fmla="*/ 49 h 604"/>
                  <a:gd name="T82" fmla="*/ 41 w 1029"/>
                  <a:gd name="T83" fmla="*/ 47 h 604"/>
                  <a:gd name="T84" fmla="*/ 48 w 1029"/>
                  <a:gd name="T85" fmla="*/ 43 h 604"/>
                  <a:gd name="T86" fmla="*/ 52 w 1029"/>
                  <a:gd name="T87" fmla="*/ 41 h 604"/>
                  <a:gd name="T88" fmla="*/ 60 w 1029"/>
                  <a:gd name="T89" fmla="*/ 41 h 604"/>
                  <a:gd name="T90" fmla="*/ 64 w 1029"/>
                  <a:gd name="T91" fmla="*/ 42 h 604"/>
                  <a:gd name="T92" fmla="*/ 71 w 1029"/>
                  <a:gd name="T93" fmla="*/ 42 h 604"/>
                  <a:gd name="T94" fmla="*/ 60 w 1029"/>
                  <a:gd name="T95" fmla="*/ 38 h 604"/>
                  <a:gd name="T96" fmla="*/ 56 w 1029"/>
                  <a:gd name="T97" fmla="*/ 39 h 604"/>
                  <a:gd name="T98" fmla="*/ 56 w 1029"/>
                  <a:gd name="T99" fmla="*/ 38 h 604"/>
                  <a:gd name="T100" fmla="*/ 60 w 1029"/>
                  <a:gd name="T101" fmla="*/ 33 h 604"/>
                  <a:gd name="T102" fmla="*/ 60 w 1029"/>
                  <a:gd name="T103" fmla="*/ 30 h 604"/>
                  <a:gd name="T104" fmla="*/ 54 w 1029"/>
                  <a:gd name="T105" fmla="*/ 27 h 604"/>
                  <a:gd name="T106" fmla="*/ 49 w 1029"/>
                  <a:gd name="T107" fmla="*/ 21 h 604"/>
                  <a:gd name="T108" fmla="*/ 45 w 1029"/>
                  <a:gd name="T109" fmla="*/ 18 h 604"/>
                  <a:gd name="T110" fmla="*/ 42 w 1029"/>
                  <a:gd name="T111" fmla="*/ 17 h 604"/>
                  <a:gd name="T112" fmla="*/ 39 w 1029"/>
                  <a:gd name="T113" fmla="*/ 22 h 604"/>
                  <a:gd name="T114" fmla="*/ 22 w 1029"/>
                  <a:gd name="T115" fmla="*/ 19 h 604"/>
                  <a:gd name="T116" fmla="*/ 12 w 1029"/>
                  <a:gd name="T117" fmla="*/ 20 h 604"/>
                  <a:gd name="T118" fmla="*/ 8 w 1029"/>
                  <a:gd name="T119" fmla="*/ 20 h 604"/>
                  <a:gd name="T120" fmla="*/ 2 w 1029"/>
                  <a:gd name="T121" fmla="*/ 19 h 604"/>
                  <a:gd name="T122" fmla="*/ 1 w 1029"/>
                  <a:gd name="T123" fmla="*/ 17 h 604"/>
                  <a:gd name="T124" fmla="*/ 8 w 1029"/>
                  <a:gd name="T125" fmla="*/ 16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7" name="Freeform 417">
                <a:extLst>
                  <a:ext uri="{FF2B5EF4-FFF2-40B4-BE49-F238E27FC236}">
                    <a16:creationId xmlns:a16="http://schemas.microsoft.com/office/drawing/2014/main" id="{9497ED0E-6A88-4580-9B2F-C7BF4EA0429C}"/>
                  </a:ext>
                </a:extLst>
              </p:cNvPr>
              <p:cNvSpPr>
                <a:spLocks/>
              </p:cNvSpPr>
              <p:nvPr/>
            </p:nvSpPr>
            <p:spPr bwMode="auto">
              <a:xfrm>
                <a:off x="1528" y="1110"/>
                <a:ext cx="409" cy="105"/>
              </a:xfrm>
              <a:custGeom>
                <a:avLst/>
                <a:gdLst>
                  <a:gd name="T0" fmla="*/ 83 w 1268"/>
                  <a:gd name="T1" fmla="*/ 4 h 321"/>
                  <a:gd name="T2" fmla="*/ 85 w 1268"/>
                  <a:gd name="T3" fmla="*/ 2 h 321"/>
                  <a:gd name="T4" fmla="*/ 88 w 1268"/>
                  <a:gd name="T5" fmla="*/ 1 h 321"/>
                  <a:gd name="T6" fmla="*/ 90 w 1268"/>
                  <a:gd name="T7" fmla="*/ 3 h 321"/>
                  <a:gd name="T8" fmla="*/ 98 w 1268"/>
                  <a:gd name="T9" fmla="*/ 2 h 321"/>
                  <a:gd name="T10" fmla="*/ 106 w 1268"/>
                  <a:gd name="T11" fmla="*/ 0 h 321"/>
                  <a:gd name="T12" fmla="*/ 113 w 1268"/>
                  <a:gd name="T13" fmla="*/ 2 h 321"/>
                  <a:gd name="T14" fmla="*/ 118 w 1268"/>
                  <a:gd name="T15" fmla="*/ 2 h 321"/>
                  <a:gd name="T16" fmla="*/ 132 w 1268"/>
                  <a:gd name="T17" fmla="*/ 3 h 321"/>
                  <a:gd name="T18" fmla="*/ 129 w 1268"/>
                  <a:gd name="T19" fmla="*/ 5 h 321"/>
                  <a:gd name="T20" fmla="*/ 121 w 1268"/>
                  <a:gd name="T21" fmla="*/ 7 h 321"/>
                  <a:gd name="T22" fmla="*/ 110 w 1268"/>
                  <a:gd name="T23" fmla="*/ 8 h 321"/>
                  <a:gd name="T24" fmla="*/ 107 w 1268"/>
                  <a:gd name="T25" fmla="*/ 10 h 321"/>
                  <a:gd name="T26" fmla="*/ 104 w 1268"/>
                  <a:gd name="T27" fmla="*/ 11 h 321"/>
                  <a:gd name="T28" fmla="*/ 98 w 1268"/>
                  <a:gd name="T29" fmla="*/ 11 h 321"/>
                  <a:gd name="T30" fmla="*/ 97 w 1268"/>
                  <a:gd name="T31" fmla="*/ 13 h 321"/>
                  <a:gd name="T32" fmla="*/ 78 w 1268"/>
                  <a:gd name="T33" fmla="*/ 14 h 321"/>
                  <a:gd name="T34" fmla="*/ 69 w 1268"/>
                  <a:gd name="T35" fmla="*/ 17 h 321"/>
                  <a:gd name="T36" fmla="*/ 66 w 1268"/>
                  <a:gd name="T37" fmla="*/ 19 h 321"/>
                  <a:gd name="T38" fmla="*/ 62 w 1268"/>
                  <a:gd name="T39" fmla="*/ 18 h 321"/>
                  <a:gd name="T40" fmla="*/ 59 w 1268"/>
                  <a:gd name="T41" fmla="*/ 19 h 321"/>
                  <a:gd name="T42" fmla="*/ 61 w 1268"/>
                  <a:gd name="T43" fmla="*/ 22 h 321"/>
                  <a:gd name="T44" fmla="*/ 57 w 1268"/>
                  <a:gd name="T45" fmla="*/ 26 h 321"/>
                  <a:gd name="T46" fmla="*/ 50 w 1268"/>
                  <a:gd name="T47" fmla="*/ 25 h 321"/>
                  <a:gd name="T48" fmla="*/ 42 w 1268"/>
                  <a:gd name="T49" fmla="*/ 26 h 321"/>
                  <a:gd name="T50" fmla="*/ 42 w 1268"/>
                  <a:gd name="T51" fmla="*/ 27 h 321"/>
                  <a:gd name="T52" fmla="*/ 41 w 1268"/>
                  <a:gd name="T53" fmla="*/ 31 h 321"/>
                  <a:gd name="T54" fmla="*/ 35 w 1268"/>
                  <a:gd name="T55" fmla="*/ 34 h 321"/>
                  <a:gd name="T56" fmla="*/ 30 w 1268"/>
                  <a:gd name="T57" fmla="*/ 32 h 321"/>
                  <a:gd name="T58" fmla="*/ 26 w 1268"/>
                  <a:gd name="T59" fmla="*/ 30 h 321"/>
                  <a:gd name="T60" fmla="*/ 10 w 1268"/>
                  <a:gd name="T61" fmla="*/ 29 h 321"/>
                  <a:gd name="T62" fmla="*/ 0 w 1268"/>
                  <a:gd name="T63" fmla="*/ 30 h 321"/>
                  <a:gd name="T64" fmla="*/ 1 w 1268"/>
                  <a:gd name="T65" fmla="*/ 28 h 321"/>
                  <a:gd name="T66" fmla="*/ 6 w 1268"/>
                  <a:gd name="T67" fmla="*/ 26 h 321"/>
                  <a:gd name="T68" fmla="*/ 15 w 1268"/>
                  <a:gd name="T69" fmla="*/ 25 h 321"/>
                  <a:gd name="T70" fmla="*/ 18 w 1268"/>
                  <a:gd name="T71" fmla="*/ 24 h 321"/>
                  <a:gd name="T72" fmla="*/ 20 w 1268"/>
                  <a:gd name="T73" fmla="*/ 23 h 321"/>
                  <a:gd name="T74" fmla="*/ 23 w 1268"/>
                  <a:gd name="T75" fmla="*/ 25 h 321"/>
                  <a:gd name="T76" fmla="*/ 26 w 1268"/>
                  <a:gd name="T77" fmla="*/ 26 h 321"/>
                  <a:gd name="T78" fmla="*/ 22 w 1268"/>
                  <a:gd name="T79" fmla="*/ 22 h 321"/>
                  <a:gd name="T80" fmla="*/ 20 w 1268"/>
                  <a:gd name="T81" fmla="*/ 21 h 321"/>
                  <a:gd name="T82" fmla="*/ 21 w 1268"/>
                  <a:gd name="T83" fmla="*/ 19 h 321"/>
                  <a:gd name="T84" fmla="*/ 25 w 1268"/>
                  <a:gd name="T85" fmla="*/ 19 h 321"/>
                  <a:gd name="T86" fmla="*/ 38 w 1268"/>
                  <a:gd name="T87" fmla="*/ 20 h 321"/>
                  <a:gd name="T88" fmla="*/ 44 w 1268"/>
                  <a:gd name="T89" fmla="*/ 19 h 321"/>
                  <a:gd name="T90" fmla="*/ 34 w 1268"/>
                  <a:gd name="T91" fmla="*/ 18 h 321"/>
                  <a:gd name="T92" fmla="*/ 31 w 1268"/>
                  <a:gd name="T93" fmla="*/ 16 h 321"/>
                  <a:gd name="T94" fmla="*/ 39 w 1268"/>
                  <a:gd name="T95" fmla="*/ 15 h 321"/>
                  <a:gd name="T96" fmla="*/ 45 w 1268"/>
                  <a:gd name="T97" fmla="*/ 17 h 321"/>
                  <a:gd name="T98" fmla="*/ 50 w 1268"/>
                  <a:gd name="T99" fmla="*/ 13 h 321"/>
                  <a:gd name="T100" fmla="*/ 69 w 1268"/>
                  <a:gd name="T101" fmla="*/ 9 h 321"/>
                  <a:gd name="T102" fmla="*/ 61 w 1268"/>
                  <a:gd name="T103" fmla="*/ 12 h 321"/>
                  <a:gd name="T104" fmla="*/ 47 w 1268"/>
                  <a:gd name="T105" fmla="*/ 12 h 321"/>
                  <a:gd name="T106" fmla="*/ 33 w 1268"/>
                  <a:gd name="T107" fmla="*/ 12 h 321"/>
                  <a:gd name="T108" fmla="*/ 26 w 1268"/>
                  <a:gd name="T109" fmla="*/ 11 h 321"/>
                  <a:gd name="T110" fmla="*/ 23 w 1268"/>
                  <a:gd name="T111" fmla="*/ 9 h 321"/>
                  <a:gd name="T112" fmla="*/ 26 w 1268"/>
                  <a:gd name="T113" fmla="*/ 8 h 321"/>
                  <a:gd name="T114" fmla="*/ 46 w 1268"/>
                  <a:gd name="T115" fmla="*/ 5 h 321"/>
                  <a:gd name="T116" fmla="*/ 64 w 1268"/>
                  <a:gd name="T117" fmla="*/ 3 h 321"/>
                  <a:gd name="T118" fmla="*/ 70 w 1268"/>
                  <a:gd name="T119" fmla="*/ 2 h 321"/>
                  <a:gd name="T120" fmla="*/ 79 w 1268"/>
                  <a:gd name="T121" fmla="*/ 3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8" name="Freeform 418">
                <a:extLst>
                  <a:ext uri="{FF2B5EF4-FFF2-40B4-BE49-F238E27FC236}">
                    <a16:creationId xmlns:a16="http://schemas.microsoft.com/office/drawing/2014/main" id="{D218D2FB-317A-4D9D-AD31-ADB18FED61B2}"/>
                  </a:ext>
                </a:extLst>
              </p:cNvPr>
              <p:cNvSpPr>
                <a:spLocks/>
              </p:cNvSpPr>
              <p:nvPr/>
            </p:nvSpPr>
            <p:spPr bwMode="auto">
              <a:xfrm>
                <a:off x="553" y="1660"/>
                <a:ext cx="51" cy="38"/>
              </a:xfrm>
              <a:custGeom>
                <a:avLst/>
                <a:gdLst>
                  <a:gd name="T0" fmla="*/ 0 w 160"/>
                  <a:gd name="T1" fmla="*/ 0 h 117"/>
                  <a:gd name="T2" fmla="*/ 0 w 160"/>
                  <a:gd name="T3" fmla="*/ 1 h 117"/>
                  <a:gd name="T4" fmla="*/ 0 w 160"/>
                  <a:gd name="T5" fmla="*/ 2 h 117"/>
                  <a:gd name="T6" fmla="*/ 1 w 160"/>
                  <a:gd name="T7" fmla="*/ 3 h 117"/>
                  <a:gd name="T8" fmla="*/ 2 w 160"/>
                  <a:gd name="T9" fmla="*/ 4 h 117"/>
                  <a:gd name="T10" fmla="*/ 2 w 160"/>
                  <a:gd name="T11" fmla="*/ 5 h 117"/>
                  <a:gd name="T12" fmla="*/ 3 w 160"/>
                  <a:gd name="T13" fmla="*/ 6 h 117"/>
                  <a:gd name="T14" fmla="*/ 4 w 160"/>
                  <a:gd name="T15" fmla="*/ 7 h 117"/>
                  <a:gd name="T16" fmla="*/ 5 w 160"/>
                  <a:gd name="T17" fmla="*/ 8 h 117"/>
                  <a:gd name="T18" fmla="*/ 6 w 160"/>
                  <a:gd name="T19" fmla="*/ 9 h 117"/>
                  <a:gd name="T20" fmla="*/ 7 w 160"/>
                  <a:gd name="T21" fmla="*/ 10 h 117"/>
                  <a:gd name="T22" fmla="*/ 9 w 160"/>
                  <a:gd name="T23" fmla="*/ 10 h 117"/>
                  <a:gd name="T24" fmla="*/ 10 w 160"/>
                  <a:gd name="T25" fmla="*/ 11 h 117"/>
                  <a:gd name="T26" fmla="*/ 11 w 160"/>
                  <a:gd name="T27" fmla="*/ 12 h 117"/>
                  <a:gd name="T28" fmla="*/ 12 w 160"/>
                  <a:gd name="T29" fmla="*/ 12 h 117"/>
                  <a:gd name="T30" fmla="*/ 13 w 160"/>
                  <a:gd name="T31" fmla="*/ 12 h 117"/>
                  <a:gd name="T32" fmla="*/ 13 w 160"/>
                  <a:gd name="T33" fmla="*/ 12 h 117"/>
                  <a:gd name="T34" fmla="*/ 14 w 160"/>
                  <a:gd name="T35" fmla="*/ 12 h 117"/>
                  <a:gd name="T36" fmla="*/ 15 w 160"/>
                  <a:gd name="T37" fmla="*/ 12 h 117"/>
                  <a:gd name="T38" fmla="*/ 16 w 160"/>
                  <a:gd name="T39" fmla="*/ 12 h 117"/>
                  <a:gd name="T40" fmla="*/ 16 w 160"/>
                  <a:gd name="T41" fmla="*/ 11 h 117"/>
                  <a:gd name="T42" fmla="*/ 15 w 160"/>
                  <a:gd name="T43" fmla="*/ 10 h 117"/>
                  <a:gd name="T44" fmla="*/ 14 w 160"/>
                  <a:gd name="T45" fmla="*/ 8 h 117"/>
                  <a:gd name="T46" fmla="*/ 14 w 160"/>
                  <a:gd name="T47" fmla="*/ 8 h 117"/>
                  <a:gd name="T48" fmla="*/ 14 w 160"/>
                  <a:gd name="T49" fmla="*/ 7 h 117"/>
                  <a:gd name="T50" fmla="*/ 13 w 160"/>
                  <a:gd name="T51" fmla="*/ 6 h 117"/>
                  <a:gd name="T52" fmla="*/ 13 w 160"/>
                  <a:gd name="T53" fmla="*/ 5 h 117"/>
                  <a:gd name="T54" fmla="*/ 13 w 160"/>
                  <a:gd name="T55" fmla="*/ 5 h 117"/>
                  <a:gd name="T56" fmla="*/ 12 w 160"/>
                  <a:gd name="T57" fmla="*/ 5 h 117"/>
                  <a:gd name="T58" fmla="*/ 11 w 160"/>
                  <a:gd name="T59" fmla="*/ 4 h 117"/>
                  <a:gd name="T60" fmla="*/ 10 w 160"/>
                  <a:gd name="T61" fmla="*/ 4 h 117"/>
                  <a:gd name="T62" fmla="*/ 9 w 160"/>
                  <a:gd name="T63" fmla="*/ 3 h 117"/>
                  <a:gd name="T64" fmla="*/ 8 w 160"/>
                  <a:gd name="T65" fmla="*/ 2 h 117"/>
                  <a:gd name="T66" fmla="*/ 8 w 160"/>
                  <a:gd name="T67" fmla="*/ 2 h 117"/>
                  <a:gd name="T68" fmla="*/ 7 w 160"/>
                  <a:gd name="T69" fmla="*/ 1 h 117"/>
                  <a:gd name="T70" fmla="*/ 7 w 160"/>
                  <a:gd name="T71" fmla="*/ 1 h 117"/>
                  <a:gd name="T72" fmla="*/ 7 w 160"/>
                  <a:gd name="T73" fmla="*/ 1 h 117"/>
                  <a:gd name="T74" fmla="*/ 6 w 160"/>
                  <a:gd name="T75" fmla="*/ 1 h 117"/>
                  <a:gd name="T76" fmla="*/ 5 w 160"/>
                  <a:gd name="T77" fmla="*/ 1 h 117"/>
                  <a:gd name="T78" fmla="*/ 4 w 160"/>
                  <a:gd name="T79" fmla="*/ 0 h 117"/>
                  <a:gd name="T80" fmla="*/ 4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9" name="Freeform 419">
                <a:extLst>
                  <a:ext uri="{FF2B5EF4-FFF2-40B4-BE49-F238E27FC236}">
                    <a16:creationId xmlns:a16="http://schemas.microsoft.com/office/drawing/2014/main" id="{7B94FDCD-9B4B-401C-9034-26BA4F65B503}"/>
                  </a:ext>
                </a:extLst>
              </p:cNvPr>
              <p:cNvSpPr>
                <a:spLocks/>
              </p:cNvSpPr>
              <p:nvPr/>
            </p:nvSpPr>
            <p:spPr bwMode="auto">
              <a:xfrm>
                <a:off x="527" y="1592"/>
                <a:ext cx="26" cy="46"/>
              </a:xfrm>
              <a:custGeom>
                <a:avLst/>
                <a:gdLst>
                  <a:gd name="T0" fmla="*/ 4 w 80"/>
                  <a:gd name="T1" fmla="*/ 13 h 141"/>
                  <a:gd name="T2" fmla="*/ 8 w 80"/>
                  <a:gd name="T3" fmla="*/ 4 h 141"/>
                  <a:gd name="T4" fmla="*/ 8 w 80"/>
                  <a:gd name="T5" fmla="*/ 2 h 141"/>
                  <a:gd name="T6" fmla="*/ 7 w 80"/>
                  <a:gd name="T7" fmla="*/ 2 h 141"/>
                  <a:gd name="T8" fmla="*/ 6 w 80"/>
                  <a:gd name="T9" fmla="*/ 2 h 141"/>
                  <a:gd name="T10" fmla="*/ 6 w 80"/>
                  <a:gd name="T11" fmla="*/ 2 h 141"/>
                  <a:gd name="T12" fmla="*/ 5 w 80"/>
                  <a:gd name="T13" fmla="*/ 1 h 141"/>
                  <a:gd name="T14" fmla="*/ 5 w 80"/>
                  <a:gd name="T15" fmla="*/ 1 h 141"/>
                  <a:gd name="T16" fmla="*/ 5 w 80"/>
                  <a:gd name="T17" fmla="*/ 1 h 141"/>
                  <a:gd name="T18" fmla="*/ 4 w 80"/>
                  <a:gd name="T19" fmla="*/ 0 h 141"/>
                  <a:gd name="T20" fmla="*/ 4 w 80"/>
                  <a:gd name="T21" fmla="*/ 0 h 141"/>
                  <a:gd name="T22" fmla="*/ 0 w 80"/>
                  <a:gd name="T23" fmla="*/ 0 h 141"/>
                  <a:gd name="T24" fmla="*/ 0 w 80"/>
                  <a:gd name="T25" fmla="*/ 3 h 141"/>
                  <a:gd name="T26" fmla="*/ 0 w 80"/>
                  <a:gd name="T27" fmla="*/ 4 h 141"/>
                  <a:gd name="T28" fmla="*/ 0 w 80"/>
                  <a:gd name="T29" fmla="*/ 6 h 141"/>
                  <a:gd name="T30" fmla="*/ 0 w 80"/>
                  <a:gd name="T31" fmla="*/ 7 h 141"/>
                  <a:gd name="T32" fmla="*/ 0 w 80"/>
                  <a:gd name="T33" fmla="*/ 8 h 141"/>
                  <a:gd name="T34" fmla="*/ 0 w 80"/>
                  <a:gd name="T35" fmla="*/ 8 h 141"/>
                  <a:gd name="T36" fmla="*/ 1 w 80"/>
                  <a:gd name="T37" fmla="*/ 9 h 141"/>
                  <a:gd name="T38" fmla="*/ 1 w 80"/>
                  <a:gd name="T39" fmla="*/ 10 h 141"/>
                  <a:gd name="T40" fmla="*/ 2 w 80"/>
                  <a:gd name="T41" fmla="*/ 13 h 141"/>
                  <a:gd name="T42" fmla="*/ 3 w 80"/>
                  <a:gd name="T43" fmla="*/ 15 h 141"/>
                  <a:gd name="T44" fmla="*/ 3 w 80"/>
                  <a:gd name="T45" fmla="*/ 14 h 141"/>
                  <a:gd name="T46" fmla="*/ 4 w 80"/>
                  <a:gd name="T47" fmla="*/ 14 h 141"/>
                  <a:gd name="T48" fmla="*/ 4 w 80"/>
                  <a:gd name="T49" fmla="*/ 13 h 141"/>
                  <a:gd name="T50" fmla="*/ 4 w 80"/>
                  <a:gd name="T51" fmla="*/ 13 h 141"/>
                  <a:gd name="T52" fmla="*/ 4 w 80"/>
                  <a:gd name="T53" fmla="*/ 13 h 141"/>
                  <a:gd name="T54" fmla="*/ 4 w 80"/>
                  <a:gd name="T55" fmla="*/ 13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0" name="Freeform 420">
                <a:extLst>
                  <a:ext uri="{FF2B5EF4-FFF2-40B4-BE49-F238E27FC236}">
                    <a16:creationId xmlns:a16="http://schemas.microsoft.com/office/drawing/2014/main" id="{5EFD3EC9-3513-451A-8A01-514E79B4E186}"/>
                  </a:ext>
                </a:extLst>
              </p:cNvPr>
              <p:cNvSpPr>
                <a:spLocks/>
              </p:cNvSpPr>
              <p:nvPr/>
            </p:nvSpPr>
            <p:spPr bwMode="auto">
              <a:xfrm>
                <a:off x="1379" y="1383"/>
                <a:ext cx="83" cy="41"/>
              </a:xfrm>
              <a:custGeom>
                <a:avLst/>
                <a:gdLst>
                  <a:gd name="T0" fmla="*/ 0 w 259"/>
                  <a:gd name="T1" fmla="*/ 10 h 124"/>
                  <a:gd name="T2" fmla="*/ 0 w 259"/>
                  <a:gd name="T3" fmla="*/ 11 h 124"/>
                  <a:gd name="T4" fmla="*/ 0 w 259"/>
                  <a:gd name="T5" fmla="*/ 11 h 124"/>
                  <a:gd name="T6" fmla="*/ 0 w 259"/>
                  <a:gd name="T7" fmla="*/ 11 h 124"/>
                  <a:gd name="T8" fmla="*/ 1 w 259"/>
                  <a:gd name="T9" fmla="*/ 12 h 124"/>
                  <a:gd name="T10" fmla="*/ 1 w 259"/>
                  <a:gd name="T11" fmla="*/ 12 h 124"/>
                  <a:gd name="T12" fmla="*/ 2 w 259"/>
                  <a:gd name="T13" fmla="*/ 13 h 124"/>
                  <a:gd name="T14" fmla="*/ 3 w 259"/>
                  <a:gd name="T15" fmla="*/ 13 h 124"/>
                  <a:gd name="T16" fmla="*/ 4 w 259"/>
                  <a:gd name="T17" fmla="*/ 13 h 124"/>
                  <a:gd name="T18" fmla="*/ 5 w 259"/>
                  <a:gd name="T19" fmla="*/ 14 h 124"/>
                  <a:gd name="T20" fmla="*/ 6 w 259"/>
                  <a:gd name="T21" fmla="*/ 14 h 124"/>
                  <a:gd name="T22" fmla="*/ 7 w 259"/>
                  <a:gd name="T23" fmla="*/ 14 h 124"/>
                  <a:gd name="T24" fmla="*/ 8 w 259"/>
                  <a:gd name="T25" fmla="*/ 14 h 124"/>
                  <a:gd name="T26" fmla="*/ 8 w 259"/>
                  <a:gd name="T27" fmla="*/ 13 h 124"/>
                  <a:gd name="T28" fmla="*/ 9 w 259"/>
                  <a:gd name="T29" fmla="*/ 13 h 124"/>
                  <a:gd name="T30" fmla="*/ 10 w 259"/>
                  <a:gd name="T31" fmla="*/ 13 h 124"/>
                  <a:gd name="T32" fmla="*/ 11 w 259"/>
                  <a:gd name="T33" fmla="*/ 12 h 124"/>
                  <a:gd name="T34" fmla="*/ 12 w 259"/>
                  <a:gd name="T35" fmla="*/ 11 h 124"/>
                  <a:gd name="T36" fmla="*/ 13 w 259"/>
                  <a:gd name="T37" fmla="*/ 11 h 124"/>
                  <a:gd name="T38" fmla="*/ 13 w 259"/>
                  <a:gd name="T39" fmla="*/ 11 h 124"/>
                  <a:gd name="T40" fmla="*/ 14 w 259"/>
                  <a:gd name="T41" fmla="*/ 10 h 124"/>
                  <a:gd name="T42" fmla="*/ 15 w 259"/>
                  <a:gd name="T43" fmla="*/ 10 h 124"/>
                  <a:gd name="T44" fmla="*/ 16 w 259"/>
                  <a:gd name="T45" fmla="*/ 10 h 124"/>
                  <a:gd name="T46" fmla="*/ 17 w 259"/>
                  <a:gd name="T47" fmla="*/ 10 h 124"/>
                  <a:gd name="T48" fmla="*/ 18 w 259"/>
                  <a:gd name="T49" fmla="*/ 11 h 124"/>
                  <a:gd name="T50" fmla="*/ 19 w 259"/>
                  <a:gd name="T51" fmla="*/ 11 h 124"/>
                  <a:gd name="T52" fmla="*/ 19 w 259"/>
                  <a:gd name="T53" fmla="*/ 11 h 124"/>
                  <a:gd name="T54" fmla="*/ 21 w 259"/>
                  <a:gd name="T55" fmla="*/ 12 h 124"/>
                  <a:gd name="T56" fmla="*/ 22 w 259"/>
                  <a:gd name="T57" fmla="*/ 13 h 124"/>
                  <a:gd name="T58" fmla="*/ 27 w 259"/>
                  <a:gd name="T59" fmla="*/ 13 h 124"/>
                  <a:gd name="T60" fmla="*/ 27 w 259"/>
                  <a:gd name="T61" fmla="*/ 11 h 124"/>
                  <a:gd name="T62" fmla="*/ 26 w 259"/>
                  <a:gd name="T63" fmla="*/ 11 h 124"/>
                  <a:gd name="T64" fmla="*/ 25 w 259"/>
                  <a:gd name="T65" fmla="*/ 11 h 124"/>
                  <a:gd name="T66" fmla="*/ 24 w 259"/>
                  <a:gd name="T67" fmla="*/ 10 h 124"/>
                  <a:gd name="T68" fmla="*/ 23 w 259"/>
                  <a:gd name="T69" fmla="*/ 10 h 124"/>
                  <a:gd name="T70" fmla="*/ 24 w 259"/>
                  <a:gd name="T71" fmla="*/ 9 h 124"/>
                  <a:gd name="T72" fmla="*/ 24 w 259"/>
                  <a:gd name="T73" fmla="*/ 9 h 124"/>
                  <a:gd name="T74" fmla="*/ 25 w 259"/>
                  <a:gd name="T75" fmla="*/ 8 h 124"/>
                  <a:gd name="T76" fmla="*/ 25 w 259"/>
                  <a:gd name="T77" fmla="*/ 8 h 124"/>
                  <a:gd name="T78" fmla="*/ 24 w 259"/>
                  <a:gd name="T79" fmla="*/ 7 h 124"/>
                  <a:gd name="T80" fmla="*/ 24 w 259"/>
                  <a:gd name="T81" fmla="*/ 6 h 124"/>
                  <a:gd name="T82" fmla="*/ 23 w 259"/>
                  <a:gd name="T83" fmla="*/ 6 h 124"/>
                  <a:gd name="T84" fmla="*/ 22 w 259"/>
                  <a:gd name="T85" fmla="*/ 5 h 124"/>
                  <a:gd name="T86" fmla="*/ 20 w 259"/>
                  <a:gd name="T87" fmla="*/ 4 h 124"/>
                  <a:gd name="T88" fmla="*/ 19 w 259"/>
                  <a:gd name="T89" fmla="*/ 3 h 124"/>
                  <a:gd name="T90" fmla="*/ 17 w 259"/>
                  <a:gd name="T91" fmla="*/ 3 h 124"/>
                  <a:gd name="T92" fmla="*/ 16 w 259"/>
                  <a:gd name="T93" fmla="*/ 2 h 124"/>
                  <a:gd name="T94" fmla="*/ 15 w 259"/>
                  <a:gd name="T95" fmla="*/ 1 h 124"/>
                  <a:gd name="T96" fmla="*/ 14 w 259"/>
                  <a:gd name="T97" fmla="*/ 1 h 124"/>
                  <a:gd name="T98" fmla="*/ 14 w 259"/>
                  <a:gd name="T99" fmla="*/ 1 h 124"/>
                  <a:gd name="T100" fmla="*/ 13 w 259"/>
                  <a:gd name="T101" fmla="*/ 0 h 124"/>
                  <a:gd name="T102" fmla="*/ 13 w 259"/>
                  <a:gd name="T103" fmla="*/ 0 h 124"/>
                  <a:gd name="T104" fmla="*/ 12 w 259"/>
                  <a:gd name="T105" fmla="*/ 1 h 124"/>
                  <a:gd name="T106" fmla="*/ 11 w 259"/>
                  <a:gd name="T107" fmla="*/ 1 h 124"/>
                  <a:gd name="T108" fmla="*/ 10 w 259"/>
                  <a:gd name="T109" fmla="*/ 2 h 124"/>
                  <a:gd name="T110" fmla="*/ 8 w 259"/>
                  <a:gd name="T111" fmla="*/ 3 h 124"/>
                  <a:gd name="T112" fmla="*/ 6 w 259"/>
                  <a:gd name="T113" fmla="*/ 5 h 124"/>
                  <a:gd name="T114" fmla="*/ 4 w 259"/>
                  <a:gd name="T115" fmla="*/ 6 h 124"/>
                  <a:gd name="T116" fmla="*/ 2 w 259"/>
                  <a:gd name="T117" fmla="*/ 8 h 124"/>
                  <a:gd name="T118" fmla="*/ 1 w 259"/>
                  <a:gd name="T119" fmla="*/ 9 h 124"/>
                  <a:gd name="T120" fmla="*/ 0 w 259"/>
                  <a:gd name="T121" fmla="*/ 1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1" name="Freeform 421">
                <a:extLst>
                  <a:ext uri="{FF2B5EF4-FFF2-40B4-BE49-F238E27FC236}">
                    <a16:creationId xmlns:a16="http://schemas.microsoft.com/office/drawing/2014/main" id="{820923C6-6685-4BDD-A171-A2B7EA5619A8}"/>
                  </a:ext>
                </a:extLst>
              </p:cNvPr>
              <p:cNvSpPr>
                <a:spLocks/>
              </p:cNvSpPr>
              <p:nvPr/>
            </p:nvSpPr>
            <p:spPr bwMode="auto">
              <a:xfrm>
                <a:off x="1509" y="1389"/>
                <a:ext cx="38" cy="19"/>
              </a:xfrm>
              <a:custGeom>
                <a:avLst/>
                <a:gdLst>
                  <a:gd name="T0" fmla="*/ 0 w 119"/>
                  <a:gd name="T1" fmla="*/ 4 h 57"/>
                  <a:gd name="T2" fmla="*/ 1 w 119"/>
                  <a:gd name="T3" fmla="*/ 4 h 57"/>
                  <a:gd name="T4" fmla="*/ 1 w 119"/>
                  <a:gd name="T5" fmla="*/ 4 h 57"/>
                  <a:gd name="T6" fmla="*/ 2 w 119"/>
                  <a:gd name="T7" fmla="*/ 5 h 57"/>
                  <a:gd name="T8" fmla="*/ 3 w 119"/>
                  <a:gd name="T9" fmla="*/ 5 h 57"/>
                  <a:gd name="T10" fmla="*/ 3 w 119"/>
                  <a:gd name="T11" fmla="*/ 6 h 57"/>
                  <a:gd name="T12" fmla="*/ 4 w 119"/>
                  <a:gd name="T13" fmla="*/ 6 h 57"/>
                  <a:gd name="T14" fmla="*/ 4 w 119"/>
                  <a:gd name="T15" fmla="*/ 6 h 57"/>
                  <a:gd name="T16" fmla="*/ 5 w 119"/>
                  <a:gd name="T17" fmla="*/ 6 h 57"/>
                  <a:gd name="T18" fmla="*/ 6 w 119"/>
                  <a:gd name="T19" fmla="*/ 6 h 57"/>
                  <a:gd name="T20" fmla="*/ 6 w 119"/>
                  <a:gd name="T21" fmla="*/ 6 h 57"/>
                  <a:gd name="T22" fmla="*/ 7 w 119"/>
                  <a:gd name="T23" fmla="*/ 6 h 57"/>
                  <a:gd name="T24" fmla="*/ 8 w 119"/>
                  <a:gd name="T25" fmla="*/ 6 h 57"/>
                  <a:gd name="T26" fmla="*/ 9 w 119"/>
                  <a:gd name="T27" fmla="*/ 6 h 57"/>
                  <a:gd name="T28" fmla="*/ 9 w 119"/>
                  <a:gd name="T29" fmla="*/ 5 h 57"/>
                  <a:gd name="T30" fmla="*/ 10 w 119"/>
                  <a:gd name="T31" fmla="*/ 5 h 57"/>
                  <a:gd name="T32" fmla="*/ 10 w 119"/>
                  <a:gd name="T33" fmla="*/ 4 h 57"/>
                  <a:gd name="T34" fmla="*/ 11 w 119"/>
                  <a:gd name="T35" fmla="*/ 4 h 57"/>
                  <a:gd name="T36" fmla="*/ 11 w 119"/>
                  <a:gd name="T37" fmla="*/ 3 h 57"/>
                  <a:gd name="T38" fmla="*/ 12 w 119"/>
                  <a:gd name="T39" fmla="*/ 1 h 57"/>
                  <a:gd name="T40" fmla="*/ 12 w 119"/>
                  <a:gd name="T41" fmla="*/ 0 h 57"/>
                  <a:gd name="T42" fmla="*/ 10 w 119"/>
                  <a:gd name="T43" fmla="*/ 0 h 57"/>
                  <a:gd name="T44" fmla="*/ 8 w 119"/>
                  <a:gd name="T45" fmla="*/ 0 h 57"/>
                  <a:gd name="T46" fmla="*/ 6 w 119"/>
                  <a:gd name="T47" fmla="*/ 0 h 57"/>
                  <a:gd name="T48" fmla="*/ 4 w 119"/>
                  <a:gd name="T49" fmla="*/ 1 h 57"/>
                  <a:gd name="T50" fmla="*/ 4 w 119"/>
                  <a:gd name="T51" fmla="*/ 1 h 57"/>
                  <a:gd name="T52" fmla="*/ 3 w 119"/>
                  <a:gd name="T53" fmla="*/ 1 h 57"/>
                  <a:gd name="T54" fmla="*/ 2 w 119"/>
                  <a:gd name="T55" fmla="*/ 1 h 57"/>
                  <a:gd name="T56" fmla="*/ 2 w 119"/>
                  <a:gd name="T57" fmla="*/ 2 h 57"/>
                  <a:gd name="T58" fmla="*/ 1 w 119"/>
                  <a:gd name="T59" fmla="*/ 2 h 57"/>
                  <a:gd name="T60" fmla="*/ 1 w 119"/>
                  <a:gd name="T61" fmla="*/ 3 h 57"/>
                  <a:gd name="T62" fmla="*/ 0 w 119"/>
                  <a:gd name="T63" fmla="*/ 3 h 57"/>
                  <a:gd name="T64" fmla="*/ 0 w 119"/>
                  <a:gd name="T65" fmla="*/ 4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2" name="Freeform 422">
                <a:extLst>
                  <a:ext uri="{FF2B5EF4-FFF2-40B4-BE49-F238E27FC236}">
                    <a16:creationId xmlns:a16="http://schemas.microsoft.com/office/drawing/2014/main" id="{B398FE91-C8D5-457C-9BFB-EE6F32D9FE7F}"/>
                  </a:ext>
                </a:extLst>
              </p:cNvPr>
              <p:cNvSpPr>
                <a:spLocks/>
              </p:cNvSpPr>
              <p:nvPr/>
            </p:nvSpPr>
            <p:spPr bwMode="auto">
              <a:xfrm>
                <a:off x="1554" y="1335"/>
                <a:ext cx="34" cy="17"/>
              </a:xfrm>
              <a:custGeom>
                <a:avLst/>
                <a:gdLst>
                  <a:gd name="T0" fmla="*/ 0 w 107"/>
                  <a:gd name="T1" fmla="*/ 5 h 52"/>
                  <a:gd name="T2" fmla="*/ 1 w 107"/>
                  <a:gd name="T3" fmla="*/ 6 h 52"/>
                  <a:gd name="T4" fmla="*/ 1 w 107"/>
                  <a:gd name="T5" fmla="*/ 6 h 52"/>
                  <a:gd name="T6" fmla="*/ 1 w 107"/>
                  <a:gd name="T7" fmla="*/ 6 h 52"/>
                  <a:gd name="T8" fmla="*/ 2 w 107"/>
                  <a:gd name="T9" fmla="*/ 6 h 52"/>
                  <a:gd name="T10" fmla="*/ 3 w 107"/>
                  <a:gd name="T11" fmla="*/ 5 h 52"/>
                  <a:gd name="T12" fmla="*/ 3 w 107"/>
                  <a:gd name="T13" fmla="*/ 5 h 52"/>
                  <a:gd name="T14" fmla="*/ 4 w 107"/>
                  <a:gd name="T15" fmla="*/ 5 h 52"/>
                  <a:gd name="T16" fmla="*/ 5 w 107"/>
                  <a:gd name="T17" fmla="*/ 5 h 52"/>
                  <a:gd name="T18" fmla="*/ 6 w 107"/>
                  <a:gd name="T19" fmla="*/ 5 h 52"/>
                  <a:gd name="T20" fmla="*/ 7 w 107"/>
                  <a:gd name="T21" fmla="*/ 5 h 52"/>
                  <a:gd name="T22" fmla="*/ 8 w 107"/>
                  <a:gd name="T23" fmla="*/ 4 h 52"/>
                  <a:gd name="T24" fmla="*/ 9 w 107"/>
                  <a:gd name="T25" fmla="*/ 4 h 52"/>
                  <a:gd name="T26" fmla="*/ 10 w 107"/>
                  <a:gd name="T27" fmla="*/ 3 h 52"/>
                  <a:gd name="T28" fmla="*/ 11 w 107"/>
                  <a:gd name="T29" fmla="*/ 3 h 52"/>
                  <a:gd name="T30" fmla="*/ 11 w 107"/>
                  <a:gd name="T31" fmla="*/ 0 h 52"/>
                  <a:gd name="T32" fmla="*/ 10 w 107"/>
                  <a:gd name="T33" fmla="*/ 0 h 52"/>
                  <a:gd name="T34" fmla="*/ 9 w 107"/>
                  <a:gd name="T35" fmla="*/ 0 h 52"/>
                  <a:gd name="T36" fmla="*/ 7 w 107"/>
                  <a:gd name="T37" fmla="*/ 1 h 52"/>
                  <a:gd name="T38" fmla="*/ 6 w 107"/>
                  <a:gd name="T39" fmla="*/ 1 h 52"/>
                  <a:gd name="T40" fmla="*/ 4 w 107"/>
                  <a:gd name="T41" fmla="*/ 2 h 52"/>
                  <a:gd name="T42" fmla="*/ 3 w 107"/>
                  <a:gd name="T43" fmla="*/ 3 h 52"/>
                  <a:gd name="T44" fmla="*/ 2 w 107"/>
                  <a:gd name="T45" fmla="*/ 4 h 52"/>
                  <a:gd name="T46" fmla="*/ 1 w 107"/>
                  <a:gd name="T47" fmla="*/ 4 h 52"/>
                  <a:gd name="T48" fmla="*/ 1 w 107"/>
                  <a:gd name="T49" fmla="*/ 5 h 52"/>
                  <a:gd name="T50" fmla="*/ 0 w 107"/>
                  <a:gd name="T51" fmla="*/ 5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3" name="Freeform 423">
                <a:extLst>
                  <a:ext uri="{FF2B5EF4-FFF2-40B4-BE49-F238E27FC236}">
                    <a16:creationId xmlns:a16="http://schemas.microsoft.com/office/drawing/2014/main" id="{26FAB580-FC7A-4084-AF38-F47922A2C6E8}"/>
                  </a:ext>
                </a:extLst>
              </p:cNvPr>
              <p:cNvSpPr>
                <a:spLocks/>
              </p:cNvSpPr>
              <p:nvPr/>
            </p:nvSpPr>
            <p:spPr bwMode="auto">
              <a:xfrm>
                <a:off x="1381" y="1244"/>
                <a:ext cx="79" cy="32"/>
              </a:xfrm>
              <a:custGeom>
                <a:avLst/>
                <a:gdLst>
                  <a:gd name="T0" fmla="*/ 3 w 246"/>
                  <a:gd name="T1" fmla="*/ 10 h 99"/>
                  <a:gd name="T2" fmla="*/ 2 w 246"/>
                  <a:gd name="T3" fmla="*/ 10 h 99"/>
                  <a:gd name="T4" fmla="*/ 2 w 246"/>
                  <a:gd name="T5" fmla="*/ 10 h 99"/>
                  <a:gd name="T6" fmla="*/ 1 w 246"/>
                  <a:gd name="T7" fmla="*/ 10 h 99"/>
                  <a:gd name="T8" fmla="*/ 1 w 246"/>
                  <a:gd name="T9" fmla="*/ 9 h 99"/>
                  <a:gd name="T10" fmla="*/ 1 w 246"/>
                  <a:gd name="T11" fmla="*/ 9 h 99"/>
                  <a:gd name="T12" fmla="*/ 0 w 246"/>
                  <a:gd name="T13" fmla="*/ 9 h 99"/>
                  <a:gd name="T14" fmla="*/ 0 w 246"/>
                  <a:gd name="T15" fmla="*/ 8 h 99"/>
                  <a:gd name="T16" fmla="*/ 0 w 246"/>
                  <a:gd name="T17" fmla="*/ 8 h 99"/>
                  <a:gd name="T18" fmla="*/ 0 w 246"/>
                  <a:gd name="T19" fmla="*/ 7 h 99"/>
                  <a:gd name="T20" fmla="*/ 0 w 246"/>
                  <a:gd name="T21" fmla="*/ 7 h 99"/>
                  <a:gd name="T22" fmla="*/ 0 w 246"/>
                  <a:gd name="T23" fmla="*/ 6 h 99"/>
                  <a:gd name="T24" fmla="*/ 1 w 246"/>
                  <a:gd name="T25" fmla="*/ 6 h 99"/>
                  <a:gd name="T26" fmla="*/ 1 w 246"/>
                  <a:gd name="T27" fmla="*/ 5 h 99"/>
                  <a:gd name="T28" fmla="*/ 2 w 246"/>
                  <a:gd name="T29" fmla="*/ 4 h 99"/>
                  <a:gd name="T30" fmla="*/ 3 w 246"/>
                  <a:gd name="T31" fmla="*/ 4 h 99"/>
                  <a:gd name="T32" fmla="*/ 4 w 246"/>
                  <a:gd name="T33" fmla="*/ 3 h 99"/>
                  <a:gd name="T34" fmla="*/ 5 w 246"/>
                  <a:gd name="T35" fmla="*/ 2 h 99"/>
                  <a:gd name="T36" fmla="*/ 6 w 246"/>
                  <a:gd name="T37" fmla="*/ 2 h 99"/>
                  <a:gd name="T38" fmla="*/ 7 w 246"/>
                  <a:gd name="T39" fmla="*/ 2 h 99"/>
                  <a:gd name="T40" fmla="*/ 8 w 246"/>
                  <a:gd name="T41" fmla="*/ 1 h 99"/>
                  <a:gd name="T42" fmla="*/ 10 w 246"/>
                  <a:gd name="T43" fmla="*/ 1 h 99"/>
                  <a:gd name="T44" fmla="*/ 11 w 246"/>
                  <a:gd name="T45" fmla="*/ 0 h 99"/>
                  <a:gd name="T46" fmla="*/ 13 w 246"/>
                  <a:gd name="T47" fmla="*/ 0 h 99"/>
                  <a:gd name="T48" fmla="*/ 14 w 246"/>
                  <a:gd name="T49" fmla="*/ 0 h 99"/>
                  <a:gd name="T50" fmla="*/ 17 w 246"/>
                  <a:gd name="T51" fmla="*/ 0 h 99"/>
                  <a:gd name="T52" fmla="*/ 20 w 246"/>
                  <a:gd name="T53" fmla="*/ 0 h 99"/>
                  <a:gd name="T54" fmla="*/ 22 w 246"/>
                  <a:gd name="T55" fmla="*/ 0 h 99"/>
                  <a:gd name="T56" fmla="*/ 25 w 246"/>
                  <a:gd name="T57" fmla="*/ 1 h 99"/>
                  <a:gd name="T58" fmla="*/ 25 w 246"/>
                  <a:gd name="T59" fmla="*/ 1 h 99"/>
                  <a:gd name="T60" fmla="*/ 25 w 246"/>
                  <a:gd name="T61" fmla="*/ 2 h 99"/>
                  <a:gd name="T62" fmla="*/ 24 w 246"/>
                  <a:gd name="T63" fmla="*/ 2 h 99"/>
                  <a:gd name="T64" fmla="*/ 24 w 246"/>
                  <a:gd name="T65" fmla="*/ 3 h 99"/>
                  <a:gd name="T66" fmla="*/ 22 w 246"/>
                  <a:gd name="T67" fmla="*/ 4 h 99"/>
                  <a:gd name="T68" fmla="*/ 21 w 246"/>
                  <a:gd name="T69" fmla="*/ 5 h 99"/>
                  <a:gd name="T70" fmla="*/ 19 w 246"/>
                  <a:gd name="T71" fmla="*/ 6 h 99"/>
                  <a:gd name="T72" fmla="*/ 17 w 246"/>
                  <a:gd name="T73" fmla="*/ 6 h 99"/>
                  <a:gd name="T74" fmla="*/ 16 w 246"/>
                  <a:gd name="T75" fmla="*/ 7 h 99"/>
                  <a:gd name="T76" fmla="*/ 15 w 246"/>
                  <a:gd name="T77" fmla="*/ 7 h 99"/>
                  <a:gd name="T78" fmla="*/ 14 w 246"/>
                  <a:gd name="T79" fmla="*/ 7 h 99"/>
                  <a:gd name="T80" fmla="*/ 13 w 246"/>
                  <a:gd name="T81" fmla="*/ 7 h 99"/>
                  <a:gd name="T82" fmla="*/ 13 w 246"/>
                  <a:gd name="T83" fmla="*/ 7 h 99"/>
                  <a:gd name="T84" fmla="*/ 11 w 246"/>
                  <a:gd name="T85" fmla="*/ 7 h 99"/>
                  <a:gd name="T86" fmla="*/ 10 w 246"/>
                  <a:gd name="T87" fmla="*/ 7 h 99"/>
                  <a:gd name="T88" fmla="*/ 10 w 246"/>
                  <a:gd name="T89" fmla="*/ 7 h 99"/>
                  <a:gd name="T90" fmla="*/ 9 w 246"/>
                  <a:gd name="T91" fmla="*/ 7 h 99"/>
                  <a:gd name="T92" fmla="*/ 8 w 246"/>
                  <a:gd name="T93" fmla="*/ 7 h 99"/>
                  <a:gd name="T94" fmla="*/ 7 w 246"/>
                  <a:gd name="T95" fmla="*/ 8 h 99"/>
                  <a:gd name="T96" fmla="*/ 6 w 246"/>
                  <a:gd name="T97" fmla="*/ 9 h 99"/>
                  <a:gd name="T98" fmla="*/ 5 w 246"/>
                  <a:gd name="T99" fmla="*/ 9 h 99"/>
                  <a:gd name="T100" fmla="*/ 4 w 246"/>
                  <a:gd name="T101" fmla="*/ 10 h 99"/>
                  <a:gd name="T102" fmla="*/ 4 w 246"/>
                  <a:gd name="T103" fmla="*/ 10 h 99"/>
                  <a:gd name="T104" fmla="*/ 3 w 246"/>
                  <a:gd name="T105" fmla="*/ 1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4" name="Freeform 424">
                <a:extLst>
                  <a:ext uri="{FF2B5EF4-FFF2-40B4-BE49-F238E27FC236}">
                    <a16:creationId xmlns:a16="http://schemas.microsoft.com/office/drawing/2014/main" id="{4EEA5F96-B9C2-46E1-A9A4-DEB207A643C4}"/>
                  </a:ext>
                </a:extLst>
              </p:cNvPr>
              <p:cNvSpPr>
                <a:spLocks/>
              </p:cNvSpPr>
              <p:nvPr/>
            </p:nvSpPr>
            <p:spPr bwMode="auto">
              <a:xfrm>
                <a:off x="1294" y="1248"/>
                <a:ext cx="76" cy="40"/>
              </a:xfrm>
              <a:custGeom>
                <a:avLst/>
                <a:gdLst>
                  <a:gd name="T0" fmla="*/ 4 w 233"/>
                  <a:gd name="T1" fmla="*/ 9 h 123"/>
                  <a:gd name="T2" fmla="*/ 1 w 233"/>
                  <a:gd name="T3" fmla="*/ 8 h 123"/>
                  <a:gd name="T4" fmla="*/ 0 w 233"/>
                  <a:gd name="T5" fmla="*/ 6 h 123"/>
                  <a:gd name="T6" fmla="*/ 2 w 233"/>
                  <a:gd name="T7" fmla="*/ 4 h 123"/>
                  <a:gd name="T8" fmla="*/ 4 w 233"/>
                  <a:gd name="T9" fmla="*/ 4 h 123"/>
                  <a:gd name="T10" fmla="*/ 7 w 233"/>
                  <a:gd name="T11" fmla="*/ 4 h 123"/>
                  <a:gd name="T12" fmla="*/ 8 w 233"/>
                  <a:gd name="T13" fmla="*/ 4 h 123"/>
                  <a:gd name="T14" fmla="*/ 9 w 233"/>
                  <a:gd name="T15" fmla="*/ 4 h 123"/>
                  <a:gd name="T16" fmla="*/ 11 w 233"/>
                  <a:gd name="T17" fmla="*/ 2 h 123"/>
                  <a:gd name="T18" fmla="*/ 13 w 233"/>
                  <a:gd name="T19" fmla="*/ 1 h 123"/>
                  <a:gd name="T20" fmla="*/ 16 w 233"/>
                  <a:gd name="T21" fmla="*/ 0 h 123"/>
                  <a:gd name="T22" fmla="*/ 17 w 233"/>
                  <a:gd name="T23" fmla="*/ 1 h 123"/>
                  <a:gd name="T24" fmla="*/ 19 w 233"/>
                  <a:gd name="T25" fmla="*/ 1 h 123"/>
                  <a:gd name="T26" fmla="*/ 20 w 233"/>
                  <a:gd name="T27" fmla="*/ 1 h 123"/>
                  <a:gd name="T28" fmla="*/ 22 w 233"/>
                  <a:gd name="T29" fmla="*/ 1 h 123"/>
                  <a:gd name="T30" fmla="*/ 23 w 233"/>
                  <a:gd name="T31" fmla="*/ 0 h 123"/>
                  <a:gd name="T32" fmla="*/ 25 w 233"/>
                  <a:gd name="T33" fmla="*/ 1 h 123"/>
                  <a:gd name="T34" fmla="*/ 24 w 233"/>
                  <a:gd name="T35" fmla="*/ 2 h 123"/>
                  <a:gd name="T36" fmla="*/ 23 w 233"/>
                  <a:gd name="T37" fmla="*/ 3 h 123"/>
                  <a:gd name="T38" fmla="*/ 22 w 233"/>
                  <a:gd name="T39" fmla="*/ 3 h 123"/>
                  <a:gd name="T40" fmla="*/ 22 w 233"/>
                  <a:gd name="T41" fmla="*/ 5 h 123"/>
                  <a:gd name="T42" fmla="*/ 22 w 233"/>
                  <a:gd name="T43" fmla="*/ 7 h 123"/>
                  <a:gd name="T44" fmla="*/ 20 w 233"/>
                  <a:gd name="T45" fmla="*/ 9 h 123"/>
                  <a:gd name="T46" fmla="*/ 17 w 233"/>
                  <a:gd name="T47" fmla="*/ 10 h 123"/>
                  <a:gd name="T48" fmla="*/ 15 w 233"/>
                  <a:gd name="T49" fmla="*/ 10 h 123"/>
                  <a:gd name="T50" fmla="*/ 12 w 233"/>
                  <a:gd name="T51" fmla="*/ 11 h 123"/>
                  <a:gd name="T52" fmla="*/ 10 w 233"/>
                  <a:gd name="T53" fmla="*/ 11 h 123"/>
                  <a:gd name="T54" fmla="*/ 9 w 233"/>
                  <a:gd name="T55" fmla="*/ 12 h 123"/>
                  <a:gd name="T56" fmla="*/ 7 w 233"/>
                  <a:gd name="T57" fmla="*/ 13 h 123"/>
                  <a:gd name="T58" fmla="*/ 6 w 233"/>
                  <a:gd name="T59" fmla="*/ 13 h 123"/>
                  <a:gd name="T60" fmla="*/ 6 w 233"/>
                  <a:gd name="T61" fmla="*/ 12 h 123"/>
                  <a:gd name="T62" fmla="*/ 5 w 233"/>
                  <a:gd name="T63" fmla="*/ 11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5" name="Freeform 425">
                <a:extLst>
                  <a:ext uri="{FF2B5EF4-FFF2-40B4-BE49-F238E27FC236}">
                    <a16:creationId xmlns:a16="http://schemas.microsoft.com/office/drawing/2014/main" id="{704D5890-196F-4F63-BBE9-4087AD47D5A4}"/>
                  </a:ext>
                </a:extLst>
              </p:cNvPr>
              <p:cNvSpPr>
                <a:spLocks/>
              </p:cNvSpPr>
              <p:nvPr/>
            </p:nvSpPr>
            <p:spPr bwMode="auto">
              <a:xfrm>
                <a:off x="983" y="1236"/>
                <a:ext cx="157" cy="56"/>
              </a:xfrm>
              <a:custGeom>
                <a:avLst/>
                <a:gdLst>
                  <a:gd name="T0" fmla="*/ 0 w 484"/>
                  <a:gd name="T1" fmla="*/ 16 h 172"/>
                  <a:gd name="T2" fmla="*/ 0 w 484"/>
                  <a:gd name="T3" fmla="*/ 17 h 172"/>
                  <a:gd name="T4" fmla="*/ 1 w 484"/>
                  <a:gd name="T5" fmla="*/ 17 h 172"/>
                  <a:gd name="T6" fmla="*/ 2 w 484"/>
                  <a:gd name="T7" fmla="*/ 18 h 172"/>
                  <a:gd name="T8" fmla="*/ 3 w 484"/>
                  <a:gd name="T9" fmla="*/ 18 h 172"/>
                  <a:gd name="T10" fmla="*/ 6 w 484"/>
                  <a:gd name="T11" fmla="*/ 18 h 172"/>
                  <a:gd name="T12" fmla="*/ 8 w 484"/>
                  <a:gd name="T13" fmla="*/ 18 h 172"/>
                  <a:gd name="T14" fmla="*/ 10 w 484"/>
                  <a:gd name="T15" fmla="*/ 18 h 172"/>
                  <a:gd name="T16" fmla="*/ 15 w 484"/>
                  <a:gd name="T17" fmla="*/ 17 h 172"/>
                  <a:gd name="T18" fmla="*/ 20 w 484"/>
                  <a:gd name="T19" fmla="*/ 14 h 172"/>
                  <a:gd name="T20" fmla="*/ 25 w 484"/>
                  <a:gd name="T21" fmla="*/ 12 h 172"/>
                  <a:gd name="T22" fmla="*/ 30 w 484"/>
                  <a:gd name="T23" fmla="*/ 11 h 172"/>
                  <a:gd name="T24" fmla="*/ 37 w 484"/>
                  <a:gd name="T25" fmla="*/ 9 h 172"/>
                  <a:gd name="T26" fmla="*/ 42 w 484"/>
                  <a:gd name="T27" fmla="*/ 8 h 172"/>
                  <a:gd name="T28" fmla="*/ 46 w 484"/>
                  <a:gd name="T29" fmla="*/ 7 h 172"/>
                  <a:gd name="T30" fmla="*/ 49 w 484"/>
                  <a:gd name="T31" fmla="*/ 6 h 172"/>
                  <a:gd name="T32" fmla="*/ 50 w 484"/>
                  <a:gd name="T33" fmla="*/ 5 h 172"/>
                  <a:gd name="T34" fmla="*/ 51 w 484"/>
                  <a:gd name="T35" fmla="*/ 4 h 172"/>
                  <a:gd name="T36" fmla="*/ 47 w 484"/>
                  <a:gd name="T37" fmla="*/ 3 h 172"/>
                  <a:gd name="T38" fmla="*/ 41 w 484"/>
                  <a:gd name="T39" fmla="*/ 2 h 172"/>
                  <a:gd name="T40" fmla="*/ 35 w 484"/>
                  <a:gd name="T41" fmla="*/ 1 h 172"/>
                  <a:gd name="T42" fmla="*/ 29 w 484"/>
                  <a:gd name="T43" fmla="*/ 0 h 172"/>
                  <a:gd name="T44" fmla="*/ 24 w 484"/>
                  <a:gd name="T45" fmla="*/ 0 h 172"/>
                  <a:gd name="T46" fmla="*/ 21 w 484"/>
                  <a:gd name="T47" fmla="*/ 0 h 172"/>
                  <a:gd name="T48" fmla="*/ 19 w 484"/>
                  <a:gd name="T49" fmla="*/ 1 h 172"/>
                  <a:gd name="T50" fmla="*/ 18 w 484"/>
                  <a:gd name="T51" fmla="*/ 1 h 172"/>
                  <a:gd name="T52" fmla="*/ 18 w 484"/>
                  <a:gd name="T53" fmla="*/ 0 h 172"/>
                  <a:gd name="T54" fmla="*/ 18 w 484"/>
                  <a:gd name="T55" fmla="*/ 1 h 172"/>
                  <a:gd name="T56" fmla="*/ 17 w 484"/>
                  <a:gd name="T57" fmla="*/ 3 h 172"/>
                  <a:gd name="T58" fmla="*/ 16 w 484"/>
                  <a:gd name="T59" fmla="*/ 4 h 172"/>
                  <a:gd name="T60" fmla="*/ 15 w 484"/>
                  <a:gd name="T61" fmla="*/ 5 h 172"/>
                  <a:gd name="T62" fmla="*/ 13 w 484"/>
                  <a:gd name="T63" fmla="*/ 6 h 172"/>
                  <a:gd name="T64" fmla="*/ 10 w 484"/>
                  <a:gd name="T65" fmla="*/ 7 h 172"/>
                  <a:gd name="T66" fmla="*/ 7 w 484"/>
                  <a:gd name="T67" fmla="*/ 8 h 172"/>
                  <a:gd name="T68" fmla="*/ 4 w 484"/>
                  <a:gd name="T69" fmla="*/ 9 h 172"/>
                  <a:gd name="T70" fmla="*/ 2 w 484"/>
                  <a:gd name="T71" fmla="*/ 10 h 172"/>
                  <a:gd name="T72" fmla="*/ 1 w 484"/>
                  <a:gd name="T73" fmla="*/ 11 h 172"/>
                  <a:gd name="T74" fmla="*/ 0 w 484"/>
                  <a:gd name="T75" fmla="*/ 13 h 172"/>
                  <a:gd name="T76" fmla="*/ 0 w 484"/>
                  <a:gd name="T77" fmla="*/ 1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6" name="Freeform 426">
                <a:extLst>
                  <a:ext uri="{FF2B5EF4-FFF2-40B4-BE49-F238E27FC236}">
                    <a16:creationId xmlns:a16="http://schemas.microsoft.com/office/drawing/2014/main" id="{3075E9C0-E83A-4C58-BCA1-5BA6E2CC4F7A}"/>
                  </a:ext>
                </a:extLst>
              </p:cNvPr>
              <p:cNvSpPr>
                <a:spLocks/>
              </p:cNvSpPr>
              <p:nvPr/>
            </p:nvSpPr>
            <p:spPr bwMode="auto">
              <a:xfrm>
                <a:off x="1043" y="1255"/>
                <a:ext cx="221" cy="79"/>
              </a:xfrm>
              <a:custGeom>
                <a:avLst/>
                <a:gdLst>
                  <a:gd name="T0" fmla="*/ 33 w 684"/>
                  <a:gd name="T1" fmla="*/ 1 h 240"/>
                  <a:gd name="T2" fmla="*/ 32 w 684"/>
                  <a:gd name="T3" fmla="*/ 3 h 240"/>
                  <a:gd name="T4" fmla="*/ 31 w 684"/>
                  <a:gd name="T5" fmla="*/ 4 h 240"/>
                  <a:gd name="T6" fmla="*/ 31 w 684"/>
                  <a:gd name="T7" fmla="*/ 5 h 240"/>
                  <a:gd name="T8" fmla="*/ 35 w 684"/>
                  <a:gd name="T9" fmla="*/ 4 h 240"/>
                  <a:gd name="T10" fmla="*/ 39 w 684"/>
                  <a:gd name="T11" fmla="*/ 2 h 240"/>
                  <a:gd name="T12" fmla="*/ 39 w 684"/>
                  <a:gd name="T13" fmla="*/ 4 h 240"/>
                  <a:gd name="T14" fmla="*/ 39 w 684"/>
                  <a:gd name="T15" fmla="*/ 6 h 240"/>
                  <a:gd name="T16" fmla="*/ 42 w 684"/>
                  <a:gd name="T17" fmla="*/ 8 h 240"/>
                  <a:gd name="T18" fmla="*/ 53 w 684"/>
                  <a:gd name="T19" fmla="*/ 6 h 240"/>
                  <a:gd name="T20" fmla="*/ 54 w 684"/>
                  <a:gd name="T21" fmla="*/ 8 h 240"/>
                  <a:gd name="T22" fmla="*/ 57 w 684"/>
                  <a:gd name="T23" fmla="*/ 7 h 240"/>
                  <a:gd name="T24" fmla="*/ 58 w 684"/>
                  <a:gd name="T25" fmla="*/ 5 h 240"/>
                  <a:gd name="T26" fmla="*/ 58 w 684"/>
                  <a:gd name="T27" fmla="*/ 2 h 240"/>
                  <a:gd name="T28" fmla="*/ 59 w 684"/>
                  <a:gd name="T29" fmla="*/ 1 h 240"/>
                  <a:gd name="T30" fmla="*/ 60 w 684"/>
                  <a:gd name="T31" fmla="*/ 0 h 240"/>
                  <a:gd name="T32" fmla="*/ 65 w 684"/>
                  <a:gd name="T33" fmla="*/ 0 h 240"/>
                  <a:gd name="T34" fmla="*/ 67 w 684"/>
                  <a:gd name="T35" fmla="*/ 0 h 240"/>
                  <a:gd name="T36" fmla="*/ 68 w 684"/>
                  <a:gd name="T37" fmla="*/ 4 h 240"/>
                  <a:gd name="T38" fmla="*/ 68 w 684"/>
                  <a:gd name="T39" fmla="*/ 8 h 240"/>
                  <a:gd name="T40" fmla="*/ 67 w 684"/>
                  <a:gd name="T41" fmla="*/ 11 h 240"/>
                  <a:gd name="T42" fmla="*/ 65 w 684"/>
                  <a:gd name="T43" fmla="*/ 13 h 240"/>
                  <a:gd name="T44" fmla="*/ 68 w 684"/>
                  <a:gd name="T45" fmla="*/ 15 h 240"/>
                  <a:gd name="T46" fmla="*/ 70 w 684"/>
                  <a:gd name="T47" fmla="*/ 16 h 240"/>
                  <a:gd name="T48" fmla="*/ 71 w 684"/>
                  <a:gd name="T49" fmla="*/ 19 h 240"/>
                  <a:gd name="T50" fmla="*/ 67 w 684"/>
                  <a:gd name="T51" fmla="*/ 20 h 240"/>
                  <a:gd name="T52" fmla="*/ 63 w 684"/>
                  <a:gd name="T53" fmla="*/ 20 h 240"/>
                  <a:gd name="T54" fmla="*/ 60 w 684"/>
                  <a:gd name="T55" fmla="*/ 19 h 240"/>
                  <a:gd name="T56" fmla="*/ 59 w 684"/>
                  <a:gd name="T57" fmla="*/ 20 h 240"/>
                  <a:gd name="T58" fmla="*/ 57 w 684"/>
                  <a:gd name="T59" fmla="*/ 22 h 240"/>
                  <a:gd name="T60" fmla="*/ 55 w 684"/>
                  <a:gd name="T61" fmla="*/ 23 h 240"/>
                  <a:gd name="T62" fmla="*/ 51 w 684"/>
                  <a:gd name="T63" fmla="*/ 23 h 240"/>
                  <a:gd name="T64" fmla="*/ 47 w 684"/>
                  <a:gd name="T65" fmla="*/ 22 h 240"/>
                  <a:gd name="T66" fmla="*/ 44 w 684"/>
                  <a:gd name="T67" fmla="*/ 21 h 240"/>
                  <a:gd name="T68" fmla="*/ 35 w 684"/>
                  <a:gd name="T69" fmla="*/ 23 h 240"/>
                  <a:gd name="T70" fmla="*/ 24 w 684"/>
                  <a:gd name="T71" fmla="*/ 25 h 240"/>
                  <a:gd name="T72" fmla="*/ 18 w 684"/>
                  <a:gd name="T73" fmla="*/ 26 h 240"/>
                  <a:gd name="T74" fmla="*/ 13 w 684"/>
                  <a:gd name="T75" fmla="*/ 26 h 240"/>
                  <a:gd name="T76" fmla="*/ 10 w 684"/>
                  <a:gd name="T77" fmla="*/ 25 h 240"/>
                  <a:gd name="T78" fmla="*/ 7 w 684"/>
                  <a:gd name="T79" fmla="*/ 22 h 240"/>
                  <a:gd name="T80" fmla="*/ 3 w 684"/>
                  <a:gd name="T81" fmla="*/ 21 h 240"/>
                  <a:gd name="T82" fmla="*/ 0 w 684"/>
                  <a:gd name="T83" fmla="*/ 19 h 240"/>
                  <a:gd name="T84" fmla="*/ 7 w 684"/>
                  <a:gd name="T85" fmla="*/ 17 h 240"/>
                  <a:gd name="T86" fmla="*/ 10 w 684"/>
                  <a:gd name="T87" fmla="*/ 17 h 240"/>
                  <a:gd name="T88" fmla="*/ 16 w 684"/>
                  <a:gd name="T89" fmla="*/ 17 h 240"/>
                  <a:gd name="T90" fmla="*/ 21 w 684"/>
                  <a:gd name="T91" fmla="*/ 18 h 240"/>
                  <a:gd name="T92" fmla="*/ 23 w 684"/>
                  <a:gd name="T93" fmla="*/ 17 h 240"/>
                  <a:gd name="T94" fmla="*/ 3 w 684"/>
                  <a:gd name="T95" fmla="*/ 15 h 240"/>
                  <a:gd name="T96" fmla="*/ 5 w 684"/>
                  <a:gd name="T97" fmla="*/ 14 h 240"/>
                  <a:gd name="T98" fmla="*/ 11 w 684"/>
                  <a:gd name="T99" fmla="*/ 13 h 240"/>
                  <a:gd name="T100" fmla="*/ 17 w 684"/>
                  <a:gd name="T101" fmla="*/ 12 h 240"/>
                  <a:gd name="T102" fmla="*/ 19 w 684"/>
                  <a:gd name="T103" fmla="*/ 11 h 240"/>
                  <a:gd name="T104" fmla="*/ 17 w 684"/>
                  <a:gd name="T105" fmla="*/ 10 h 240"/>
                  <a:gd name="T106" fmla="*/ 13 w 684"/>
                  <a:gd name="T107" fmla="*/ 11 h 240"/>
                  <a:gd name="T108" fmla="*/ 7 w 684"/>
                  <a:gd name="T109" fmla="*/ 12 h 240"/>
                  <a:gd name="T110" fmla="*/ 5 w 684"/>
                  <a:gd name="T111" fmla="*/ 12 h 240"/>
                  <a:gd name="T112" fmla="*/ 6 w 684"/>
                  <a:gd name="T113" fmla="*/ 10 h 240"/>
                  <a:gd name="T114" fmla="*/ 5 w 684"/>
                  <a:gd name="T115" fmla="*/ 9 h 240"/>
                  <a:gd name="T116" fmla="*/ 6 w 684"/>
                  <a:gd name="T117" fmla="*/ 9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7" name="Freeform 427">
                <a:extLst>
                  <a:ext uri="{FF2B5EF4-FFF2-40B4-BE49-F238E27FC236}">
                    <a16:creationId xmlns:a16="http://schemas.microsoft.com/office/drawing/2014/main" id="{5911C89F-0DBA-465B-AAD1-37CDAEA68280}"/>
                  </a:ext>
                </a:extLst>
              </p:cNvPr>
              <p:cNvSpPr>
                <a:spLocks/>
              </p:cNvSpPr>
              <p:nvPr/>
            </p:nvSpPr>
            <p:spPr bwMode="auto">
              <a:xfrm>
                <a:off x="1645" y="1643"/>
                <a:ext cx="108" cy="93"/>
              </a:xfrm>
              <a:custGeom>
                <a:avLst/>
                <a:gdLst>
                  <a:gd name="T0" fmla="*/ 19 w 332"/>
                  <a:gd name="T1" fmla="*/ 4 h 287"/>
                  <a:gd name="T2" fmla="*/ 21 w 332"/>
                  <a:gd name="T3" fmla="*/ 3 h 287"/>
                  <a:gd name="T4" fmla="*/ 24 w 332"/>
                  <a:gd name="T5" fmla="*/ 1 h 287"/>
                  <a:gd name="T6" fmla="*/ 25 w 332"/>
                  <a:gd name="T7" fmla="*/ 0 h 287"/>
                  <a:gd name="T8" fmla="*/ 26 w 332"/>
                  <a:gd name="T9" fmla="*/ 0 h 287"/>
                  <a:gd name="T10" fmla="*/ 26 w 332"/>
                  <a:gd name="T11" fmla="*/ 1 h 287"/>
                  <a:gd name="T12" fmla="*/ 25 w 332"/>
                  <a:gd name="T13" fmla="*/ 4 h 287"/>
                  <a:gd name="T14" fmla="*/ 23 w 332"/>
                  <a:gd name="T15" fmla="*/ 6 h 287"/>
                  <a:gd name="T16" fmla="*/ 21 w 332"/>
                  <a:gd name="T17" fmla="*/ 7 h 287"/>
                  <a:gd name="T18" fmla="*/ 20 w 332"/>
                  <a:gd name="T19" fmla="*/ 7 h 287"/>
                  <a:gd name="T20" fmla="*/ 20 w 332"/>
                  <a:gd name="T21" fmla="*/ 8 h 287"/>
                  <a:gd name="T22" fmla="*/ 21 w 332"/>
                  <a:gd name="T23" fmla="*/ 8 h 287"/>
                  <a:gd name="T24" fmla="*/ 23 w 332"/>
                  <a:gd name="T25" fmla="*/ 7 h 287"/>
                  <a:gd name="T26" fmla="*/ 24 w 332"/>
                  <a:gd name="T27" fmla="*/ 8 h 287"/>
                  <a:gd name="T28" fmla="*/ 23 w 332"/>
                  <a:gd name="T29" fmla="*/ 9 h 287"/>
                  <a:gd name="T30" fmla="*/ 23 w 332"/>
                  <a:gd name="T31" fmla="*/ 10 h 287"/>
                  <a:gd name="T32" fmla="*/ 23 w 332"/>
                  <a:gd name="T33" fmla="*/ 11 h 287"/>
                  <a:gd name="T34" fmla="*/ 26 w 332"/>
                  <a:gd name="T35" fmla="*/ 12 h 287"/>
                  <a:gd name="T36" fmla="*/ 33 w 332"/>
                  <a:gd name="T37" fmla="*/ 13 h 287"/>
                  <a:gd name="T38" fmla="*/ 34 w 332"/>
                  <a:gd name="T39" fmla="*/ 14 h 287"/>
                  <a:gd name="T40" fmla="*/ 33 w 332"/>
                  <a:gd name="T41" fmla="*/ 15 h 287"/>
                  <a:gd name="T42" fmla="*/ 32 w 332"/>
                  <a:gd name="T43" fmla="*/ 16 h 287"/>
                  <a:gd name="T44" fmla="*/ 32 w 332"/>
                  <a:gd name="T45" fmla="*/ 16 h 287"/>
                  <a:gd name="T46" fmla="*/ 32 w 332"/>
                  <a:gd name="T47" fmla="*/ 17 h 287"/>
                  <a:gd name="T48" fmla="*/ 33 w 332"/>
                  <a:gd name="T49" fmla="*/ 17 h 287"/>
                  <a:gd name="T50" fmla="*/ 34 w 332"/>
                  <a:gd name="T51" fmla="*/ 18 h 287"/>
                  <a:gd name="T52" fmla="*/ 35 w 332"/>
                  <a:gd name="T53" fmla="*/ 19 h 287"/>
                  <a:gd name="T54" fmla="*/ 31 w 332"/>
                  <a:gd name="T55" fmla="*/ 22 h 287"/>
                  <a:gd name="T56" fmla="*/ 25 w 332"/>
                  <a:gd name="T57" fmla="*/ 25 h 287"/>
                  <a:gd name="T58" fmla="*/ 22 w 332"/>
                  <a:gd name="T59" fmla="*/ 28 h 287"/>
                  <a:gd name="T60" fmla="*/ 18 w 332"/>
                  <a:gd name="T61" fmla="*/ 26 h 287"/>
                  <a:gd name="T62" fmla="*/ 19 w 332"/>
                  <a:gd name="T63" fmla="*/ 26 h 287"/>
                  <a:gd name="T64" fmla="*/ 20 w 332"/>
                  <a:gd name="T65" fmla="*/ 25 h 287"/>
                  <a:gd name="T66" fmla="*/ 21 w 332"/>
                  <a:gd name="T67" fmla="*/ 24 h 287"/>
                  <a:gd name="T68" fmla="*/ 16 w 332"/>
                  <a:gd name="T69" fmla="*/ 24 h 287"/>
                  <a:gd name="T70" fmla="*/ 11 w 332"/>
                  <a:gd name="T71" fmla="*/ 24 h 287"/>
                  <a:gd name="T72" fmla="*/ 6 w 332"/>
                  <a:gd name="T73" fmla="*/ 24 h 287"/>
                  <a:gd name="T74" fmla="*/ 3 w 332"/>
                  <a:gd name="T75" fmla="*/ 24 h 287"/>
                  <a:gd name="T76" fmla="*/ 1 w 332"/>
                  <a:gd name="T77" fmla="*/ 24 h 287"/>
                  <a:gd name="T78" fmla="*/ 0 w 332"/>
                  <a:gd name="T79" fmla="*/ 23 h 287"/>
                  <a:gd name="T80" fmla="*/ 0 w 332"/>
                  <a:gd name="T81" fmla="*/ 22 h 287"/>
                  <a:gd name="T82" fmla="*/ 0 w 332"/>
                  <a:gd name="T83" fmla="*/ 21 h 287"/>
                  <a:gd name="T84" fmla="*/ 1 w 332"/>
                  <a:gd name="T85" fmla="*/ 21 h 287"/>
                  <a:gd name="T86" fmla="*/ 4 w 332"/>
                  <a:gd name="T87" fmla="*/ 19 h 287"/>
                  <a:gd name="T88" fmla="*/ 8 w 332"/>
                  <a:gd name="T89" fmla="*/ 17 h 287"/>
                  <a:gd name="T90" fmla="*/ 9 w 332"/>
                  <a:gd name="T91" fmla="*/ 16 h 287"/>
                  <a:gd name="T92" fmla="*/ 10 w 332"/>
                  <a:gd name="T93" fmla="*/ 15 h 287"/>
                  <a:gd name="T94" fmla="*/ 11 w 332"/>
                  <a:gd name="T95" fmla="*/ 14 h 287"/>
                  <a:gd name="T96" fmla="*/ 12 w 332"/>
                  <a:gd name="T97" fmla="*/ 12 h 287"/>
                  <a:gd name="T98" fmla="*/ 14 w 332"/>
                  <a:gd name="T99" fmla="*/ 8 h 287"/>
                  <a:gd name="T100" fmla="*/ 15 w 332"/>
                  <a:gd name="T101" fmla="*/ 7 h 287"/>
                  <a:gd name="T102" fmla="*/ 16 w 332"/>
                  <a:gd name="T103" fmla="*/ 6 h 287"/>
                  <a:gd name="T104" fmla="*/ 17 w 332"/>
                  <a:gd name="T105" fmla="*/ 5 h 287"/>
                  <a:gd name="T106" fmla="*/ 18 w 332"/>
                  <a:gd name="T107" fmla="*/ 4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8" name="Freeform 428">
                <a:extLst>
                  <a:ext uri="{FF2B5EF4-FFF2-40B4-BE49-F238E27FC236}">
                    <a16:creationId xmlns:a16="http://schemas.microsoft.com/office/drawing/2014/main" id="{8FACC362-98CA-45D7-8177-C58E9F34EF8A}"/>
                  </a:ext>
                </a:extLst>
              </p:cNvPr>
              <p:cNvSpPr>
                <a:spLocks/>
              </p:cNvSpPr>
              <p:nvPr/>
            </p:nvSpPr>
            <p:spPr bwMode="auto">
              <a:xfrm>
                <a:off x="1102" y="1190"/>
                <a:ext cx="111" cy="27"/>
              </a:xfrm>
              <a:custGeom>
                <a:avLst/>
                <a:gdLst>
                  <a:gd name="T0" fmla="*/ 11 w 345"/>
                  <a:gd name="T1" fmla="*/ 8 h 86"/>
                  <a:gd name="T2" fmla="*/ 12 w 345"/>
                  <a:gd name="T3" fmla="*/ 8 h 86"/>
                  <a:gd name="T4" fmla="*/ 14 w 345"/>
                  <a:gd name="T5" fmla="*/ 8 h 86"/>
                  <a:gd name="T6" fmla="*/ 15 w 345"/>
                  <a:gd name="T7" fmla="*/ 7 h 86"/>
                  <a:gd name="T8" fmla="*/ 17 w 345"/>
                  <a:gd name="T9" fmla="*/ 7 h 86"/>
                  <a:gd name="T10" fmla="*/ 20 w 345"/>
                  <a:gd name="T11" fmla="*/ 6 h 86"/>
                  <a:gd name="T12" fmla="*/ 24 w 345"/>
                  <a:gd name="T13" fmla="*/ 6 h 86"/>
                  <a:gd name="T14" fmla="*/ 25 w 345"/>
                  <a:gd name="T15" fmla="*/ 5 h 86"/>
                  <a:gd name="T16" fmla="*/ 27 w 345"/>
                  <a:gd name="T17" fmla="*/ 5 h 86"/>
                  <a:gd name="T18" fmla="*/ 29 w 345"/>
                  <a:gd name="T19" fmla="*/ 4 h 86"/>
                  <a:gd name="T20" fmla="*/ 31 w 345"/>
                  <a:gd name="T21" fmla="*/ 4 h 86"/>
                  <a:gd name="T22" fmla="*/ 32 w 345"/>
                  <a:gd name="T23" fmla="*/ 3 h 86"/>
                  <a:gd name="T24" fmla="*/ 33 w 345"/>
                  <a:gd name="T25" fmla="*/ 3 h 86"/>
                  <a:gd name="T26" fmla="*/ 34 w 345"/>
                  <a:gd name="T27" fmla="*/ 2 h 86"/>
                  <a:gd name="T28" fmla="*/ 36 w 345"/>
                  <a:gd name="T29" fmla="*/ 1 h 86"/>
                  <a:gd name="T30" fmla="*/ 35 w 345"/>
                  <a:gd name="T31" fmla="*/ 1 h 86"/>
                  <a:gd name="T32" fmla="*/ 34 w 345"/>
                  <a:gd name="T33" fmla="*/ 1 h 86"/>
                  <a:gd name="T34" fmla="*/ 33 w 345"/>
                  <a:gd name="T35" fmla="*/ 1 h 86"/>
                  <a:gd name="T36" fmla="*/ 32 w 345"/>
                  <a:gd name="T37" fmla="*/ 1 h 86"/>
                  <a:gd name="T38" fmla="*/ 31 w 345"/>
                  <a:gd name="T39" fmla="*/ 0 h 86"/>
                  <a:gd name="T40" fmla="*/ 30 w 345"/>
                  <a:gd name="T41" fmla="*/ 0 h 86"/>
                  <a:gd name="T42" fmla="*/ 29 w 345"/>
                  <a:gd name="T43" fmla="*/ 0 h 86"/>
                  <a:gd name="T44" fmla="*/ 28 w 345"/>
                  <a:gd name="T45" fmla="*/ 0 h 86"/>
                  <a:gd name="T46" fmla="*/ 27 w 345"/>
                  <a:gd name="T47" fmla="*/ 0 h 86"/>
                  <a:gd name="T48" fmla="*/ 25 w 345"/>
                  <a:gd name="T49" fmla="*/ 0 h 86"/>
                  <a:gd name="T50" fmla="*/ 23 w 345"/>
                  <a:gd name="T51" fmla="*/ 1 h 86"/>
                  <a:gd name="T52" fmla="*/ 22 w 345"/>
                  <a:gd name="T53" fmla="*/ 1 h 86"/>
                  <a:gd name="T54" fmla="*/ 17 w 345"/>
                  <a:gd name="T55" fmla="*/ 2 h 86"/>
                  <a:gd name="T56" fmla="*/ 13 w 345"/>
                  <a:gd name="T57" fmla="*/ 3 h 86"/>
                  <a:gd name="T58" fmla="*/ 11 w 345"/>
                  <a:gd name="T59" fmla="*/ 3 h 86"/>
                  <a:gd name="T60" fmla="*/ 9 w 345"/>
                  <a:gd name="T61" fmla="*/ 4 h 86"/>
                  <a:gd name="T62" fmla="*/ 7 w 345"/>
                  <a:gd name="T63" fmla="*/ 5 h 86"/>
                  <a:gd name="T64" fmla="*/ 5 w 345"/>
                  <a:gd name="T65" fmla="*/ 6 h 86"/>
                  <a:gd name="T66" fmla="*/ 3 w 345"/>
                  <a:gd name="T67" fmla="*/ 6 h 86"/>
                  <a:gd name="T68" fmla="*/ 2 w 345"/>
                  <a:gd name="T69" fmla="*/ 7 h 86"/>
                  <a:gd name="T70" fmla="*/ 1 w 345"/>
                  <a:gd name="T71" fmla="*/ 8 h 86"/>
                  <a:gd name="T72" fmla="*/ 0 w 345"/>
                  <a:gd name="T73" fmla="*/ 8 h 86"/>
                  <a:gd name="T74" fmla="*/ 11 w 345"/>
                  <a:gd name="T75" fmla="*/ 8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9" name="Freeform 429">
                <a:extLst>
                  <a:ext uri="{FF2B5EF4-FFF2-40B4-BE49-F238E27FC236}">
                    <a16:creationId xmlns:a16="http://schemas.microsoft.com/office/drawing/2014/main" id="{FAF6408A-4956-4328-B477-48A2F534D6F6}"/>
                  </a:ext>
                </a:extLst>
              </p:cNvPr>
              <p:cNvSpPr>
                <a:spLocks/>
              </p:cNvSpPr>
              <p:nvPr/>
            </p:nvSpPr>
            <p:spPr bwMode="auto">
              <a:xfrm>
                <a:off x="1158" y="1199"/>
                <a:ext cx="149" cy="43"/>
              </a:xfrm>
              <a:custGeom>
                <a:avLst/>
                <a:gdLst>
                  <a:gd name="T0" fmla="*/ 2 w 464"/>
                  <a:gd name="T1" fmla="*/ 9 h 130"/>
                  <a:gd name="T2" fmla="*/ 8 w 464"/>
                  <a:gd name="T3" fmla="*/ 9 h 130"/>
                  <a:gd name="T4" fmla="*/ 11 w 464"/>
                  <a:gd name="T5" fmla="*/ 9 h 130"/>
                  <a:gd name="T6" fmla="*/ 10 w 464"/>
                  <a:gd name="T7" fmla="*/ 10 h 130"/>
                  <a:gd name="T8" fmla="*/ 8 w 464"/>
                  <a:gd name="T9" fmla="*/ 11 h 130"/>
                  <a:gd name="T10" fmla="*/ 7 w 464"/>
                  <a:gd name="T11" fmla="*/ 12 h 130"/>
                  <a:gd name="T12" fmla="*/ 7 w 464"/>
                  <a:gd name="T13" fmla="*/ 13 h 130"/>
                  <a:gd name="T14" fmla="*/ 8 w 464"/>
                  <a:gd name="T15" fmla="*/ 14 h 130"/>
                  <a:gd name="T16" fmla="*/ 10 w 464"/>
                  <a:gd name="T17" fmla="*/ 14 h 130"/>
                  <a:gd name="T18" fmla="*/ 11 w 464"/>
                  <a:gd name="T19" fmla="*/ 14 h 130"/>
                  <a:gd name="T20" fmla="*/ 13 w 464"/>
                  <a:gd name="T21" fmla="*/ 14 h 130"/>
                  <a:gd name="T22" fmla="*/ 16 w 464"/>
                  <a:gd name="T23" fmla="*/ 13 h 130"/>
                  <a:gd name="T24" fmla="*/ 20 w 464"/>
                  <a:gd name="T25" fmla="*/ 12 h 130"/>
                  <a:gd name="T26" fmla="*/ 23 w 464"/>
                  <a:gd name="T27" fmla="*/ 11 h 130"/>
                  <a:gd name="T28" fmla="*/ 26 w 464"/>
                  <a:gd name="T29" fmla="*/ 11 h 130"/>
                  <a:gd name="T30" fmla="*/ 27 w 464"/>
                  <a:gd name="T31" fmla="*/ 11 h 130"/>
                  <a:gd name="T32" fmla="*/ 31 w 464"/>
                  <a:gd name="T33" fmla="*/ 11 h 130"/>
                  <a:gd name="T34" fmla="*/ 34 w 464"/>
                  <a:gd name="T35" fmla="*/ 11 h 130"/>
                  <a:gd name="T36" fmla="*/ 39 w 464"/>
                  <a:gd name="T37" fmla="*/ 10 h 130"/>
                  <a:gd name="T38" fmla="*/ 43 w 464"/>
                  <a:gd name="T39" fmla="*/ 9 h 130"/>
                  <a:gd name="T40" fmla="*/ 46 w 464"/>
                  <a:gd name="T41" fmla="*/ 7 h 130"/>
                  <a:gd name="T42" fmla="*/ 47 w 464"/>
                  <a:gd name="T43" fmla="*/ 6 h 130"/>
                  <a:gd name="T44" fmla="*/ 45 w 464"/>
                  <a:gd name="T45" fmla="*/ 5 h 130"/>
                  <a:gd name="T46" fmla="*/ 43 w 464"/>
                  <a:gd name="T47" fmla="*/ 5 h 130"/>
                  <a:gd name="T48" fmla="*/ 41 w 464"/>
                  <a:gd name="T49" fmla="*/ 5 h 130"/>
                  <a:gd name="T50" fmla="*/ 42 w 464"/>
                  <a:gd name="T51" fmla="*/ 4 h 130"/>
                  <a:gd name="T52" fmla="*/ 43 w 464"/>
                  <a:gd name="T53" fmla="*/ 2 h 130"/>
                  <a:gd name="T54" fmla="*/ 43 w 464"/>
                  <a:gd name="T55" fmla="*/ 1 h 130"/>
                  <a:gd name="T56" fmla="*/ 39 w 464"/>
                  <a:gd name="T57" fmla="*/ 0 h 130"/>
                  <a:gd name="T58" fmla="*/ 37 w 464"/>
                  <a:gd name="T59" fmla="*/ 2 h 130"/>
                  <a:gd name="T60" fmla="*/ 35 w 464"/>
                  <a:gd name="T61" fmla="*/ 5 h 130"/>
                  <a:gd name="T62" fmla="*/ 33 w 464"/>
                  <a:gd name="T63" fmla="*/ 7 h 130"/>
                  <a:gd name="T64" fmla="*/ 32 w 464"/>
                  <a:gd name="T65" fmla="*/ 7 h 130"/>
                  <a:gd name="T66" fmla="*/ 31 w 464"/>
                  <a:gd name="T67" fmla="*/ 7 h 130"/>
                  <a:gd name="T68" fmla="*/ 29 w 464"/>
                  <a:gd name="T69" fmla="*/ 7 h 130"/>
                  <a:gd name="T70" fmla="*/ 27 w 464"/>
                  <a:gd name="T71" fmla="*/ 7 h 130"/>
                  <a:gd name="T72" fmla="*/ 25 w 464"/>
                  <a:gd name="T73" fmla="*/ 6 h 130"/>
                  <a:gd name="T74" fmla="*/ 21 w 464"/>
                  <a:gd name="T75" fmla="*/ 3 h 130"/>
                  <a:gd name="T76" fmla="*/ 19 w 464"/>
                  <a:gd name="T77" fmla="*/ 3 h 130"/>
                  <a:gd name="T78" fmla="*/ 15 w 464"/>
                  <a:gd name="T79" fmla="*/ 3 h 130"/>
                  <a:gd name="T80" fmla="*/ 12 w 464"/>
                  <a:gd name="T81" fmla="*/ 4 h 130"/>
                  <a:gd name="T82" fmla="*/ 9 w 464"/>
                  <a:gd name="T83" fmla="*/ 5 h 130"/>
                  <a:gd name="T84" fmla="*/ 5 w 464"/>
                  <a:gd name="T85" fmla="*/ 6 h 130"/>
                  <a:gd name="T86" fmla="*/ 3 w 464"/>
                  <a:gd name="T87" fmla="*/ 7 h 130"/>
                  <a:gd name="T88" fmla="*/ 1 w 464"/>
                  <a:gd name="T89" fmla="*/ 8 h 130"/>
                  <a:gd name="T90" fmla="*/ 0 w 464"/>
                  <a:gd name="T91" fmla="*/ 9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0" name="Freeform 430">
                <a:extLst>
                  <a:ext uri="{FF2B5EF4-FFF2-40B4-BE49-F238E27FC236}">
                    <a16:creationId xmlns:a16="http://schemas.microsoft.com/office/drawing/2014/main" id="{87307724-0BB3-4521-89EF-D0136850961E}"/>
                  </a:ext>
                </a:extLst>
              </p:cNvPr>
              <p:cNvSpPr>
                <a:spLocks/>
              </p:cNvSpPr>
              <p:nvPr/>
            </p:nvSpPr>
            <p:spPr bwMode="auto">
              <a:xfrm>
                <a:off x="1472" y="1205"/>
                <a:ext cx="153" cy="31"/>
              </a:xfrm>
              <a:custGeom>
                <a:avLst/>
                <a:gdLst>
                  <a:gd name="T0" fmla="*/ 6 w 472"/>
                  <a:gd name="T1" fmla="*/ 0 h 92"/>
                  <a:gd name="T2" fmla="*/ 5 w 472"/>
                  <a:gd name="T3" fmla="*/ 0 h 92"/>
                  <a:gd name="T4" fmla="*/ 3 w 472"/>
                  <a:gd name="T5" fmla="*/ 0 h 92"/>
                  <a:gd name="T6" fmla="*/ 1 w 472"/>
                  <a:gd name="T7" fmla="*/ 0 h 92"/>
                  <a:gd name="T8" fmla="*/ 1 w 472"/>
                  <a:gd name="T9" fmla="*/ 1 h 92"/>
                  <a:gd name="T10" fmla="*/ 1 w 472"/>
                  <a:gd name="T11" fmla="*/ 2 h 92"/>
                  <a:gd name="T12" fmla="*/ 1 w 472"/>
                  <a:gd name="T13" fmla="*/ 3 h 92"/>
                  <a:gd name="T14" fmla="*/ 2 w 472"/>
                  <a:gd name="T15" fmla="*/ 4 h 92"/>
                  <a:gd name="T16" fmla="*/ 2 w 472"/>
                  <a:gd name="T17" fmla="*/ 5 h 92"/>
                  <a:gd name="T18" fmla="*/ 0 w 472"/>
                  <a:gd name="T19" fmla="*/ 6 h 92"/>
                  <a:gd name="T20" fmla="*/ 0 w 472"/>
                  <a:gd name="T21" fmla="*/ 6 h 92"/>
                  <a:gd name="T22" fmla="*/ 0 w 472"/>
                  <a:gd name="T23" fmla="*/ 7 h 92"/>
                  <a:gd name="T24" fmla="*/ 2 w 472"/>
                  <a:gd name="T25" fmla="*/ 8 h 92"/>
                  <a:gd name="T26" fmla="*/ 5 w 472"/>
                  <a:gd name="T27" fmla="*/ 9 h 92"/>
                  <a:gd name="T28" fmla="*/ 11 w 472"/>
                  <a:gd name="T29" fmla="*/ 10 h 92"/>
                  <a:gd name="T30" fmla="*/ 18 w 472"/>
                  <a:gd name="T31" fmla="*/ 10 h 92"/>
                  <a:gd name="T32" fmla="*/ 38 w 472"/>
                  <a:gd name="T33" fmla="*/ 10 h 92"/>
                  <a:gd name="T34" fmla="*/ 39 w 472"/>
                  <a:gd name="T35" fmla="*/ 9 h 92"/>
                  <a:gd name="T36" fmla="*/ 41 w 472"/>
                  <a:gd name="T37" fmla="*/ 8 h 92"/>
                  <a:gd name="T38" fmla="*/ 42 w 472"/>
                  <a:gd name="T39" fmla="*/ 8 h 92"/>
                  <a:gd name="T40" fmla="*/ 43 w 472"/>
                  <a:gd name="T41" fmla="*/ 8 h 92"/>
                  <a:gd name="T42" fmla="*/ 46 w 472"/>
                  <a:gd name="T43" fmla="*/ 9 h 92"/>
                  <a:gd name="T44" fmla="*/ 48 w 472"/>
                  <a:gd name="T45" fmla="*/ 9 h 92"/>
                  <a:gd name="T46" fmla="*/ 50 w 472"/>
                  <a:gd name="T47" fmla="*/ 8 h 92"/>
                  <a:gd name="T48" fmla="*/ 49 w 472"/>
                  <a:gd name="T49" fmla="*/ 4 h 92"/>
                  <a:gd name="T50" fmla="*/ 48 w 472"/>
                  <a:gd name="T51" fmla="*/ 3 h 92"/>
                  <a:gd name="T52" fmla="*/ 47 w 472"/>
                  <a:gd name="T53" fmla="*/ 2 h 92"/>
                  <a:gd name="T54" fmla="*/ 45 w 472"/>
                  <a:gd name="T55" fmla="*/ 1 h 92"/>
                  <a:gd name="T56" fmla="*/ 44 w 472"/>
                  <a:gd name="T57" fmla="*/ 1 h 92"/>
                  <a:gd name="T58" fmla="*/ 41 w 472"/>
                  <a:gd name="T59" fmla="*/ 2 h 92"/>
                  <a:gd name="T60" fmla="*/ 39 w 472"/>
                  <a:gd name="T61" fmla="*/ 2 h 92"/>
                  <a:gd name="T62" fmla="*/ 34 w 472"/>
                  <a:gd name="T63" fmla="*/ 4 h 92"/>
                  <a:gd name="T64" fmla="*/ 31 w 472"/>
                  <a:gd name="T65" fmla="*/ 4 h 92"/>
                  <a:gd name="T66" fmla="*/ 29 w 472"/>
                  <a:gd name="T67" fmla="*/ 5 h 92"/>
                  <a:gd name="T68" fmla="*/ 25 w 472"/>
                  <a:gd name="T69" fmla="*/ 5 h 92"/>
                  <a:gd name="T70" fmla="*/ 20 w 472"/>
                  <a:gd name="T71" fmla="*/ 5 h 92"/>
                  <a:gd name="T72" fmla="*/ 17 w 472"/>
                  <a:gd name="T73" fmla="*/ 5 h 92"/>
                  <a:gd name="T74" fmla="*/ 13 w 472"/>
                  <a:gd name="T75" fmla="*/ 5 h 92"/>
                  <a:gd name="T76" fmla="*/ 9 w 472"/>
                  <a:gd name="T77" fmla="*/ 5 h 92"/>
                  <a:gd name="T78" fmla="*/ 8 w 472"/>
                  <a:gd name="T79" fmla="*/ 4 h 92"/>
                  <a:gd name="T80" fmla="*/ 7 w 472"/>
                  <a:gd name="T81" fmla="*/ 3 h 92"/>
                  <a:gd name="T82" fmla="*/ 7 w 472"/>
                  <a:gd name="T83" fmla="*/ 2 h 92"/>
                  <a:gd name="T84" fmla="*/ 7 w 472"/>
                  <a:gd name="T85" fmla="*/ 1 h 92"/>
                  <a:gd name="T86" fmla="*/ 8 w 472"/>
                  <a:gd name="T87" fmla="*/ 0 h 92"/>
                  <a:gd name="T88" fmla="*/ 8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1" name="Freeform 431">
                <a:extLst>
                  <a:ext uri="{FF2B5EF4-FFF2-40B4-BE49-F238E27FC236}">
                    <a16:creationId xmlns:a16="http://schemas.microsoft.com/office/drawing/2014/main" id="{FB9A8D40-308E-464D-B22C-CCC419247654}"/>
                  </a:ext>
                </a:extLst>
              </p:cNvPr>
              <p:cNvSpPr>
                <a:spLocks/>
              </p:cNvSpPr>
              <p:nvPr/>
            </p:nvSpPr>
            <p:spPr bwMode="auto">
              <a:xfrm>
                <a:off x="1513" y="1136"/>
                <a:ext cx="106" cy="45"/>
              </a:xfrm>
              <a:custGeom>
                <a:avLst/>
                <a:gdLst>
                  <a:gd name="T0" fmla="*/ 15 w 326"/>
                  <a:gd name="T1" fmla="*/ 12 h 135"/>
                  <a:gd name="T2" fmla="*/ 21 w 326"/>
                  <a:gd name="T3" fmla="*/ 11 h 135"/>
                  <a:gd name="T4" fmla="*/ 28 w 326"/>
                  <a:gd name="T5" fmla="*/ 9 h 135"/>
                  <a:gd name="T6" fmla="*/ 32 w 326"/>
                  <a:gd name="T7" fmla="*/ 8 h 135"/>
                  <a:gd name="T8" fmla="*/ 33 w 326"/>
                  <a:gd name="T9" fmla="*/ 7 h 135"/>
                  <a:gd name="T10" fmla="*/ 34 w 326"/>
                  <a:gd name="T11" fmla="*/ 6 h 135"/>
                  <a:gd name="T12" fmla="*/ 33 w 326"/>
                  <a:gd name="T13" fmla="*/ 5 h 135"/>
                  <a:gd name="T14" fmla="*/ 32 w 326"/>
                  <a:gd name="T15" fmla="*/ 5 h 135"/>
                  <a:gd name="T16" fmla="*/ 30 w 326"/>
                  <a:gd name="T17" fmla="*/ 4 h 135"/>
                  <a:gd name="T18" fmla="*/ 28 w 326"/>
                  <a:gd name="T19" fmla="*/ 4 h 135"/>
                  <a:gd name="T20" fmla="*/ 24 w 326"/>
                  <a:gd name="T21" fmla="*/ 3 h 135"/>
                  <a:gd name="T22" fmla="*/ 22 w 326"/>
                  <a:gd name="T23" fmla="*/ 3 h 135"/>
                  <a:gd name="T24" fmla="*/ 21 w 326"/>
                  <a:gd name="T25" fmla="*/ 3 h 135"/>
                  <a:gd name="T26" fmla="*/ 21 w 326"/>
                  <a:gd name="T27" fmla="*/ 2 h 135"/>
                  <a:gd name="T28" fmla="*/ 20 w 326"/>
                  <a:gd name="T29" fmla="*/ 1 h 135"/>
                  <a:gd name="T30" fmla="*/ 19 w 326"/>
                  <a:gd name="T31" fmla="*/ 1 h 135"/>
                  <a:gd name="T32" fmla="*/ 17 w 326"/>
                  <a:gd name="T33" fmla="*/ 0 h 135"/>
                  <a:gd name="T34" fmla="*/ 14 w 326"/>
                  <a:gd name="T35" fmla="*/ 0 h 135"/>
                  <a:gd name="T36" fmla="*/ 9 w 326"/>
                  <a:gd name="T37" fmla="*/ 1 h 135"/>
                  <a:gd name="T38" fmla="*/ 5 w 326"/>
                  <a:gd name="T39" fmla="*/ 2 h 135"/>
                  <a:gd name="T40" fmla="*/ 3 w 326"/>
                  <a:gd name="T41" fmla="*/ 3 h 135"/>
                  <a:gd name="T42" fmla="*/ 1 w 326"/>
                  <a:gd name="T43" fmla="*/ 4 h 135"/>
                  <a:gd name="T44" fmla="*/ 0 w 326"/>
                  <a:gd name="T45" fmla="*/ 5 h 135"/>
                  <a:gd name="T46" fmla="*/ 0 w 326"/>
                  <a:gd name="T47" fmla="*/ 6 h 135"/>
                  <a:gd name="T48" fmla="*/ 4 w 326"/>
                  <a:gd name="T49" fmla="*/ 8 h 135"/>
                  <a:gd name="T50" fmla="*/ 6 w 326"/>
                  <a:gd name="T51" fmla="*/ 9 h 135"/>
                  <a:gd name="T52" fmla="*/ 4 w 326"/>
                  <a:gd name="T53" fmla="*/ 10 h 135"/>
                  <a:gd name="T54" fmla="*/ 4 w 326"/>
                  <a:gd name="T55" fmla="*/ 11 h 135"/>
                  <a:gd name="T56" fmla="*/ 5 w 326"/>
                  <a:gd name="T57" fmla="*/ 13 h 135"/>
                  <a:gd name="T58" fmla="*/ 5 w 326"/>
                  <a:gd name="T59" fmla="*/ 14 h 135"/>
                  <a:gd name="T60" fmla="*/ 6 w 326"/>
                  <a:gd name="T61" fmla="*/ 15 h 135"/>
                  <a:gd name="T62" fmla="*/ 7 w 326"/>
                  <a:gd name="T63" fmla="*/ 15 h 135"/>
                  <a:gd name="T64" fmla="*/ 9 w 326"/>
                  <a:gd name="T65" fmla="*/ 15 h 135"/>
                  <a:gd name="T66" fmla="*/ 11 w 326"/>
                  <a:gd name="T67" fmla="*/ 14 h 135"/>
                  <a:gd name="T68" fmla="*/ 12 w 326"/>
                  <a:gd name="T69" fmla="*/ 14 h 135"/>
                  <a:gd name="T70" fmla="*/ 13 w 326"/>
                  <a:gd name="T71" fmla="*/ 12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2" name="Freeform 432">
                <a:extLst>
                  <a:ext uri="{FF2B5EF4-FFF2-40B4-BE49-F238E27FC236}">
                    <a16:creationId xmlns:a16="http://schemas.microsoft.com/office/drawing/2014/main" id="{E547CA56-1FD4-4DE5-ACB4-4F5FCD638C3A}"/>
                  </a:ext>
                </a:extLst>
              </p:cNvPr>
              <p:cNvSpPr>
                <a:spLocks/>
              </p:cNvSpPr>
              <p:nvPr/>
            </p:nvSpPr>
            <p:spPr bwMode="auto">
              <a:xfrm>
                <a:off x="1584" y="1245"/>
                <a:ext cx="51" cy="18"/>
              </a:xfrm>
              <a:custGeom>
                <a:avLst/>
                <a:gdLst>
                  <a:gd name="T0" fmla="*/ 5 w 159"/>
                  <a:gd name="T1" fmla="*/ 5 h 56"/>
                  <a:gd name="T2" fmla="*/ 4 w 159"/>
                  <a:gd name="T3" fmla="*/ 5 h 56"/>
                  <a:gd name="T4" fmla="*/ 4 w 159"/>
                  <a:gd name="T5" fmla="*/ 5 h 56"/>
                  <a:gd name="T6" fmla="*/ 3 w 159"/>
                  <a:gd name="T7" fmla="*/ 5 h 56"/>
                  <a:gd name="T8" fmla="*/ 2 w 159"/>
                  <a:gd name="T9" fmla="*/ 4 h 56"/>
                  <a:gd name="T10" fmla="*/ 1 w 159"/>
                  <a:gd name="T11" fmla="*/ 3 h 56"/>
                  <a:gd name="T12" fmla="*/ 1 w 159"/>
                  <a:gd name="T13" fmla="*/ 3 h 56"/>
                  <a:gd name="T14" fmla="*/ 0 w 159"/>
                  <a:gd name="T15" fmla="*/ 2 h 56"/>
                  <a:gd name="T16" fmla="*/ 0 w 159"/>
                  <a:gd name="T17" fmla="*/ 2 h 56"/>
                  <a:gd name="T18" fmla="*/ 0 w 159"/>
                  <a:gd name="T19" fmla="*/ 1 h 56"/>
                  <a:gd name="T20" fmla="*/ 0 w 159"/>
                  <a:gd name="T21" fmla="*/ 1 h 56"/>
                  <a:gd name="T22" fmla="*/ 2 w 159"/>
                  <a:gd name="T23" fmla="*/ 1 h 56"/>
                  <a:gd name="T24" fmla="*/ 4 w 159"/>
                  <a:gd name="T25" fmla="*/ 1 h 56"/>
                  <a:gd name="T26" fmla="*/ 5 w 159"/>
                  <a:gd name="T27" fmla="*/ 1 h 56"/>
                  <a:gd name="T28" fmla="*/ 6 w 159"/>
                  <a:gd name="T29" fmla="*/ 1 h 56"/>
                  <a:gd name="T30" fmla="*/ 9 w 159"/>
                  <a:gd name="T31" fmla="*/ 1 h 56"/>
                  <a:gd name="T32" fmla="*/ 12 w 159"/>
                  <a:gd name="T33" fmla="*/ 0 h 56"/>
                  <a:gd name="T34" fmla="*/ 13 w 159"/>
                  <a:gd name="T35" fmla="*/ 0 h 56"/>
                  <a:gd name="T36" fmla="*/ 13 w 159"/>
                  <a:gd name="T37" fmla="*/ 0 h 56"/>
                  <a:gd name="T38" fmla="*/ 14 w 159"/>
                  <a:gd name="T39" fmla="*/ 0 h 56"/>
                  <a:gd name="T40" fmla="*/ 15 w 159"/>
                  <a:gd name="T41" fmla="*/ 0 h 56"/>
                  <a:gd name="T42" fmla="*/ 15 w 159"/>
                  <a:gd name="T43" fmla="*/ 1 h 56"/>
                  <a:gd name="T44" fmla="*/ 16 w 159"/>
                  <a:gd name="T45" fmla="*/ 1 h 56"/>
                  <a:gd name="T46" fmla="*/ 16 w 159"/>
                  <a:gd name="T47" fmla="*/ 2 h 56"/>
                  <a:gd name="T48" fmla="*/ 16 w 159"/>
                  <a:gd name="T49" fmla="*/ 2 h 56"/>
                  <a:gd name="T50" fmla="*/ 16 w 159"/>
                  <a:gd name="T51" fmla="*/ 3 h 56"/>
                  <a:gd name="T52" fmla="*/ 16 w 159"/>
                  <a:gd name="T53" fmla="*/ 4 h 56"/>
                  <a:gd name="T54" fmla="*/ 15 w 159"/>
                  <a:gd name="T55" fmla="*/ 5 h 56"/>
                  <a:gd name="T56" fmla="*/ 15 w 159"/>
                  <a:gd name="T57" fmla="*/ 5 h 56"/>
                  <a:gd name="T58" fmla="*/ 14 w 159"/>
                  <a:gd name="T59" fmla="*/ 5 h 56"/>
                  <a:gd name="T60" fmla="*/ 13 w 159"/>
                  <a:gd name="T61" fmla="*/ 5 h 56"/>
                  <a:gd name="T62" fmla="*/ 13 w 159"/>
                  <a:gd name="T63" fmla="*/ 6 h 56"/>
                  <a:gd name="T64" fmla="*/ 12 w 159"/>
                  <a:gd name="T65" fmla="*/ 6 h 56"/>
                  <a:gd name="T66" fmla="*/ 8 w 159"/>
                  <a:gd name="T67" fmla="*/ 6 h 56"/>
                  <a:gd name="T68" fmla="*/ 5 w 159"/>
                  <a:gd name="T69" fmla="*/ 5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3" name="Freeform 433">
                <a:extLst>
                  <a:ext uri="{FF2B5EF4-FFF2-40B4-BE49-F238E27FC236}">
                    <a16:creationId xmlns:a16="http://schemas.microsoft.com/office/drawing/2014/main" id="{700AF2E1-563F-4A31-8263-44CB6341959A}"/>
                  </a:ext>
                </a:extLst>
              </p:cNvPr>
              <p:cNvSpPr>
                <a:spLocks/>
              </p:cNvSpPr>
              <p:nvPr/>
            </p:nvSpPr>
            <p:spPr bwMode="auto">
              <a:xfrm>
                <a:off x="534" y="1280"/>
                <a:ext cx="1205" cy="539"/>
              </a:xfrm>
              <a:custGeom>
                <a:avLst/>
                <a:gdLst>
                  <a:gd name="T0" fmla="*/ 305 w 3734"/>
                  <a:gd name="T1" fmla="*/ 147 h 1644"/>
                  <a:gd name="T2" fmla="*/ 266 w 3734"/>
                  <a:gd name="T3" fmla="*/ 164 h 1644"/>
                  <a:gd name="T4" fmla="*/ 241 w 3734"/>
                  <a:gd name="T5" fmla="*/ 171 h 1644"/>
                  <a:gd name="T6" fmla="*/ 239 w 3734"/>
                  <a:gd name="T7" fmla="*/ 176 h 1644"/>
                  <a:gd name="T8" fmla="*/ 227 w 3734"/>
                  <a:gd name="T9" fmla="*/ 173 h 1644"/>
                  <a:gd name="T10" fmla="*/ 237 w 3734"/>
                  <a:gd name="T11" fmla="*/ 163 h 1644"/>
                  <a:gd name="T12" fmla="*/ 226 w 3734"/>
                  <a:gd name="T13" fmla="*/ 152 h 1644"/>
                  <a:gd name="T14" fmla="*/ 218 w 3734"/>
                  <a:gd name="T15" fmla="*/ 139 h 1644"/>
                  <a:gd name="T16" fmla="*/ 203 w 3734"/>
                  <a:gd name="T17" fmla="*/ 142 h 1644"/>
                  <a:gd name="T18" fmla="*/ 185 w 3734"/>
                  <a:gd name="T19" fmla="*/ 138 h 1644"/>
                  <a:gd name="T20" fmla="*/ 27 w 3734"/>
                  <a:gd name="T21" fmla="*/ 133 h 1644"/>
                  <a:gd name="T22" fmla="*/ 13 w 3734"/>
                  <a:gd name="T23" fmla="*/ 121 h 1644"/>
                  <a:gd name="T24" fmla="*/ 16 w 3734"/>
                  <a:gd name="T25" fmla="*/ 112 h 1644"/>
                  <a:gd name="T26" fmla="*/ 15 w 3734"/>
                  <a:gd name="T27" fmla="*/ 100 h 1644"/>
                  <a:gd name="T28" fmla="*/ 27 w 3734"/>
                  <a:gd name="T29" fmla="*/ 92 h 1644"/>
                  <a:gd name="T30" fmla="*/ 26 w 3734"/>
                  <a:gd name="T31" fmla="*/ 80 h 1644"/>
                  <a:gd name="T32" fmla="*/ 13 w 3734"/>
                  <a:gd name="T33" fmla="*/ 71 h 1644"/>
                  <a:gd name="T34" fmla="*/ 63 w 3734"/>
                  <a:gd name="T35" fmla="*/ 12 h 1644"/>
                  <a:gd name="T36" fmla="*/ 119 w 3734"/>
                  <a:gd name="T37" fmla="*/ 11 h 1644"/>
                  <a:gd name="T38" fmla="*/ 135 w 3734"/>
                  <a:gd name="T39" fmla="*/ 12 h 1644"/>
                  <a:gd name="T40" fmla="*/ 171 w 3734"/>
                  <a:gd name="T41" fmla="*/ 18 h 1644"/>
                  <a:gd name="T42" fmla="*/ 185 w 3734"/>
                  <a:gd name="T43" fmla="*/ 22 h 1644"/>
                  <a:gd name="T44" fmla="*/ 216 w 3734"/>
                  <a:gd name="T45" fmla="*/ 21 h 1644"/>
                  <a:gd name="T46" fmla="*/ 238 w 3734"/>
                  <a:gd name="T47" fmla="*/ 23 h 1644"/>
                  <a:gd name="T48" fmla="*/ 246 w 3734"/>
                  <a:gd name="T49" fmla="*/ 23 h 1644"/>
                  <a:gd name="T50" fmla="*/ 262 w 3734"/>
                  <a:gd name="T51" fmla="*/ 13 h 1644"/>
                  <a:gd name="T52" fmla="*/ 269 w 3734"/>
                  <a:gd name="T53" fmla="*/ 0 h 1644"/>
                  <a:gd name="T54" fmla="*/ 275 w 3734"/>
                  <a:gd name="T55" fmla="*/ 11 h 1644"/>
                  <a:gd name="T56" fmla="*/ 278 w 3734"/>
                  <a:gd name="T57" fmla="*/ 18 h 1644"/>
                  <a:gd name="T58" fmla="*/ 283 w 3734"/>
                  <a:gd name="T59" fmla="*/ 21 h 1644"/>
                  <a:gd name="T60" fmla="*/ 301 w 3734"/>
                  <a:gd name="T61" fmla="*/ 13 h 1644"/>
                  <a:gd name="T62" fmla="*/ 316 w 3734"/>
                  <a:gd name="T63" fmla="*/ 14 h 1644"/>
                  <a:gd name="T64" fmla="*/ 300 w 3734"/>
                  <a:gd name="T65" fmla="*/ 29 h 1644"/>
                  <a:gd name="T66" fmla="*/ 290 w 3734"/>
                  <a:gd name="T67" fmla="*/ 31 h 1644"/>
                  <a:gd name="T68" fmla="*/ 268 w 3734"/>
                  <a:gd name="T69" fmla="*/ 33 h 1644"/>
                  <a:gd name="T70" fmla="*/ 260 w 3734"/>
                  <a:gd name="T71" fmla="*/ 43 h 1644"/>
                  <a:gd name="T72" fmla="*/ 243 w 3734"/>
                  <a:gd name="T73" fmla="*/ 50 h 1644"/>
                  <a:gd name="T74" fmla="*/ 217 w 3734"/>
                  <a:gd name="T75" fmla="*/ 67 h 1644"/>
                  <a:gd name="T76" fmla="*/ 219 w 3734"/>
                  <a:gd name="T77" fmla="*/ 85 h 1644"/>
                  <a:gd name="T78" fmla="*/ 246 w 3734"/>
                  <a:gd name="T79" fmla="*/ 97 h 1644"/>
                  <a:gd name="T80" fmla="*/ 254 w 3734"/>
                  <a:gd name="T81" fmla="*/ 114 h 1644"/>
                  <a:gd name="T82" fmla="*/ 272 w 3734"/>
                  <a:gd name="T83" fmla="*/ 106 h 1644"/>
                  <a:gd name="T84" fmla="*/ 297 w 3734"/>
                  <a:gd name="T85" fmla="*/ 84 h 1644"/>
                  <a:gd name="T86" fmla="*/ 302 w 3734"/>
                  <a:gd name="T87" fmla="*/ 64 h 1644"/>
                  <a:gd name="T88" fmla="*/ 329 w 3734"/>
                  <a:gd name="T89" fmla="*/ 54 h 1644"/>
                  <a:gd name="T90" fmla="*/ 341 w 3734"/>
                  <a:gd name="T91" fmla="*/ 64 h 1644"/>
                  <a:gd name="T92" fmla="*/ 336 w 3734"/>
                  <a:gd name="T93" fmla="*/ 79 h 1644"/>
                  <a:gd name="T94" fmla="*/ 364 w 3734"/>
                  <a:gd name="T95" fmla="*/ 66 h 1644"/>
                  <a:gd name="T96" fmla="*/ 369 w 3734"/>
                  <a:gd name="T97" fmla="*/ 83 h 1644"/>
                  <a:gd name="T98" fmla="*/ 381 w 3734"/>
                  <a:gd name="T99" fmla="*/ 99 h 1644"/>
                  <a:gd name="T100" fmla="*/ 377 w 3734"/>
                  <a:gd name="T101" fmla="*/ 103 h 1644"/>
                  <a:gd name="T102" fmla="*/ 385 w 3734"/>
                  <a:gd name="T103" fmla="*/ 110 h 1644"/>
                  <a:gd name="T104" fmla="*/ 370 w 3734"/>
                  <a:gd name="T105" fmla="*/ 119 h 1644"/>
                  <a:gd name="T106" fmla="*/ 328 w 3734"/>
                  <a:gd name="T107" fmla="*/ 126 h 1644"/>
                  <a:gd name="T108" fmla="*/ 297 w 3734"/>
                  <a:gd name="T109" fmla="*/ 144 h 1644"/>
                  <a:gd name="T110" fmla="*/ 302 w 3734"/>
                  <a:gd name="T111" fmla="*/ 144 h 1644"/>
                  <a:gd name="T112" fmla="*/ 335 w 3734"/>
                  <a:gd name="T113" fmla="*/ 135 h 1644"/>
                  <a:gd name="T114" fmla="*/ 319 w 3734"/>
                  <a:gd name="T115" fmla="*/ 140 h 1644"/>
                  <a:gd name="T116" fmla="*/ 327 w 3734"/>
                  <a:gd name="T117" fmla="*/ 150 h 1644"/>
                  <a:gd name="T118" fmla="*/ 338 w 3734"/>
                  <a:gd name="T119" fmla="*/ 158 h 1644"/>
                  <a:gd name="T120" fmla="*/ 314 w 3734"/>
                  <a:gd name="T121" fmla="*/ 168 h 1644"/>
                  <a:gd name="T122" fmla="*/ 332 w 3734"/>
                  <a:gd name="T123" fmla="*/ 158 h 1644"/>
                  <a:gd name="T124" fmla="*/ 314 w 3734"/>
                  <a:gd name="T125" fmla="*/ 16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87" name="Freeform 434">
              <a:extLst>
                <a:ext uri="{FF2B5EF4-FFF2-40B4-BE49-F238E27FC236}">
                  <a16:creationId xmlns:a16="http://schemas.microsoft.com/office/drawing/2014/main" id="{DCEB4F83-27CB-4A2E-AD71-884B2F112601}"/>
                </a:ext>
              </a:extLst>
            </p:cNvPr>
            <p:cNvSpPr>
              <a:spLocks/>
            </p:cNvSpPr>
            <p:nvPr>
              <p:custDataLst>
                <p:tags r:id="rId275"/>
              </p:custDataLst>
            </p:nvPr>
          </p:nvSpPr>
          <p:spPr bwMode="auto">
            <a:xfrm>
              <a:off x="4757738" y="3889375"/>
              <a:ext cx="127000" cy="158750"/>
            </a:xfrm>
            <a:custGeom>
              <a:avLst/>
              <a:gdLst>
                <a:gd name="T0" fmla="*/ 50128901 w 292"/>
                <a:gd name="T1" fmla="*/ 2656485 h 308"/>
                <a:gd name="T2" fmla="*/ 52209613 w 292"/>
                <a:gd name="T3" fmla="*/ 9829614 h 308"/>
                <a:gd name="T4" fmla="*/ 54101130 w 292"/>
                <a:gd name="T5" fmla="*/ 24174842 h 308"/>
                <a:gd name="T6" fmla="*/ 55236301 w 292"/>
                <a:gd name="T7" fmla="*/ 38255142 h 308"/>
                <a:gd name="T8" fmla="*/ 55047106 w 292"/>
                <a:gd name="T9" fmla="*/ 42771270 h 308"/>
                <a:gd name="T10" fmla="*/ 54101130 w 292"/>
                <a:gd name="T11" fmla="*/ 47553356 h 308"/>
                <a:gd name="T12" fmla="*/ 50885682 w 292"/>
                <a:gd name="T13" fmla="*/ 54725970 h 308"/>
                <a:gd name="T14" fmla="*/ 43697134 w 292"/>
                <a:gd name="T15" fmla="*/ 49147041 h 308"/>
                <a:gd name="T16" fmla="*/ 31212425 w 292"/>
                <a:gd name="T17" fmla="*/ 68540313 h 308"/>
                <a:gd name="T18" fmla="*/ 24969853 w 292"/>
                <a:gd name="T19" fmla="*/ 73853283 h 308"/>
                <a:gd name="T20" fmla="*/ 11160777 w 292"/>
                <a:gd name="T21" fmla="*/ 78635369 h 308"/>
                <a:gd name="T22" fmla="*/ 6053377 w 292"/>
                <a:gd name="T23" fmla="*/ 81823255 h 308"/>
                <a:gd name="T24" fmla="*/ 1135171 w 292"/>
                <a:gd name="T25" fmla="*/ 81823255 h 308"/>
                <a:gd name="T26" fmla="*/ 1702322 w 292"/>
                <a:gd name="T27" fmla="*/ 78900812 h 308"/>
                <a:gd name="T28" fmla="*/ 2080712 w 292"/>
                <a:gd name="T29" fmla="*/ 75978884 h 308"/>
                <a:gd name="T30" fmla="*/ 1324366 w 292"/>
                <a:gd name="T31" fmla="*/ 70399955 h 308"/>
                <a:gd name="T32" fmla="*/ 378390 w 292"/>
                <a:gd name="T33" fmla="*/ 65352427 h 308"/>
                <a:gd name="T34" fmla="*/ 0 w 292"/>
                <a:gd name="T35" fmla="*/ 60570341 h 308"/>
                <a:gd name="T36" fmla="*/ 567586 w 292"/>
                <a:gd name="T37" fmla="*/ 54460528 h 308"/>
                <a:gd name="T38" fmla="*/ 2269908 w 292"/>
                <a:gd name="T39" fmla="*/ 49943884 h 308"/>
                <a:gd name="T40" fmla="*/ 4918205 w 292"/>
                <a:gd name="T41" fmla="*/ 46224598 h 308"/>
                <a:gd name="T42" fmla="*/ 7944894 w 292"/>
                <a:gd name="T43" fmla="*/ 42771270 h 308"/>
                <a:gd name="T44" fmla="*/ 14565856 w 292"/>
                <a:gd name="T45" fmla="*/ 35864099 h 308"/>
                <a:gd name="T46" fmla="*/ 17592545 w 292"/>
                <a:gd name="T47" fmla="*/ 31613413 h 308"/>
                <a:gd name="T48" fmla="*/ 19862452 w 292"/>
                <a:gd name="T49" fmla="*/ 26034485 h 308"/>
                <a:gd name="T50" fmla="*/ 18538086 w 292"/>
                <a:gd name="T51" fmla="*/ 25503600 h 308"/>
                <a:gd name="T52" fmla="*/ 17403349 w 292"/>
                <a:gd name="T53" fmla="*/ 24174842 h 308"/>
                <a:gd name="T54" fmla="*/ 15511397 w 292"/>
                <a:gd name="T55" fmla="*/ 19393271 h 308"/>
                <a:gd name="T56" fmla="*/ 13998271 w 292"/>
                <a:gd name="T57" fmla="*/ 13282942 h 308"/>
                <a:gd name="T58" fmla="*/ 13619880 w 292"/>
                <a:gd name="T59" fmla="*/ 6375771 h 308"/>
                <a:gd name="T60" fmla="*/ 17024959 w 292"/>
                <a:gd name="T61" fmla="*/ 5047528 h 308"/>
                <a:gd name="T62" fmla="*/ 19862452 w 292"/>
                <a:gd name="T63" fmla="*/ 5312971 h 308"/>
                <a:gd name="T64" fmla="*/ 24969853 w 292"/>
                <a:gd name="T65" fmla="*/ 6375771 h 308"/>
                <a:gd name="T66" fmla="*/ 31968771 w 292"/>
                <a:gd name="T67" fmla="*/ 5578929 h 308"/>
                <a:gd name="T68" fmla="*/ 39724904 w 292"/>
                <a:gd name="T69" fmla="*/ 3187886 h 308"/>
                <a:gd name="T70" fmla="*/ 48993729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US"/>
            </a:p>
          </p:txBody>
        </p:sp>
        <p:sp>
          <p:nvSpPr>
            <p:cNvPr id="288" name="Freeform 435">
              <a:extLst>
                <a:ext uri="{FF2B5EF4-FFF2-40B4-BE49-F238E27FC236}">
                  <a16:creationId xmlns:a16="http://schemas.microsoft.com/office/drawing/2014/main" id="{AB68C815-407B-448A-9646-43154FA3B623}"/>
                </a:ext>
              </a:extLst>
            </p:cNvPr>
            <p:cNvSpPr>
              <a:spLocks/>
            </p:cNvSpPr>
            <p:nvPr>
              <p:custDataLst>
                <p:tags r:id="rId276"/>
              </p:custDataLst>
            </p:nvPr>
          </p:nvSpPr>
          <p:spPr bwMode="auto">
            <a:xfrm>
              <a:off x="4864100" y="4040188"/>
              <a:ext cx="6350" cy="57150"/>
            </a:xfrm>
            <a:custGeom>
              <a:avLst/>
              <a:gdLst>
                <a:gd name="T0" fmla="*/ 2262868 w 14"/>
                <a:gd name="T1" fmla="*/ 0 h 7"/>
                <a:gd name="T2" fmla="*/ 2674257 w 14"/>
                <a:gd name="T3" fmla="*/ 199967850 h 7"/>
                <a:gd name="T4" fmla="*/ 2880179 w 14"/>
                <a:gd name="T5" fmla="*/ 466588929 h 7"/>
                <a:gd name="T6" fmla="*/ 0 w 14"/>
                <a:gd name="T7" fmla="*/ 466588929 h 7"/>
                <a:gd name="T8" fmla="*/ 2262868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US"/>
            </a:p>
          </p:txBody>
        </p:sp>
        <p:sp>
          <p:nvSpPr>
            <p:cNvPr id="289" name="Freeform 436">
              <a:extLst>
                <a:ext uri="{FF2B5EF4-FFF2-40B4-BE49-F238E27FC236}">
                  <a16:creationId xmlns:a16="http://schemas.microsoft.com/office/drawing/2014/main" id="{49261EDD-AA4D-4D05-BD7D-6C34F9D038AC}"/>
                </a:ext>
              </a:extLst>
            </p:cNvPr>
            <p:cNvSpPr>
              <a:spLocks/>
            </p:cNvSpPr>
            <p:nvPr>
              <p:custDataLst>
                <p:tags r:id="rId277"/>
              </p:custDataLst>
            </p:nvPr>
          </p:nvSpPr>
          <p:spPr bwMode="auto">
            <a:xfrm>
              <a:off x="4354513" y="3276600"/>
              <a:ext cx="249237" cy="500063"/>
            </a:xfrm>
            <a:custGeom>
              <a:avLst/>
              <a:gdLst>
                <a:gd name="T0" fmla="*/ 14905745 w 581"/>
                <a:gd name="T1" fmla="*/ 31531135 h 955"/>
                <a:gd name="T2" fmla="*/ 19138485 w 581"/>
                <a:gd name="T3" fmla="*/ 41675848 h 955"/>
                <a:gd name="T4" fmla="*/ 20426710 w 581"/>
                <a:gd name="T5" fmla="*/ 49353239 h 955"/>
                <a:gd name="T6" fmla="*/ 17482195 w 581"/>
                <a:gd name="T7" fmla="*/ 64158740 h 955"/>
                <a:gd name="T8" fmla="*/ 17666227 w 581"/>
                <a:gd name="T9" fmla="*/ 89109478 h 955"/>
                <a:gd name="T10" fmla="*/ 17114131 w 581"/>
                <a:gd name="T11" fmla="*/ 99528570 h 955"/>
                <a:gd name="T12" fmla="*/ 15089777 w 581"/>
                <a:gd name="T13" fmla="*/ 108576813 h 955"/>
                <a:gd name="T14" fmla="*/ 10857467 w 581"/>
                <a:gd name="T15" fmla="*/ 117624531 h 955"/>
                <a:gd name="T16" fmla="*/ 5704567 w 581"/>
                <a:gd name="T17" fmla="*/ 126398394 h 955"/>
                <a:gd name="T18" fmla="*/ 3128546 w 581"/>
                <a:gd name="T19" fmla="*/ 131882320 h 955"/>
                <a:gd name="T20" fmla="*/ 368064 w 581"/>
                <a:gd name="T21" fmla="*/ 148607430 h 955"/>
                <a:gd name="T22" fmla="*/ 12697789 w 581"/>
                <a:gd name="T23" fmla="*/ 168896857 h 955"/>
                <a:gd name="T24" fmla="*/ 12697789 w 581"/>
                <a:gd name="T25" fmla="*/ 173832024 h 955"/>
                <a:gd name="T26" fmla="*/ 13617520 w 581"/>
                <a:gd name="T27" fmla="*/ 182332030 h 955"/>
                <a:gd name="T28" fmla="*/ 13617520 w 581"/>
                <a:gd name="T29" fmla="*/ 190831514 h 955"/>
                <a:gd name="T30" fmla="*/ 14353649 w 581"/>
                <a:gd name="T31" fmla="*/ 200976227 h 955"/>
                <a:gd name="T32" fmla="*/ 17298163 w 581"/>
                <a:gd name="T33" fmla="*/ 213314406 h 955"/>
                <a:gd name="T34" fmla="*/ 19322517 w 581"/>
                <a:gd name="T35" fmla="*/ 217153102 h 955"/>
                <a:gd name="T36" fmla="*/ 12513757 w 581"/>
                <a:gd name="T37" fmla="*/ 217701337 h 955"/>
                <a:gd name="T38" fmla="*/ 7728921 w 581"/>
                <a:gd name="T39" fmla="*/ 219894803 h 955"/>
                <a:gd name="T40" fmla="*/ 6624728 w 581"/>
                <a:gd name="T41" fmla="*/ 222637028 h 955"/>
                <a:gd name="T42" fmla="*/ 7728921 w 581"/>
                <a:gd name="T43" fmla="*/ 230862131 h 955"/>
                <a:gd name="T44" fmla="*/ 12697789 w 581"/>
                <a:gd name="T45" fmla="*/ 240184753 h 955"/>
                <a:gd name="T46" fmla="*/ 16009938 w 581"/>
                <a:gd name="T47" fmla="*/ 246490770 h 955"/>
                <a:gd name="T48" fmla="*/ 18402356 w 581"/>
                <a:gd name="T49" fmla="*/ 254167639 h 955"/>
                <a:gd name="T50" fmla="*/ 28707727 w 581"/>
                <a:gd name="T51" fmla="*/ 261845030 h 955"/>
                <a:gd name="T52" fmla="*/ 34780358 w 581"/>
                <a:gd name="T53" fmla="*/ 258280714 h 955"/>
                <a:gd name="T54" fmla="*/ 45637826 w 581"/>
                <a:gd name="T55" fmla="*/ 254716398 h 955"/>
                <a:gd name="T56" fmla="*/ 51342393 w 581"/>
                <a:gd name="T57" fmla="*/ 252522932 h 955"/>
                <a:gd name="T58" fmla="*/ 54654972 w 581"/>
                <a:gd name="T59" fmla="*/ 247861621 h 955"/>
                <a:gd name="T60" fmla="*/ 55575132 w 581"/>
                <a:gd name="T61" fmla="*/ 244571684 h 955"/>
                <a:gd name="T62" fmla="*/ 55575132 w 581"/>
                <a:gd name="T63" fmla="*/ 237991287 h 955"/>
                <a:gd name="T64" fmla="*/ 62199860 w 581"/>
                <a:gd name="T65" fmla="*/ 238813379 h 955"/>
                <a:gd name="T66" fmla="*/ 67536363 w 581"/>
                <a:gd name="T67" fmla="*/ 237442528 h 955"/>
                <a:gd name="T68" fmla="*/ 71585070 w 581"/>
                <a:gd name="T69" fmla="*/ 234700827 h 955"/>
                <a:gd name="T70" fmla="*/ 74529585 w 581"/>
                <a:gd name="T71" fmla="*/ 230862131 h 955"/>
                <a:gd name="T72" fmla="*/ 79498023 w 581"/>
                <a:gd name="T73" fmla="*/ 221265653 h 955"/>
                <a:gd name="T74" fmla="*/ 84650494 w 581"/>
                <a:gd name="T75" fmla="*/ 211943555 h 955"/>
                <a:gd name="T76" fmla="*/ 87779041 w 581"/>
                <a:gd name="T77" fmla="*/ 208379239 h 955"/>
                <a:gd name="T78" fmla="*/ 92379844 w 581"/>
                <a:gd name="T79" fmla="*/ 206185773 h 955"/>
                <a:gd name="T80" fmla="*/ 95876026 w 581"/>
                <a:gd name="T81" fmla="*/ 204266687 h 955"/>
                <a:gd name="T82" fmla="*/ 91827748 w 581"/>
                <a:gd name="T83" fmla="*/ 191105893 h 955"/>
                <a:gd name="T84" fmla="*/ 89067266 w 581"/>
                <a:gd name="T85" fmla="*/ 179041570 h 955"/>
                <a:gd name="T86" fmla="*/ 86858880 w 581"/>
                <a:gd name="T87" fmla="*/ 170815943 h 955"/>
                <a:gd name="T88" fmla="*/ 88515169 w 581"/>
                <a:gd name="T89" fmla="*/ 167251627 h 955"/>
                <a:gd name="T90" fmla="*/ 89619362 w 581"/>
                <a:gd name="T91" fmla="*/ 158752144 h 955"/>
                <a:gd name="T92" fmla="*/ 90907587 w 581"/>
                <a:gd name="T93" fmla="*/ 148333051 h 955"/>
                <a:gd name="T94" fmla="*/ 92931941 w 581"/>
                <a:gd name="T95" fmla="*/ 142300889 h 955"/>
                <a:gd name="T96" fmla="*/ 97900379 w 581"/>
                <a:gd name="T97" fmla="*/ 133253171 h 955"/>
                <a:gd name="T98" fmla="*/ 104893172 w 581"/>
                <a:gd name="T99" fmla="*/ 126398394 h 955"/>
                <a:gd name="T100" fmla="*/ 23738859 w 581"/>
                <a:gd name="T101" fmla="*/ 0 h 955"/>
                <a:gd name="T102" fmla="*/ 18034292 w 581"/>
                <a:gd name="T103" fmla="*/ 1370851 h 955"/>
                <a:gd name="T104" fmla="*/ 12697789 w 581"/>
                <a:gd name="T105" fmla="*/ 658039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US"/>
            </a:p>
          </p:txBody>
        </p:sp>
        <p:sp>
          <p:nvSpPr>
            <p:cNvPr id="290" name="Freeform 437">
              <a:extLst>
                <a:ext uri="{FF2B5EF4-FFF2-40B4-BE49-F238E27FC236}">
                  <a16:creationId xmlns:a16="http://schemas.microsoft.com/office/drawing/2014/main" id="{D04036E5-7C08-4334-9410-F6309C1A03CE}"/>
                </a:ext>
              </a:extLst>
            </p:cNvPr>
            <p:cNvSpPr>
              <a:spLocks/>
            </p:cNvSpPr>
            <p:nvPr>
              <p:custDataLst>
                <p:tags r:id="rId278"/>
              </p:custDataLst>
            </p:nvPr>
          </p:nvSpPr>
          <p:spPr bwMode="auto">
            <a:xfrm>
              <a:off x="4030663" y="2659063"/>
              <a:ext cx="15875" cy="57150"/>
            </a:xfrm>
            <a:custGeom>
              <a:avLst/>
              <a:gdLst>
                <a:gd name="T0" fmla="*/ 3235678 w 45"/>
                <a:gd name="T1" fmla="*/ 0 h 36"/>
                <a:gd name="T2" fmla="*/ 0 w 45"/>
                <a:gd name="T3" fmla="*/ 45362813 h 36"/>
                <a:gd name="T4" fmla="*/ 2862439 w 45"/>
                <a:gd name="T5" fmla="*/ 90725625 h 36"/>
                <a:gd name="T6" fmla="*/ 5600347 w 45"/>
                <a:gd name="T7" fmla="*/ 37803138 h 36"/>
                <a:gd name="T8" fmla="*/ 3235678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291" name="Group 438">
              <a:extLst>
                <a:ext uri="{FF2B5EF4-FFF2-40B4-BE49-F238E27FC236}">
                  <a16:creationId xmlns:a16="http://schemas.microsoft.com/office/drawing/2014/main" id="{876AF07F-CD79-49AB-AAAC-762E0133291D}"/>
                </a:ext>
              </a:extLst>
            </p:cNvPr>
            <p:cNvGrpSpPr>
              <a:grpSpLocks/>
            </p:cNvGrpSpPr>
            <p:nvPr>
              <p:custDataLst>
                <p:tags r:id="rId279"/>
              </p:custDataLst>
            </p:nvPr>
          </p:nvGrpSpPr>
          <p:grpSpPr bwMode="auto">
            <a:xfrm>
              <a:off x="2330450" y="4719638"/>
              <a:ext cx="384175" cy="1031875"/>
              <a:chOff x="1589" y="3126"/>
              <a:chExt cx="290" cy="657"/>
            </a:xfrm>
          </p:grpSpPr>
          <p:sp>
            <p:nvSpPr>
              <p:cNvPr id="409" name="Freeform 439">
                <a:extLst>
                  <a:ext uri="{FF2B5EF4-FFF2-40B4-BE49-F238E27FC236}">
                    <a16:creationId xmlns:a16="http://schemas.microsoft.com/office/drawing/2014/main" id="{A2BAA84E-4D60-4571-A305-24E1F6D29A3E}"/>
                  </a:ext>
                </a:extLst>
              </p:cNvPr>
              <p:cNvSpPr>
                <a:spLocks/>
              </p:cNvSpPr>
              <p:nvPr/>
            </p:nvSpPr>
            <p:spPr bwMode="auto">
              <a:xfrm>
                <a:off x="1748" y="3531"/>
                <a:ext cx="15" cy="17"/>
              </a:xfrm>
              <a:custGeom>
                <a:avLst/>
                <a:gdLst>
                  <a:gd name="T0" fmla="*/ 5 w 46"/>
                  <a:gd name="T1" fmla="*/ 1 h 51"/>
                  <a:gd name="T2" fmla="*/ 2 w 46"/>
                  <a:gd name="T3" fmla="*/ 0 h 51"/>
                  <a:gd name="T4" fmla="*/ 1 w 46"/>
                  <a:gd name="T5" fmla="*/ 1 h 51"/>
                  <a:gd name="T6" fmla="*/ 1 w 46"/>
                  <a:gd name="T7" fmla="*/ 1 h 51"/>
                  <a:gd name="T8" fmla="*/ 0 w 46"/>
                  <a:gd name="T9" fmla="*/ 1 h 51"/>
                  <a:gd name="T10" fmla="*/ 0 w 46"/>
                  <a:gd name="T11" fmla="*/ 2 h 51"/>
                  <a:gd name="T12" fmla="*/ 0 w 46"/>
                  <a:gd name="T13" fmla="*/ 2 h 51"/>
                  <a:gd name="T14" fmla="*/ 0 w 46"/>
                  <a:gd name="T15" fmla="*/ 2 h 51"/>
                  <a:gd name="T16" fmla="*/ 0 w 46"/>
                  <a:gd name="T17" fmla="*/ 3 h 51"/>
                  <a:gd name="T18" fmla="*/ 0 w 46"/>
                  <a:gd name="T19" fmla="*/ 3 h 51"/>
                  <a:gd name="T20" fmla="*/ 0 w 46"/>
                  <a:gd name="T21" fmla="*/ 4 h 51"/>
                  <a:gd name="T22" fmla="*/ 1 w 46"/>
                  <a:gd name="T23" fmla="*/ 5 h 51"/>
                  <a:gd name="T24" fmla="*/ 1 w 46"/>
                  <a:gd name="T25" fmla="*/ 5 h 51"/>
                  <a:gd name="T26" fmla="*/ 1 w 46"/>
                  <a:gd name="T27" fmla="*/ 5 h 51"/>
                  <a:gd name="T28" fmla="*/ 2 w 46"/>
                  <a:gd name="T29" fmla="*/ 6 h 51"/>
                  <a:gd name="T30" fmla="*/ 2 w 46"/>
                  <a:gd name="T31" fmla="*/ 6 h 51"/>
                  <a:gd name="T32" fmla="*/ 2 w 46"/>
                  <a:gd name="T33" fmla="*/ 6 h 51"/>
                  <a:gd name="T34" fmla="*/ 2 w 46"/>
                  <a:gd name="T35" fmla="*/ 6 h 51"/>
                  <a:gd name="T36" fmla="*/ 4 w 46"/>
                  <a:gd name="T37" fmla="*/ 6 h 51"/>
                  <a:gd name="T38" fmla="*/ 5 w 46"/>
                  <a:gd name="T39" fmla="*/ 6 h 51"/>
                  <a:gd name="T40" fmla="*/ 5 w 46"/>
                  <a:gd name="T41" fmla="*/ 4 h 51"/>
                  <a:gd name="T42" fmla="*/ 5 w 46"/>
                  <a:gd name="T43" fmla="*/ 3 h 51"/>
                  <a:gd name="T44" fmla="*/ 5 w 46"/>
                  <a:gd name="T45" fmla="*/ 2 h 51"/>
                  <a:gd name="T46" fmla="*/ 5 w 46"/>
                  <a:gd name="T47" fmla="*/ 1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0" name="Freeform 440">
                <a:extLst>
                  <a:ext uri="{FF2B5EF4-FFF2-40B4-BE49-F238E27FC236}">
                    <a16:creationId xmlns:a16="http://schemas.microsoft.com/office/drawing/2014/main" id="{CB2E3405-196A-40CE-9D60-A6F7387EE166}"/>
                  </a:ext>
                </a:extLst>
              </p:cNvPr>
              <p:cNvSpPr>
                <a:spLocks/>
              </p:cNvSpPr>
              <p:nvPr/>
            </p:nvSpPr>
            <p:spPr bwMode="auto">
              <a:xfrm>
                <a:off x="1759" y="3730"/>
                <a:ext cx="63" cy="53"/>
              </a:xfrm>
              <a:custGeom>
                <a:avLst/>
                <a:gdLst>
                  <a:gd name="T0" fmla="*/ 0 w 192"/>
                  <a:gd name="T1" fmla="*/ 0 h 158"/>
                  <a:gd name="T2" fmla="*/ 0 w 192"/>
                  <a:gd name="T3" fmla="*/ 2 h 158"/>
                  <a:gd name="T4" fmla="*/ 0 w 192"/>
                  <a:gd name="T5" fmla="*/ 3 h 158"/>
                  <a:gd name="T6" fmla="*/ 0 w 192"/>
                  <a:gd name="T7" fmla="*/ 4 h 158"/>
                  <a:gd name="T8" fmla="*/ 1 w 192"/>
                  <a:gd name="T9" fmla="*/ 6 h 158"/>
                  <a:gd name="T10" fmla="*/ 1 w 192"/>
                  <a:gd name="T11" fmla="*/ 7 h 158"/>
                  <a:gd name="T12" fmla="*/ 2 w 192"/>
                  <a:gd name="T13" fmla="*/ 8 h 158"/>
                  <a:gd name="T14" fmla="*/ 2 w 192"/>
                  <a:gd name="T15" fmla="*/ 9 h 158"/>
                  <a:gd name="T16" fmla="*/ 3 w 192"/>
                  <a:gd name="T17" fmla="*/ 10 h 158"/>
                  <a:gd name="T18" fmla="*/ 5 w 192"/>
                  <a:gd name="T19" fmla="*/ 14 h 158"/>
                  <a:gd name="T20" fmla="*/ 7 w 192"/>
                  <a:gd name="T21" fmla="*/ 17 h 158"/>
                  <a:gd name="T22" fmla="*/ 8 w 192"/>
                  <a:gd name="T23" fmla="*/ 17 h 158"/>
                  <a:gd name="T24" fmla="*/ 9 w 192"/>
                  <a:gd name="T25" fmla="*/ 17 h 158"/>
                  <a:gd name="T26" fmla="*/ 9 w 192"/>
                  <a:gd name="T27" fmla="*/ 17 h 158"/>
                  <a:gd name="T28" fmla="*/ 10 w 192"/>
                  <a:gd name="T29" fmla="*/ 17 h 158"/>
                  <a:gd name="T30" fmla="*/ 11 w 192"/>
                  <a:gd name="T31" fmla="*/ 18 h 158"/>
                  <a:gd name="T32" fmla="*/ 13 w 192"/>
                  <a:gd name="T33" fmla="*/ 18 h 158"/>
                  <a:gd name="T34" fmla="*/ 16 w 192"/>
                  <a:gd name="T35" fmla="*/ 17 h 158"/>
                  <a:gd name="T36" fmla="*/ 21 w 192"/>
                  <a:gd name="T37" fmla="*/ 17 h 158"/>
                  <a:gd name="T38" fmla="*/ 20 w 192"/>
                  <a:gd name="T39" fmla="*/ 17 h 158"/>
                  <a:gd name="T40" fmla="*/ 19 w 192"/>
                  <a:gd name="T41" fmla="*/ 17 h 158"/>
                  <a:gd name="T42" fmla="*/ 18 w 192"/>
                  <a:gd name="T43" fmla="*/ 17 h 158"/>
                  <a:gd name="T44" fmla="*/ 17 w 192"/>
                  <a:gd name="T45" fmla="*/ 17 h 158"/>
                  <a:gd name="T46" fmla="*/ 16 w 192"/>
                  <a:gd name="T47" fmla="*/ 16 h 158"/>
                  <a:gd name="T48" fmla="*/ 14 w 192"/>
                  <a:gd name="T49" fmla="*/ 15 h 158"/>
                  <a:gd name="T50" fmla="*/ 12 w 192"/>
                  <a:gd name="T51" fmla="*/ 15 h 158"/>
                  <a:gd name="T52" fmla="*/ 11 w 192"/>
                  <a:gd name="T53" fmla="*/ 13 h 158"/>
                  <a:gd name="T54" fmla="*/ 10 w 192"/>
                  <a:gd name="T55" fmla="*/ 12 h 158"/>
                  <a:gd name="T56" fmla="*/ 8 w 192"/>
                  <a:gd name="T57" fmla="*/ 11 h 158"/>
                  <a:gd name="T58" fmla="*/ 7 w 192"/>
                  <a:gd name="T59" fmla="*/ 10 h 158"/>
                  <a:gd name="T60" fmla="*/ 6 w 192"/>
                  <a:gd name="T61" fmla="*/ 8 h 158"/>
                  <a:gd name="T62" fmla="*/ 5 w 192"/>
                  <a:gd name="T63" fmla="*/ 7 h 158"/>
                  <a:gd name="T64" fmla="*/ 4 w 192"/>
                  <a:gd name="T65" fmla="*/ 6 h 158"/>
                  <a:gd name="T66" fmla="*/ 3 w 192"/>
                  <a:gd name="T67" fmla="*/ 4 h 158"/>
                  <a:gd name="T68" fmla="*/ 2 w 192"/>
                  <a:gd name="T69" fmla="*/ 3 h 158"/>
                  <a:gd name="T70" fmla="*/ 2 w 192"/>
                  <a:gd name="T71" fmla="*/ 2 h 158"/>
                  <a:gd name="T72" fmla="*/ 1 w 192"/>
                  <a:gd name="T73" fmla="*/ 1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1" name="Freeform 441">
                <a:extLst>
                  <a:ext uri="{FF2B5EF4-FFF2-40B4-BE49-F238E27FC236}">
                    <a16:creationId xmlns:a16="http://schemas.microsoft.com/office/drawing/2014/main" id="{37E0E77D-84AC-4724-8133-21FAB907641A}"/>
                  </a:ext>
                </a:extLst>
              </p:cNvPr>
              <p:cNvSpPr>
                <a:spLocks/>
              </p:cNvSpPr>
              <p:nvPr/>
            </p:nvSpPr>
            <p:spPr bwMode="auto">
              <a:xfrm>
                <a:off x="1589" y="3126"/>
                <a:ext cx="290" cy="606"/>
              </a:xfrm>
              <a:custGeom>
                <a:avLst/>
                <a:gdLst>
                  <a:gd name="T0" fmla="*/ 83 w 884"/>
                  <a:gd name="T1" fmla="*/ 46 h 1818"/>
                  <a:gd name="T2" fmla="*/ 94 w 884"/>
                  <a:gd name="T3" fmla="*/ 38 h 1818"/>
                  <a:gd name="T4" fmla="*/ 95 w 884"/>
                  <a:gd name="T5" fmla="*/ 26 h 1818"/>
                  <a:gd name="T6" fmla="*/ 91 w 884"/>
                  <a:gd name="T7" fmla="*/ 21 h 1818"/>
                  <a:gd name="T8" fmla="*/ 91 w 884"/>
                  <a:gd name="T9" fmla="*/ 29 h 1818"/>
                  <a:gd name="T10" fmla="*/ 83 w 884"/>
                  <a:gd name="T11" fmla="*/ 36 h 1818"/>
                  <a:gd name="T12" fmla="*/ 72 w 884"/>
                  <a:gd name="T13" fmla="*/ 37 h 1818"/>
                  <a:gd name="T14" fmla="*/ 67 w 884"/>
                  <a:gd name="T15" fmla="*/ 32 h 1818"/>
                  <a:gd name="T16" fmla="*/ 71 w 884"/>
                  <a:gd name="T17" fmla="*/ 24 h 1818"/>
                  <a:gd name="T18" fmla="*/ 58 w 884"/>
                  <a:gd name="T19" fmla="*/ 16 h 1818"/>
                  <a:gd name="T20" fmla="*/ 46 w 884"/>
                  <a:gd name="T21" fmla="*/ 10 h 1818"/>
                  <a:gd name="T22" fmla="*/ 40 w 884"/>
                  <a:gd name="T23" fmla="*/ 1 h 1818"/>
                  <a:gd name="T24" fmla="*/ 31 w 884"/>
                  <a:gd name="T25" fmla="*/ 2 h 1818"/>
                  <a:gd name="T26" fmla="*/ 25 w 884"/>
                  <a:gd name="T27" fmla="*/ 3 h 1818"/>
                  <a:gd name="T28" fmla="*/ 18 w 884"/>
                  <a:gd name="T29" fmla="*/ 1 h 1818"/>
                  <a:gd name="T30" fmla="*/ 10 w 884"/>
                  <a:gd name="T31" fmla="*/ 6 h 1818"/>
                  <a:gd name="T32" fmla="*/ 7 w 884"/>
                  <a:gd name="T33" fmla="*/ 13 h 1818"/>
                  <a:gd name="T34" fmla="*/ 3 w 884"/>
                  <a:gd name="T35" fmla="*/ 20 h 1818"/>
                  <a:gd name="T36" fmla="*/ 6 w 884"/>
                  <a:gd name="T37" fmla="*/ 28 h 1818"/>
                  <a:gd name="T38" fmla="*/ 6 w 884"/>
                  <a:gd name="T39" fmla="*/ 35 h 1818"/>
                  <a:gd name="T40" fmla="*/ 0 w 884"/>
                  <a:gd name="T41" fmla="*/ 48 h 1818"/>
                  <a:gd name="T42" fmla="*/ 1 w 884"/>
                  <a:gd name="T43" fmla="*/ 68 h 1818"/>
                  <a:gd name="T44" fmla="*/ 8 w 884"/>
                  <a:gd name="T45" fmla="*/ 77 h 1818"/>
                  <a:gd name="T46" fmla="*/ 7 w 884"/>
                  <a:gd name="T47" fmla="*/ 84 h 1818"/>
                  <a:gd name="T48" fmla="*/ 7 w 884"/>
                  <a:gd name="T49" fmla="*/ 90 h 1818"/>
                  <a:gd name="T50" fmla="*/ 9 w 884"/>
                  <a:gd name="T51" fmla="*/ 94 h 1818"/>
                  <a:gd name="T52" fmla="*/ 6 w 884"/>
                  <a:gd name="T53" fmla="*/ 100 h 1818"/>
                  <a:gd name="T54" fmla="*/ 9 w 884"/>
                  <a:gd name="T55" fmla="*/ 109 h 1818"/>
                  <a:gd name="T56" fmla="*/ 9 w 884"/>
                  <a:gd name="T57" fmla="*/ 117 h 1818"/>
                  <a:gd name="T58" fmla="*/ 9 w 884"/>
                  <a:gd name="T59" fmla="*/ 128 h 1818"/>
                  <a:gd name="T60" fmla="*/ 15 w 884"/>
                  <a:gd name="T61" fmla="*/ 141 h 1818"/>
                  <a:gd name="T62" fmla="*/ 21 w 884"/>
                  <a:gd name="T63" fmla="*/ 155 h 1818"/>
                  <a:gd name="T64" fmla="*/ 23 w 884"/>
                  <a:gd name="T65" fmla="*/ 163 h 1818"/>
                  <a:gd name="T66" fmla="*/ 25 w 884"/>
                  <a:gd name="T67" fmla="*/ 170 h 1818"/>
                  <a:gd name="T68" fmla="*/ 23 w 884"/>
                  <a:gd name="T69" fmla="*/ 177 h 1818"/>
                  <a:gd name="T70" fmla="*/ 22 w 884"/>
                  <a:gd name="T71" fmla="*/ 183 h 1818"/>
                  <a:gd name="T72" fmla="*/ 25 w 884"/>
                  <a:gd name="T73" fmla="*/ 191 h 1818"/>
                  <a:gd name="T74" fmla="*/ 33 w 884"/>
                  <a:gd name="T75" fmla="*/ 197 h 1818"/>
                  <a:gd name="T76" fmla="*/ 42 w 884"/>
                  <a:gd name="T77" fmla="*/ 200 h 1818"/>
                  <a:gd name="T78" fmla="*/ 49 w 884"/>
                  <a:gd name="T79" fmla="*/ 198 h 1818"/>
                  <a:gd name="T80" fmla="*/ 49 w 884"/>
                  <a:gd name="T81" fmla="*/ 189 h 1818"/>
                  <a:gd name="T82" fmla="*/ 51 w 884"/>
                  <a:gd name="T83" fmla="*/ 179 h 1818"/>
                  <a:gd name="T84" fmla="*/ 53 w 884"/>
                  <a:gd name="T85" fmla="*/ 168 h 1818"/>
                  <a:gd name="T86" fmla="*/ 45 w 884"/>
                  <a:gd name="T87" fmla="*/ 165 h 1818"/>
                  <a:gd name="T88" fmla="*/ 43 w 884"/>
                  <a:gd name="T89" fmla="*/ 159 h 1818"/>
                  <a:gd name="T90" fmla="*/ 49 w 884"/>
                  <a:gd name="T91" fmla="*/ 155 h 1818"/>
                  <a:gd name="T92" fmla="*/ 52 w 884"/>
                  <a:gd name="T93" fmla="*/ 148 h 1818"/>
                  <a:gd name="T94" fmla="*/ 49 w 884"/>
                  <a:gd name="T95" fmla="*/ 136 h 1818"/>
                  <a:gd name="T96" fmla="*/ 46 w 884"/>
                  <a:gd name="T97" fmla="*/ 127 h 1818"/>
                  <a:gd name="T98" fmla="*/ 56 w 884"/>
                  <a:gd name="T99" fmla="*/ 130 h 1818"/>
                  <a:gd name="T100" fmla="*/ 61 w 884"/>
                  <a:gd name="T101" fmla="*/ 128 h 1818"/>
                  <a:gd name="T102" fmla="*/ 60 w 884"/>
                  <a:gd name="T103" fmla="*/ 120 h 1818"/>
                  <a:gd name="T104" fmla="*/ 61 w 884"/>
                  <a:gd name="T105" fmla="*/ 114 h 1818"/>
                  <a:gd name="T106" fmla="*/ 73 w 884"/>
                  <a:gd name="T107" fmla="*/ 114 h 1818"/>
                  <a:gd name="T108" fmla="*/ 86 w 884"/>
                  <a:gd name="T109" fmla="*/ 108 h 1818"/>
                  <a:gd name="T110" fmla="*/ 88 w 884"/>
                  <a:gd name="T111" fmla="*/ 98 h 1818"/>
                  <a:gd name="T112" fmla="*/ 84 w 884"/>
                  <a:gd name="T113" fmla="*/ 95 h 1818"/>
                  <a:gd name="T114" fmla="*/ 82 w 884"/>
                  <a:gd name="T115" fmla="*/ 90 h 1818"/>
                  <a:gd name="T116" fmla="*/ 74 w 884"/>
                  <a:gd name="T117" fmla="*/ 84 h 1818"/>
                  <a:gd name="T118" fmla="*/ 75 w 884"/>
                  <a:gd name="T119" fmla="*/ 59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92" name="Freeform 442">
              <a:extLst>
                <a:ext uri="{FF2B5EF4-FFF2-40B4-BE49-F238E27FC236}">
                  <a16:creationId xmlns:a16="http://schemas.microsoft.com/office/drawing/2014/main" id="{07AF4872-F39A-4A6D-8880-AB3319C61C7C}"/>
                </a:ext>
              </a:extLst>
            </p:cNvPr>
            <p:cNvSpPr>
              <a:spLocks/>
            </p:cNvSpPr>
            <p:nvPr>
              <p:custDataLst>
                <p:tags r:id="rId280"/>
              </p:custDataLst>
            </p:nvPr>
          </p:nvSpPr>
          <p:spPr bwMode="auto">
            <a:xfrm>
              <a:off x="5040313" y="2671763"/>
              <a:ext cx="123825" cy="109537"/>
            </a:xfrm>
            <a:custGeom>
              <a:avLst/>
              <a:gdLst>
                <a:gd name="T0" fmla="*/ 6500147 w 279"/>
                <a:gd name="T1" fmla="*/ 25083665 h 204"/>
                <a:gd name="T2" fmla="*/ 11621353 w 279"/>
                <a:gd name="T3" fmla="*/ 40940901 h 204"/>
                <a:gd name="T4" fmla="*/ 11621353 w 279"/>
                <a:gd name="T5" fmla="*/ 51608507 h 204"/>
                <a:gd name="T6" fmla="*/ 20091161 w 279"/>
                <a:gd name="T7" fmla="*/ 56509795 h 204"/>
                <a:gd name="T8" fmla="*/ 24030926 w 279"/>
                <a:gd name="T9" fmla="*/ 58239851 h 204"/>
                <a:gd name="T10" fmla="*/ 27379527 w 279"/>
                <a:gd name="T11" fmla="*/ 58816536 h 204"/>
                <a:gd name="T12" fmla="*/ 28758023 w 279"/>
                <a:gd name="T13" fmla="*/ 57951508 h 204"/>
                <a:gd name="T14" fmla="*/ 29742854 w 279"/>
                <a:gd name="T15" fmla="*/ 55933110 h 204"/>
                <a:gd name="T16" fmla="*/ 31515903 w 279"/>
                <a:gd name="T17" fmla="*/ 49590645 h 204"/>
                <a:gd name="T18" fmla="*/ 33879674 w 279"/>
                <a:gd name="T19" fmla="*/ 42959300 h 204"/>
                <a:gd name="T20" fmla="*/ 35652280 w 279"/>
                <a:gd name="T21" fmla="*/ 40652559 h 204"/>
                <a:gd name="T22" fmla="*/ 37818995 w 279"/>
                <a:gd name="T23" fmla="*/ 39210845 h 204"/>
                <a:gd name="T24" fmla="*/ 41167596 w 279"/>
                <a:gd name="T25" fmla="*/ 39787531 h 204"/>
                <a:gd name="T26" fmla="*/ 43334312 w 279"/>
                <a:gd name="T27" fmla="*/ 40940901 h 204"/>
                <a:gd name="T28" fmla="*/ 44909863 w 279"/>
                <a:gd name="T29" fmla="*/ 42670957 h 204"/>
                <a:gd name="T30" fmla="*/ 45501027 w 279"/>
                <a:gd name="T31" fmla="*/ 44400477 h 204"/>
                <a:gd name="T32" fmla="*/ 46091748 w 279"/>
                <a:gd name="T33" fmla="*/ 47283903 h 204"/>
                <a:gd name="T34" fmla="*/ 45501027 w 279"/>
                <a:gd name="T35" fmla="*/ 48148931 h 204"/>
                <a:gd name="T36" fmla="*/ 46091748 w 279"/>
                <a:gd name="T37" fmla="*/ 44112671 h 204"/>
                <a:gd name="T38" fmla="*/ 46879524 w 279"/>
                <a:gd name="T39" fmla="*/ 40364216 h 204"/>
                <a:gd name="T40" fmla="*/ 48258464 w 279"/>
                <a:gd name="T41" fmla="*/ 33732871 h 204"/>
                <a:gd name="T42" fmla="*/ 50031513 w 279"/>
                <a:gd name="T43" fmla="*/ 33156186 h 204"/>
                <a:gd name="T44" fmla="*/ 52001174 w 279"/>
                <a:gd name="T45" fmla="*/ 31715010 h 204"/>
                <a:gd name="T46" fmla="*/ 54955665 w 279"/>
                <a:gd name="T47" fmla="*/ 28543240 h 204"/>
                <a:gd name="T48" fmla="*/ 49637404 w 279"/>
                <a:gd name="T49" fmla="*/ 21623553 h 204"/>
                <a:gd name="T50" fmla="*/ 44713252 w 279"/>
                <a:gd name="T51" fmla="*/ 16722264 h 204"/>
                <a:gd name="T52" fmla="*/ 40182766 w 279"/>
                <a:gd name="T53" fmla="*/ 12686004 h 204"/>
                <a:gd name="T54" fmla="*/ 36440055 w 279"/>
                <a:gd name="T55" fmla="*/ 8937549 h 204"/>
                <a:gd name="T56" fmla="*/ 28758023 w 279"/>
                <a:gd name="T57" fmla="*/ 19605691 h 204"/>
                <a:gd name="T58" fmla="*/ 15561119 w 279"/>
                <a:gd name="T59" fmla="*/ 7208030 h 204"/>
                <a:gd name="T60" fmla="*/ 10242413 w 279"/>
                <a:gd name="T61" fmla="*/ 3459575 h 204"/>
                <a:gd name="T62" fmla="*/ 9060972 w 279"/>
                <a:gd name="T63" fmla="*/ 17875635 h 204"/>
                <a:gd name="T64" fmla="*/ 0 w 279"/>
                <a:gd name="T65" fmla="*/ 1614557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US"/>
            </a:p>
          </p:txBody>
        </p:sp>
        <p:sp>
          <p:nvSpPr>
            <p:cNvPr id="293" name="Freeform 443">
              <a:extLst>
                <a:ext uri="{FF2B5EF4-FFF2-40B4-BE49-F238E27FC236}">
                  <a16:creationId xmlns:a16="http://schemas.microsoft.com/office/drawing/2014/main" id="{9433E597-F7F6-4666-8676-2C23EB38C60F}"/>
                </a:ext>
              </a:extLst>
            </p:cNvPr>
            <p:cNvSpPr>
              <a:spLocks/>
            </p:cNvSpPr>
            <p:nvPr>
              <p:custDataLst>
                <p:tags r:id="rId281"/>
              </p:custDataLst>
            </p:nvPr>
          </p:nvSpPr>
          <p:spPr bwMode="auto">
            <a:xfrm>
              <a:off x="4506913" y="2244725"/>
              <a:ext cx="209550" cy="150813"/>
            </a:xfrm>
            <a:custGeom>
              <a:avLst/>
              <a:gdLst>
                <a:gd name="T0" fmla="*/ 47042895 w 485"/>
                <a:gd name="T1" fmla="*/ 5371706 h 291"/>
                <a:gd name="T2" fmla="*/ 56003426 w 485"/>
                <a:gd name="T3" fmla="*/ 11817753 h 291"/>
                <a:gd name="T4" fmla="*/ 69444006 w 485"/>
                <a:gd name="T5" fmla="*/ 11817753 h 291"/>
                <a:gd name="T6" fmla="*/ 79337790 w 485"/>
                <a:gd name="T7" fmla="*/ 35184802 h 291"/>
                <a:gd name="T8" fmla="*/ 90538562 w 485"/>
                <a:gd name="T9" fmla="*/ 44853873 h 291"/>
                <a:gd name="T10" fmla="*/ 76910899 w 485"/>
                <a:gd name="T11" fmla="*/ 46465644 h 291"/>
                <a:gd name="T12" fmla="*/ 80831428 w 485"/>
                <a:gd name="T13" fmla="*/ 56403170 h 291"/>
                <a:gd name="T14" fmla="*/ 73177452 w 485"/>
                <a:gd name="T15" fmla="*/ 64729443 h 291"/>
                <a:gd name="T16" fmla="*/ 71870897 w 485"/>
                <a:gd name="T17" fmla="*/ 78158967 h 291"/>
                <a:gd name="T18" fmla="*/ 53203233 w 485"/>
                <a:gd name="T19" fmla="*/ 71444464 h 291"/>
                <a:gd name="T20" fmla="*/ 32295328 w 485"/>
                <a:gd name="T21" fmla="*/ 68221441 h 291"/>
                <a:gd name="T22" fmla="*/ 11200772 w 485"/>
                <a:gd name="T23" fmla="*/ 71444464 h 291"/>
                <a:gd name="T24" fmla="*/ 2800193 w 485"/>
                <a:gd name="T25" fmla="*/ 72787261 h 291"/>
                <a:gd name="T26" fmla="*/ 1493206 w 485"/>
                <a:gd name="T27" fmla="*/ 69026808 h 291"/>
                <a:gd name="T28" fmla="*/ 559952 w 485"/>
                <a:gd name="T29" fmla="*/ 65535329 h 291"/>
                <a:gd name="T30" fmla="*/ 0 w 485"/>
                <a:gd name="T31" fmla="*/ 61506420 h 291"/>
                <a:gd name="T32" fmla="*/ 933254 w 485"/>
                <a:gd name="T33" fmla="*/ 58820826 h 291"/>
                <a:gd name="T34" fmla="*/ 2613542 w 485"/>
                <a:gd name="T35" fmla="*/ 55597803 h 291"/>
                <a:gd name="T36" fmla="*/ 4293399 w 485"/>
                <a:gd name="T37" fmla="*/ 50763008 h 291"/>
                <a:gd name="T38" fmla="*/ 5787036 w 485"/>
                <a:gd name="T39" fmla="*/ 44585417 h 291"/>
                <a:gd name="T40" fmla="*/ 7653976 w 485"/>
                <a:gd name="T41" fmla="*/ 36796573 h 291"/>
                <a:gd name="T42" fmla="*/ 8960531 w 485"/>
                <a:gd name="T43" fmla="*/ 33842005 h 291"/>
                <a:gd name="T44" fmla="*/ 11200772 w 485"/>
                <a:gd name="T45" fmla="*/ 31961779 h 291"/>
                <a:gd name="T46" fmla="*/ 16240773 w 485"/>
                <a:gd name="T47" fmla="*/ 29813097 h 291"/>
                <a:gd name="T48" fmla="*/ 16614507 w 485"/>
                <a:gd name="T49" fmla="*/ 28470300 h 291"/>
                <a:gd name="T50" fmla="*/ 17547760 w 485"/>
                <a:gd name="T51" fmla="*/ 26858529 h 291"/>
                <a:gd name="T52" fmla="*/ 18854315 w 485"/>
                <a:gd name="T53" fmla="*/ 25515732 h 291"/>
                <a:gd name="T54" fmla="*/ 19788001 w 485"/>
                <a:gd name="T55" fmla="*/ 24978821 h 291"/>
                <a:gd name="T56" fmla="*/ 19788001 w 485"/>
                <a:gd name="T57" fmla="*/ 20412482 h 291"/>
                <a:gd name="T58" fmla="*/ 20347953 w 485"/>
                <a:gd name="T59" fmla="*/ 18801229 h 291"/>
                <a:gd name="T60" fmla="*/ 21094556 w 485"/>
                <a:gd name="T61" fmla="*/ 17995344 h 291"/>
                <a:gd name="T62" fmla="*/ 22774845 w 485"/>
                <a:gd name="T63" fmla="*/ 18532774 h 291"/>
                <a:gd name="T64" fmla="*/ 23894749 w 485"/>
                <a:gd name="T65" fmla="*/ 18532774 h 291"/>
                <a:gd name="T66" fmla="*/ 24641352 w 485"/>
                <a:gd name="T67" fmla="*/ 17726888 h 291"/>
                <a:gd name="T68" fmla="*/ 25014653 w 485"/>
                <a:gd name="T69" fmla="*/ 15040776 h 291"/>
                <a:gd name="T70" fmla="*/ 25948339 w 485"/>
                <a:gd name="T71" fmla="*/ 11817753 h 291"/>
                <a:gd name="T72" fmla="*/ 26881592 w 485"/>
                <a:gd name="T73" fmla="*/ 10474956 h 291"/>
                <a:gd name="T74" fmla="*/ 39762221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endParaRPr lang="en-US"/>
            </a:p>
          </p:txBody>
        </p:sp>
        <p:sp>
          <p:nvSpPr>
            <p:cNvPr id="294" name="Freeform 444">
              <a:extLst>
                <a:ext uri="{FF2B5EF4-FFF2-40B4-BE49-F238E27FC236}">
                  <a16:creationId xmlns:a16="http://schemas.microsoft.com/office/drawing/2014/main" id="{9A2EA69F-8A45-4341-BEA0-08797C0FD512}"/>
                </a:ext>
              </a:extLst>
            </p:cNvPr>
            <p:cNvSpPr>
              <a:spLocks/>
            </p:cNvSpPr>
            <p:nvPr>
              <p:custDataLst>
                <p:tags r:id="rId282"/>
              </p:custDataLst>
            </p:nvPr>
          </p:nvSpPr>
          <p:spPr bwMode="auto">
            <a:xfrm>
              <a:off x="4364038" y="2576513"/>
              <a:ext cx="82550" cy="87312"/>
            </a:xfrm>
            <a:custGeom>
              <a:avLst/>
              <a:gdLst>
                <a:gd name="T0" fmla="*/ 16939615 w 186"/>
                <a:gd name="T1" fmla="*/ 40668397 h 166"/>
                <a:gd name="T2" fmla="*/ 16348894 w 186"/>
                <a:gd name="T3" fmla="*/ 37625591 h 166"/>
                <a:gd name="T4" fmla="*/ 15364064 w 186"/>
                <a:gd name="T5" fmla="*/ 35135593 h 166"/>
                <a:gd name="T6" fmla="*/ 14575845 w 186"/>
                <a:gd name="T7" fmla="*/ 32645594 h 166"/>
                <a:gd name="T8" fmla="*/ 13788069 w 186"/>
                <a:gd name="T9" fmla="*/ 30432262 h 166"/>
                <a:gd name="T10" fmla="*/ 11818408 w 186"/>
                <a:gd name="T11" fmla="*/ 26282265 h 166"/>
                <a:gd name="T12" fmla="*/ 9651693 w 186"/>
                <a:gd name="T13" fmla="*/ 22686127 h 166"/>
                <a:gd name="T14" fmla="*/ 7287922 w 186"/>
                <a:gd name="T15" fmla="*/ 19366129 h 166"/>
                <a:gd name="T16" fmla="*/ 4924152 w 186"/>
                <a:gd name="T17" fmla="*/ 15492798 h 166"/>
                <a:gd name="T18" fmla="*/ 2560825 w 186"/>
                <a:gd name="T19" fmla="*/ 10512801 h 166"/>
                <a:gd name="T20" fmla="*/ 0 w 186"/>
                <a:gd name="T21" fmla="*/ 4979997 h 166"/>
                <a:gd name="T22" fmla="*/ 0 w 186"/>
                <a:gd name="T23" fmla="*/ 0 h 166"/>
                <a:gd name="T24" fmla="*/ 1378940 w 186"/>
                <a:gd name="T25" fmla="*/ 553333 h 166"/>
                <a:gd name="T26" fmla="*/ 2757436 w 186"/>
                <a:gd name="T27" fmla="*/ 829999 h 166"/>
                <a:gd name="T28" fmla="*/ 3939322 w 186"/>
                <a:gd name="T29" fmla="*/ 1106666 h 166"/>
                <a:gd name="T30" fmla="*/ 5318262 w 186"/>
                <a:gd name="T31" fmla="*/ 1106666 h 166"/>
                <a:gd name="T32" fmla="*/ 6500147 w 186"/>
                <a:gd name="T33" fmla="*/ 1106666 h 166"/>
                <a:gd name="T34" fmla="*/ 7879087 w 186"/>
                <a:gd name="T35" fmla="*/ 829999 h 166"/>
                <a:gd name="T36" fmla="*/ 9257583 w 186"/>
                <a:gd name="T37" fmla="*/ 553333 h 166"/>
                <a:gd name="T38" fmla="*/ 10439468 w 186"/>
                <a:gd name="T39" fmla="*/ 0 h 166"/>
                <a:gd name="T40" fmla="*/ 27576138 w 186"/>
                <a:gd name="T41" fmla="*/ 3319998 h 166"/>
                <a:gd name="T42" fmla="*/ 36637110 w 186"/>
                <a:gd name="T43" fmla="*/ 25175599 h 166"/>
                <a:gd name="T44" fmla="*/ 33682619 w 186"/>
                <a:gd name="T45" fmla="*/ 30985595 h 166"/>
                <a:gd name="T46" fmla="*/ 30531073 w 186"/>
                <a:gd name="T47" fmla="*/ 35688926 h 166"/>
                <a:gd name="T48" fmla="*/ 29349188 w 186"/>
                <a:gd name="T49" fmla="*/ 37902258 h 166"/>
                <a:gd name="T50" fmla="*/ 28364358 w 186"/>
                <a:gd name="T51" fmla="*/ 40115064 h 166"/>
                <a:gd name="T52" fmla="*/ 27970248 w 186"/>
                <a:gd name="T53" fmla="*/ 41498396 h 166"/>
                <a:gd name="T54" fmla="*/ 27773193 w 186"/>
                <a:gd name="T55" fmla="*/ 43158395 h 166"/>
                <a:gd name="T56" fmla="*/ 27576138 w 186"/>
                <a:gd name="T57" fmla="*/ 44541728 h 166"/>
                <a:gd name="T58" fmla="*/ 27576138 w 186"/>
                <a:gd name="T59" fmla="*/ 45925060 h 166"/>
                <a:gd name="T60" fmla="*/ 16939615 w 186"/>
                <a:gd name="T61" fmla="*/ 4066839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5" name="Freeform 445">
              <a:extLst>
                <a:ext uri="{FF2B5EF4-FFF2-40B4-BE49-F238E27FC236}">
                  <a16:creationId xmlns:a16="http://schemas.microsoft.com/office/drawing/2014/main" id="{884F79A6-338C-4A76-B960-EA1157494521}"/>
                </a:ext>
              </a:extLst>
            </p:cNvPr>
            <p:cNvSpPr>
              <a:spLocks/>
            </p:cNvSpPr>
            <p:nvPr>
              <p:custDataLst>
                <p:tags r:id="rId283"/>
              </p:custDataLst>
            </p:nvPr>
          </p:nvSpPr>
          <p:spPr bwMode="auto">
            <a:xfrm>
              <a:off x="2728913" y="4013200"/>
              <a:ext cx="82550" cy="57150"/>
            </a:xfrm>
            <a:custGeom>
              <a:avLst/>
              <a:gdLst>
                <a:gd name="T0" fmla="*/ 30136963 w 186"/>
                <a:gd name="T1" fmla="*/ 6341452 h 104"/>
                <a:gd name="T2" fmla="*/ 28758023 w 186"/>
                <a:gd name="T3" fmla="*/ 6341452 h 104"/>
                <a:gd name="T4" fmla="*/ 27773193 w 186"/>
                <a:gd name="T5" fmla="*/ 6039216 h 104"/>
                <a:gd name="T6" fmla="*/ 26788363 w 186"/>
                <a:gd name="T7" fmla="*/ 5435295 h 104"/>
                <a:gd name="T8" fmla="*/ 26197642 w 186"/>
                <a:gd name="T9" fmla="*/ 4529687 h 104"/>
                <a:gd name="T10" fmla="*/ 25606477 w 186"/>
                <a:gd name="T11" fmla="*/ 3925765 h 104"/>
                <a:gd name="T12" fmla="*/ 24621647 w 186"/>
                <a:gd name="T13" fmla="*/ 3321844 h 104"/>
                <a:gd name="T14" fmla="*/ 23636817 w 186"/>
                <a:gd name="T15" fmla="*/ 3019608 h 104"/>
                <a:gd name="T16" fmla="*/ 22257877 w 186"/>
                <a:gd name="T17" fmla="*/ 2717922 h 104"/>
                <a:gd name="T18" fmla="*/ 19697495 w 186"/>
                <a:gd name="T19" fmla="*/ 2415687 h 104"/>
                <a:gd name="T20" fmla="*/ 17333725 w 186"/>
                <a:gd name="T21" fmla="*/ 1811765 h 104"/>
                <a:gd name="T22" fmla="*/ 14772899 w 186"/>
                <a:gd name="T23" fmla="*/ 906157 h 104"/>
                <a:gd name="T24" fmla="*/ 12606184 w 186"/>
                <a:gd name="T25" fmla="*/ 302236 h 104"/>
                <a:gd name="T26" fmla="*/ 11818408 w 186"/>
                <a:gd name="T27" fmla="*/ 0 h 104"/>
                <a:gd name="T28" fmla="*/ 10636523 w 186"/>
                <a:gd name="T29" fmla="*/ 0 h 104"/>
                <a:gd name="T30" fmla="*/ 10045802 w 186"/>
                <a:gd name="T31" fmla="*/ 302236 h 104"/>
                <a:gd name="T32" fmla="*/ 9060972 w 186"/>
                <a:gd name="T33" fmla="*/ 603922 h 104"/>
                <a:gd name="T34" fmla="*/ 8666862 w 186"/>
                <a:gd name="T35" fmla="*/ 1207843 h 104"/>
                <a:gd name="T36" fmla="*/ 8272753 w 186"/>
                <a:gd name="T37" fmla="*/ 1811765 h 104"/>
                <a:gd name="T38" fmla="*/ 8076142 w 186"/>
                <a:gd name="T39" fmla="*/ 3019608 h 104"/>
                <a:gd name="T40" fmla="*/ 7879087 w 186"/>
                <a:gd name="T41" fmla="*/ 4529687 h 104"/>
                <a:gd name="T42" fmla="*/ 6697202 w 186"/>
                <a:gd name="T43" fmla="*/ 8153217 h 104"/>
                <a:gd name="T44" fmla="*/ 3939322 w 186"/>
                <a:gd name="T45" fmla="*/ 14192433 h 104"/>
                <a:gd name="T46" fmla="*/ 1378940 w 186"/>
                <a:gd name="T47" fmla="*/ 19929963 h 104"/>
                <a:gd name="T48" fmla="*/ 0 w 186"/>
                <a:gd name="T49" fmla="*/ 23251807 h 104"/>
                <a:gd name="T50" fmla="*/ 1575995 w 186"/>
                <a:gd name="T51" fmla="*/ 23251807 h 104"/>
                <a:gd name="T52" fmla="*/ 3151546 w 186"/>
                <a:gd name="T53" fmla="*/ 23553493 h 104"/>
                <a:gd name="T54" fmla="*/ 4136376 w 186"/>
                <a:gd name="T55" fmla="*/ 23855729 h 104"/>
                <a:gd name="T56" fmla="*/ 4924152 w 186"/>
                <a:gd name="T57" fmla="*/ 24459650 h 104"/>
                <a:gd name="T58" fmla="*/ 6500147 w 186"/>
                <a:gd name="T59" fmla="*/ 25667494 h 104"/>
                <a:gd name="T60" fmla="*/ 7879087 w 186"/>
                <a:gd name="T61" fmla="*/ 26875337 h 104"/>
                <a:gd name="T62" fmla="*/ 8863917 w 186"/>
                <a:gd name="T63" fmla="*/ 28385416 h 104"/>
                <a:gd name="T64" fmla="*/ 10242413 w 186"/>
                <a:gd name="T65" fmla="*/ 29593259 h 104"/>
                <a:gd name="T66" fmla="*/ 11030633 w 186"/>
                <a:gd name="T67" fmla="*/ 30197181 h 104"/>
                <a:gd name="T68" fmla="*/ 12015463 w 186"/>
                <a:gd name="T69" fmla="*/ 30498867 h 104"/>
                <a:gd name="T70" fmla="*/ 13000294 w 186"/>
                <a:gd name="T71" fmla="*/ 30801102 h 104"/>
                <a:gd name="T72" fmla="*/ 14575845 w 186"/>
                <a:gd name="T73" fmla="*/ 30801102 h 104"/>
                <a:gd name="T74" fmla="*/ 21075991 w 186"/>
                <a:gd name="T75" fmla="*/ 31102788 h 104"/>
                <a:gd name="T76" fmla="*/ 25803532 w 186"/>
                <a:gd name="T77" fmla="*/ 31405024 h 104"/>
                <a:gd name="T78" fmla="*/ 26591308 w 186"/>
                <a:gd name="T79" fmla="*/ 31102788 h 104"/>
                <a:gd name="T80" fmla="*/ 27379527 w 186"/>
                <a:gd name="T81" fmla="*/ 30801102 h 104"/>
                <a:gd name="T82" fmla="*/ 27970248 w 186"/>
                <a:gd name="T83" fmla="*/ 30197181 h 104"/>
                <a:gd name="T84" fmla="*/ 28560969 w 186"/>
                <a:gd name="T85" fmla="*/ 29291024 h 104"/>
                <a:gd name="T86" fmla="*/ 28955078 w 186"/>
                <a:gd name="T87" fmla="*/ 28385416 h 104"/>
                <a:gd name="T88" fmla="*/ 29546243 w 186"/>
                <a:gd name="T89" fmla="*/ 26573651 h 104"/>
                <a:gd name="T90" fmla="*/ 29939909 w 186"/>
                <a:gd name="T91" fmla="*/ 25063572 h 104"/>
                <a:gd name="T92" fmla="*/ 30136963 w 186"/>
                <a:gd name="T93" fmla="*/ 23251807 h 104"/>
                <a:gd name="T94" fmla="*/ 36637110 w 186"/>
                <a:gd name="T95" fmla="*/ 8153217 h 104"/>
                <a:gd name="T96" fmla="*/ 30136963 w 186"/>
                <a:gd name="T97" fmla="*/ 6341452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6" name="Freeform 446">
              <a:extLst>
                <a:ext uri="{FF2B5EF4-FFF2-40B4-BE49-F238E27FC236}">
                  <a16:creationId xmlns:a16="http://schemas.microsoft.com/office/drawing/2014/main" id="{EB800FC5-9044-4570-8184-9DA00D1B6276}"/>
                </a:ext>
              </a:extLst>
            </p:cNvPr>
            <p:cNvSpPr>
              <a:spLocks/>
            </p:cNvSpPr>
            <p:nvPr>
              <p:custDataLst>
                <p:tags r:id="rId284"/>
              </p:custDataLst>
            </p:nvPr>
          </p:nvSpPr>
          <p:spPr bwMode="auto">
            <a:xfrm>
              <a:off x="4522788" y="2611438"/>
              <a:ext cx="133350" cy="96837"/>
            </a:xfrm>
            <a:custGeom>
              <a:avLst/>
              <a:gdLst>
                <a:gd name="T0" fmla="*/ 14524002 w 311"/>
                <a:gd name="T1" fmla="*/ 11121763 h 179"/>
                <a:gd name="T2" fmla="*/ 21142621 w 311"/>
                <a:gd name="T3" fmla="*/ 7609627 h 179"/>
                <a:gd name="T4" fmla="*/ 27209832 w 311"/>
                <a:gd name="T5" fmla="*/ 4097492 h 179"/>
                <a:gd name="T6" fmla="*/ 32725634 w 311"/>
                <a:gd name="T7" fmla="*/ 1170712 h 179"/>
                <a:gd name="T8" fmla="*/ 38792415 w 311"/>
                <a:gd name="T9" fmla="*/ 0 h 179"/>
                <a:gd name="T10" fmla="*/ 43388917 w 311"/>
                <a:gd name="T11" fmla="*/ 585356 h 179"/>
                <a:gd name="T12" fmla="*/ 47065690 w 311"/>
                <a:gd name="T13" fmla="*/ 1756068 h 179"/>
                <a:gd name="T14" fmla="*/ 53684309 w 311"/>
                <a:gd name="T15" fmla="*/ 3512136 h 179"/>
                <a:gd name="T16" fmla="*/ 52765009 w 311"/>
                <a:gd name="T17" fmla="*/ 8194983 h 179"/>
                <a:gd name="T18" fmla="*/ 51110354 w 311"/>
                <a:gd name="T19" fmla="*/ 12292475 h 179"/>
                <a:gd name="T20" fmla="*/ 49455699 w 311"/>
                <a:gd name="T21" fmla="*/ 15511933 h 179"/>
                <a:gd name="T22" fmla="*/ 48720344 w 311"/>
                <a:gd name="T23" fmla="*/ 18146035 h 179"/>
                <a:gd name="T24" fmla="*/ 48904290 w 311"/>
                <a:gd name="T25" fmla="*/ 19316747 h 179"/>
                <a:gd name="T26" fmla="*/ 49823591 w 311"/>
                <a:gd name="T27" fmla="*/ 20780136 h 179"/>
                <a:gd name="T28" fmla="*/ 52397546 w 311"/>
                <a:gd name="T29" fmla="*/ 23121560 h 179"/>
                <a:gd name="T30" fmla="*/ 57177564 w 311"/>
                <a:gd name="T31" fmla="*/ 27218511 h 179"/>
                <a:gd name="T32" fmla="*/ 52765009 w 311"/>
                <a:gd name="T33" fmla="*/ 31316003 h 179"/>
                <a:gd name="T34" fmla="*/ 51662191 w 311"/>
                <a:gd name="T35" fmla="*/ 33657426 h 179"/>
                <a:gd name="T36" fmla="*/ 51110354 w 311"/>
                <a:gd name="T37" fmla="*/ 37754918 h 179"/>
                <a:gd name="T38" fmla="*/ 46330335 w 311"/>
                <a:gd name="T39" fmla="*/ 39803664 h 179"/>
                <a:gd name="T40" fmla="*/ 38792415 w 311"/>
                <a:gd name="T41" fmla="*/ 43315800 h 179"/>
                <a:gd name="T42" fmla="*/ 35115643 w 311"/>
                <a:gd name="T43" fmla="*/ 49169359 h 179"/>
                <a:gd name="T44" fmla="*/ 32725634 w 311"/>
                <a:gd name="T45" fmla="*/ 51510783 h 179"/>
                <a:gd name="T46" fmla="*/ 30335195 w 311"/>
                <a:gd name="T47" fmla="*/ 52388817 h 179"/>
                <a:gd name="T48" fmla="*/ 27761240 w 311"/>
                <a:gd name="T49" fmla="*/ 51218105 h 179"/>
                <a:gd name="T50" fmla="*/ 25187714 w 311"/>
                <a:gd name="T51" fmla="*/ 48876681 h 179"/>
                <a:gd name="T52" fmla="*/ 22061921 w 311"/>
                <a:gd name="T53" fmla="*/ 46242579 h 179"/>
                <a:gd name="T54" fmla="*/ 18017257 w 311"/>
                <a:gd name="T55" fmla="*/ 45364546 h 179"/>
                <a:gd name="T56" fmla="*/ 12133992 w 311"/>
                <a:gd name="T57" fmla="*/ 45364546 h 179"/>
                <a:gd name="T58" fmla="*/ 9376520 w 311"/>
                <a:gd name="T59" fmla="*/ 45949901 h 179"/>
                <a:gd name="T60" fmla="*/ 7170028 w 311"/>
                <a:gd name="T61" fmla="*/ 47120613 h 179"/>
                <a:gd name="T62" fmla="*/ 6618619 w 311"/>
                <a:gd name="T63" fmla="*/ 41559732 h 179"/>
                <a:gd name="T64" fmla="*/ 5883265 w 311"/>
                <a:gd name="T65" fmla="*/ 35998850 h 179"/>
                <a:gd name="T66" fmla="*/ 3860718 w 311"/>
                <a:gd name="T67" fmla="*/ 37462240 h 179"/>
                <a:gd name="T68" fmla="*/ 2390009 w 311"/>
                <a:gd name="T69" fmla="*/ 37754918 h 179"/>
                <a:gd name="T70" fmla="*/ 1286763 w 311"/>
                <a:gd name="T71" fmla="*/ 36876884 h 179"/>
                <a:gd name="T72" fmla="*/ 551409 w 311"/>
                <a:gd name="T73" fmla="*/ 35413494 h 179"/>
                <a:gd name="T74" fmla="*/ 0 w 311"/>
                <a:gd name="T75" fmla="*/ 30730647 h 179"/>
                <a:gd name="T76" fmla="*/ 0 w 311"/>
                <a:gd name="T77" fmla="*/ 25462984 h 179"/>
                <a:gd name="T78" fmla="*/ 551409 w 311"/>
                <a:gd name="T79" fmla="*/ 23999594 h 179"/>
                <a:gd name="T80" fmla="*/ 2390009 w 311"/>
                <a:gd name="T81" fmla="*/ 22828882 h 179"/>
                <a:gd name="T82" fmla="*/ 3860718 w 311"/>
                <a:gd name="T83" fmla="*/ 21072814 h 179"/>
                <a:gd name="T84" fmla="*/ 4596073 w 311"/>
                <a:gd name="T85" fmla="*/ 19902102 h 179"/>
                <a:gd name="T86" fmla="*/ 4780019 w 311"/>
                <a:gd name="T87" fmla="*/ 18146035 h 179"/>
                <a:gd name="T88" fmla="*/ 4412556 w 311"/>
                <a:gd name="T89" fmla="*/ 14926577 h 179"/>
                <a:gd name="T90" fmla="*/ 3493255 w 311"/>
                <a:gd name="T91" fmla="*/ 12585153 h 179"/>
                <a:gd name="T92" fmla="*/ 1470709 w 311"/>
                <a:gd name="T93" fmla="*/ 8487661 h 179"/>
                <a:gd name="T94" fmla="*/ 183946 w 311"/>
                <a:gd name="T95" fmla="*/ 5268204 h 179"/>
                <a:gd name="T96" fmla="*/ 183946 w 311"/>
                <a:gd name="T97" fmla="*/ 3804814 h 179"/>
                <a:gd name="T98" fmla="*/ 1103246 w 311"/>
                <a:gd name="T99" fmla="*/ 1756068 h 179"/>
                <a:gd name="T100" fmla="*/ 0 w 311"/>
                <a:gd name="T101" fmla="*/ 1756068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7" name="Freeform 447">
              <a:extLst>
                <a:ext uri="{FF2B5EF4-FFF2-40B4-BE49-F238E27FC236}">
                  <a16:creationId xmlns:a16="http://schemas.microsoft.com/office/drawing/2014/main" id="{6443AFD9-9191-4AE9-87DB-E2EF529EDF63}"/>
                </a:ext>
              </a:extLst>
            </p:cNvPr>
            <p:cNvSpPr>
              <a:spLocks/>
            </p:cNvSpPr>
            <p:nvPr>
              <p:custDataLst>
                <p:tags r:id="rId285"/>
              </p:custDataLst>
            </p:nvPr>
          </p:nvSpPr>
          <p:spPr bwMode="auto">
            <a:xfrm>
              <a:off x="3878263" y="3538538"/>
              <a:ext cx="177800" cy="165100"/>
            </a:xfrm>
            <a:custGeom>
              <a:avLst/>
              <a:gdLst>
                <a:gd name="T0" fmla="*/ 1156359 w 405"/>
                <a:gd name="T1" fmla="*/ 71880018 h 314"/>
                <a:gd name="T2" fmla="*/ 2505443 w 405"/>
                <a:gd name="T3" fmla="*/ 65521565 h 314"/>
                <a:gd name="T4" fmla="*/ 3276349 w 405"/>
                <a:gd name="T5" fmla="*/ 55845338 h 314"/>
                <a:gd name="T6" fmla="*/ 4432708 w 405"/>
                <a:gd name="T7" fmla="*/ 47827998 h 314"/>
                <a:gd name="T8" fmla="*/ 6167245 w 405"/>
                <a:gd name="T9" fmla="*/ 44786793 h 314"/>
                <a:gd name="T10" fmla="*/ 9251307 w 405"/>
                <a:gd name="T11" fmla="*/ 41469019 h 314"/>
                <a:gd name="T12" fmla="*/ 13876741 w 405"/>
                <a:gd name="T13" fmla="*/ 38980951 h 314"/>
                <a:gd name="T14" fmla="*/ 17923996 w 405"/>
                <a:gd name="T15" fmla="*/ 37046021 h 314"/>
                <a:gd name="T16" fmla="*/ 20043987 w 405"/>
                <a:gd name="T17" fmla="*/ 34557954 h 314"/>
                <a:gd name="T18" fmla="*/ 21778524 w 405"/>
                <a:gd name="T19" fmla="*/ 31516749 h 314"/>
                <a:gd name="T20" fmla="*/ 23706228 w 405"/>
                <a:gd name="T21" fmla="*/ 25710907 h 314"/>
                <a:gd name="T22" fmla="*/ 26211671 w 405"/>
                <a:gd name="T23" fmla="*/ 19075885 h 314"/>
                <a:gd name="T24" fmla="*/ 28331662 w 405"/>
                <a:gd name="T25" fmla="*/ 15205500 h 314"/>
                <a:gd name="T26" fmla="*/ 29873473 w 405"/>
                <a:gd name="T27" fmla="*/ 14099750 h 314"/>
                <a:gd name="T28" fmla="*/ 32764369 w 405"/>
                <a:gd name="T29" fmla="*/ 14099750 h 314"/>
                <a:gd name="T30" fmla="*/ 36426171 w 405"/>
                <a:gd name="T31" fmla="*/ 13270044 h 314"/>
                <a:gd name="T32" fmla="*/ 41052044 w 405"/>
                <a:gd name="T33" fmla="*/ 9676227 h 314"/>
                <a:gd name="T34" fmla="*/ 45677479 w 405"/>
                <a:gd name="T35" fmla="*/ 5529273 h 314"/>
                <a:gd name="T36" fmla="*/ 49532007 w 405"/>
                <a:gd name="T37" fmla="*/ 3041205 h 314"/>
                <a:gd name="T38" fmla="*/ 54350167 w 405"/>
                <a:gd name="T39" fmla="*/ 1105749 h 314"/>
                <a:gd name="T40" fmla="*/ 60517852 w 405"/>
                <a:gd name="T41" fmla="*/ 0 h 314"/>
                <a:gd name="T42" fmla="*/ 63986927 w 405"/>
                <a:gd name="T43" fmla="*/ 3870386 h 314"/>
                <a:gd name="T44" fmla="*/ 64950560 w 405"/>
                <a:gd name="T45" fmla="*/ 9399658 h 314"/>
                <a:gd name="T46" fmla="*/ 66106918 w 405"/>
                <a:gd name="T47" fmla="*/ 13823182 h 314"/>
                <a:gd name="T48" fmla="*/ 67841456 w 405"/>
                <a:gd name="T49" fmla="*/ 17140430 h 314"/>
                <a:gd name="T50" fmla="*/ 70925518 w 405"/>
                <a:gd name="T51" fmla="*/ 20458204 h 314"/>
                <a:gd name="T52" fmla="*/ 73623687 w 405"/>
                <a:gd name="T53" fmla="*/ 23499409 h 314"/>
                <a:gd name="T54" fmla="*/ 75165499 w 405"/>
                <a:gd name="T55" fmla="*/ 25710907 h 314"/>
                <a:gd name="T56" fmla="*/ 76321857 w 405"/>
                <a:gd name="T57" fmla="*/ 31793318 h 314"/>
                <a:gd name="T58" fmla="*/ 76707310 w 405"/>
                <a:gd name="T59" fmla="*/ 39534089 h 314"/>
                <a:gd name="T60" fmla="*/ 76707310 w 405"/>
                <a:gd name="T61" fmla="*/ 46998291 h 314"/>
                <a:gd name="T62" fmla="*/ 77478216 w 405"/>
                <a:gd name="T63" fmla="*/ 54186451 h 314"/>
                <a:gd name="T64" fmla="*/ 76707310 w 405"/>
                <a:gd name="T65" fmla="*/ 59992292 h 314"/>
                <a:gd name="T66" fmla="*/ 73623687 w 405"/>
                <a:gd name="T67" fmla="*/ 62480360 h 314"/>
                <a:gd name="T68" fmla="*/ 70347338 w 405"/>
                <a:gd name="T69" fmla="*/ 66627314 h 314"/>
                <a:gd name="T70" fmla="*/ 69961446 w 405"/>
                <a:gd name="T71" fmla="*/ 65521565 h 314"/>
                <a:gd name="T72" fmla="*/ 68997814 w 405"/>
                <a:gd name="T73" fmla="*/ 64415816 h 314"/>
                <a:gd name="T74" fmla="*/ 65914192 w 405"/>
                <a:gd name="T75" fmla="*/ 62756929 h 314"/>
                <a:gd name="T76" fmla="*/ 61481484 w 405"/>
                <a:gd name="T77" fmla="*/ 61651179 h 314"/>
                <a:gd name="T78" fmla="*/ 29295294 w 405"/>
                <a:gd name="T79" fmla="*/ 66627314 h 314"/>
                <a:gd name="T80" fmla="*/ 28909841 w 405"/>
                <a:gd name="T81" fmla="*/ 71050838 h 314"/>
                <a:gd name="T82" fmla="*/ 28909841 w 405"/>
                <a:gd name="T83" fmla="*/ 75750404 h 314"/>
                <a:gd name="T84" fmla="*/ 29295294 w 405"/>
                <a:gd name="T85" fmla="*/ 86808949 h 314"/>
                <a:gd name="T86" fmla="*/ 26789850 w 405"/>
                <a:gd name="T87" fmla="*/ 86255811 h 314"/>
                <a:gd name="T88" fmla="*/ 24284407 w 405"/>
                <a:gd name="T89" fmla="*/ 84320882 h 314"/>
                <a:gd name="T90" fmla="*/ 19273081 w 405"/>
                <a:gd name="T91" fmla="*/ 80173927 h 314"/>
                <a:gd name="T92" fmla="*/ 17153090 w 405"/>
                <a:gd name="T93" fmla="*/ 84873493 h 314"/>
                <a:gd name="T94" fmla="*/ 15804005 w 405"/>
                <a:gd name="T95" fmla="*/ 86255811 h 314"/>
                <a:gd name="T96" fmla="*/ 14069468 w 405"/>
                <a:gd name="T97" fmla="*/ 86808949 h 314"/>
                <a:gd name="T98" fmla="*/ 11564024 w 405"/>
                <a:gd name="T99" fmla="*/ 85979768 h 314"/>
                <a:gd name="T100" fmla="*/ 9058581 w 405"/>
                <a:gd name="T101" fmla="*/ 83491175 h 314"/>
                <a:gd name="T102" fmla="*/ 5396340 w 405"/>
                <a:gd name="T103" fmla="*/ 80450496 h 314"/>
                <a:gd name="T104" fmla="*/ 0 w 405"/>
                <a:gd name="T105" fmla="*/ 78515040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US"/>
            </a:p>
          </p:txBody>
        </p:sp>
        <p:sp>
          <p:nvSpPr>
            <p:cNvPr id="298" name="Freeform 448">
              <a:extLst>
                <a:ext uri="{FF2B5EF4-FFF2-40B4-BE49-F238E27FC236}">
                  <a16:creationId xmlns:a16="http://schemas.microsoft.com/office/drawing/2014/main" id="{8151F6FB-101E-4E7A-B831-DCBD20C45716}"/>
                </a:ext>
              </a:extLst>
            </p:cNvPr>
            <p:cNvSpPr>
              <a:spLocks/>
            </p:cNvSpPr>
            <p:nvPr>
              <p:custDataLst>
                <p:tags r:id="rId286"/>
              </p:custDataLst>
            </p:nvPr>
          </p:nvSpPr>
          <p:spPr bwMode="auto">
            <a:xfrm>
              <a:off x="4225925" y="3606800"/>
              <a:ext cx="193675" cy="349250"/>
            </a:xfrm>
            <a:custGeom>
              <a:avLst/>
              <a:gdLst>
                <a:gd name="T0" fmla="*/ 61234220 w 453"/>
                <a:gd name="T1" fmla="*/ 10050052 h 661"/>
                <a:gd name="T2" fmla="*/ 58675402 w 453"/>
                <a:gd name="T3" fmla="*/ 27358797 h 661"/>
                <a:gd name="T4" fmla="*/ 50632545 w 453"/>
                <a:gd name="T5" fmla="*/ 45225497 h 661"/>
                <a:gd name="T6" fmla="*/ 46245571 w 453"/>
                <a:gd name="T7" fmla="*/ 61138300 h 661"/>
                <a:gd name="T8" fmla="*/ 42407129 w 453"/>
                <a:gd name="T9" fmla="*/ 75934664 h 661"/>
                <a:gd name="T10" fmla="*/ 38203142 w 453"/>
                <a:gd name="T11" fmla="*/ 91846938 h 661"/>
                <a:gd name="T12" fmla="*/ 35826882 w 453"/>
                <a:gd name="T13" fmla="*/ 101060058 h 661"/>
                <a:gd name="T14" fmla="*/ 32902090 w 453"/>
                <a:gd name="T15" fmla="*/ 106084820 h 661"/>
                <a:gd name="T16" fmla="*/ 30525831 w 453"/>
                <a:gd name="T17" fmla="*/ 108876706 h 661"/>
                <a:gd name="T18" fmla="*/ 25773311 w 453"/>
                <a:gd name="T19" fmla="*/ 106643303 h 661"/>
                <a:gd name="T20" fmla="*/ 22117428 w 453"/>
                <a:gd name="T21" fmla="*/ 103292933 h 661"/>
                <a:gd name="T22" fmla="*/ 17182350 w 453"/>
                <a:gd name="T23" fmla="*/ 102455473 h 661"/>
                <a:gd name="T24" fmla="*/ 11698312 w 453"/>
                <a:gd name="T25" fmla="*/ 106084820 h 661"/>
                <a:gd name="T26" fmla="*/ 8042857 w 453"/>
                <a:gd name="T27" fmla="*/ 112506053 h 661"/>
                <a:gd name="T28" fmla="*/ 3838442 w 453"/>
                <a:gd name="T29" fmla="*/ 126743406 h 661"/>
                <a:gd name="T30" fmla="*/ 1279623 w 453"/>
                <a:gd name="T31" fmla="*/ 134560054 h 661"/>
                <a:gd name="T32" fmla="*/ 182987 w 453"/>
                <a:gd name="T33" fmla="*/ 139585345 h 661"/>
                <a:gd name="T34" fmla="*/ 1462182 w 453"/>
                <a:gd name="T35" fmla="*/ 144331129 h 661"/>
                <a:gd name="T36" fmla="*/ 3655883 w 453"/>
                <a:gd name="T37" fmla="*/ 146844038 h 661"/>
                <a:gd name="T38" fmla="*/ 10053571 w 453"/>
                <a:gd name="T39" fmla="*/ 146844038 h 661"/>
                <a:gd name="T40" fmla="*/ 12977935 w 453"/>
                <a:gd name="T41" fmla="*/ 152985766 h 661"/>
                <a:gd name="T42" fmla="*/ 13343481 w 453"/>
                <a:gd name="T43" fmla="*/ 164710738 h 661"/>
                <a:gd name="T44" fmla="*/ 12246844 w 453"/>
                <a:gd name="T45" fmla="*/ 175877756 h 661"/>
                <a:gd name="T46" fmla="*/ 79147662 w 453"/>
                <a:gd name="T47" fmla="*/ 184531865 h 661"/>
                <a:gd name="T48" fmla="*/ 80792830 w 453"/>
                <a:gd name="T49" fmla="*/ 162477335 h 661"/>
                <a:gd name="T50" fmla="*/ 75857752 w 453"/>
                <a:gd name="T51" fmla="*/ 158569011 h 661"/>
                <a:gd name="T52" fmla="*/ 68180441 w 453"/>
                <a:gd name="T53" fmla="*/ 155498147 h 661"/>
                <a:gd name="T54" fmla="*/ 64524558 w 453"/>
                <a:gd name="T55" fmla="*/ 153264743 h 661"/>
                <a:gd name="T56" fmla="*/ 62148298 w 453"/>
                <a:gd name="T57" fmla="*/ 149914902 h 661"/>
                <a:gd name="T58" fmla="*/ 60868675 w 453"/>
                <a:gd name="T59" fmla="*/ 143773174 h 661"/>
                <a:gd name="T60" fmla="*/ 60868675 w 453"/>
                <a:gd name="T61" fmla="*/ 129535293 h 661"/>
                <a:gd name="T62" fmla="*/ 61600194 w 453"/>
                <a:gd name="T63" fmla="*/ 119485241 h 661"/>
                <a:gd name="T64" fmla="*/ 64159012 w 453"/>
                <a:gd name="T65" fmla="*/ 110830604 h 661"/>
                <a:gd name="T66" fmla="*/ 68180441 w 453"/>
                <a:gd name="T67" fmla="*/ 101618012 h 661"/>
                <a:gd name="T68" fmla="*/ 71653337 w 453"/>
                <a:gd name="T69" fmla="*/ 92126444 h 661"/>
                <a:gd name="T70" fmla="*/ 72932960 w 453"/>
                <a:gd name="T71" fmla="*/ 82913852 h 661"/>
                <a:gd name="T72" fmla="*/ 71105232 w 453"/>
                <a:gd name="T73" fmla="*/ 74538721 h 661"/>
                <a:gd name="T74" fmla="*/ 68180441 w 453"/>
                <a:gd name="T75" fmla="*/ 68675970 h 661"/>
                <a:gd name="T76" fmla="*/ 62696830 w 453"/>
                <a:gd name="T77" fmla="*/ 60579817 h 661"/>
                <a:gd name="T78" fmla="*/ 60868675 w 453"/>
                <a:gd name="T79" fmla="*/ 53600629 h 661"/>
                <a:gd name="T80" fmla="*/ 61234220 w 453"/>
                <a:gd name="T81" fmla="*/ 48296361 h 661"/>
                <a:gd name="T82" fmla="*/ 64524558 w 453"/>
                <a:gd name="T83" fmla="*/ 45783980 h 661"/>
                <a:gd name="T84" fmla="*/ 74212583 w 453"/>
                <a:gd name="T85" fmla="*/ 45225497 h 661"/>
                <a:gd name="T86" fmla="*/ 72201869 w 453"/>
                <a:gd name="T87" fmla="*/ 42154634 h 661"/>
                <a:gd name="T88" fmla="*/ 69277077 w 453"/>
                <a:gd name="T89" fmla="*/ 32663065 h 661"/>
                <a:gd name="T90" fmla="*/ 67814895 w 453"/>
                <a:gd name="T91" fmla="*/ 20379609 h 661"/>
                <a:gd name="T92" fmla="*/ 68180441 w 453"/>
                <a:gd name="T93" fmla="*/ 12562433 h 661"/>
                <a:gd name="T94" fmla="*/ 67083804 w 453"/>
                <a:gd name="T95" fmla="*/ 3070864 h 661"/>
                <a:gd name="T96" fmla="*/ 63427921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US"/>
            </a:p>
          </p:txBody>
        </p:sp>
        <p:sp>
          <p:nvSpPr>
            <p:cNvPr id="299" name="Freeform 449">
              <a:extLst>
                <a:ext uri="{FF2B5EF4-FFF2-40B4-BE49-F238E27FC236}">
                  <a16:creationId xmlns:a16="http://schemas.microsoft.com/office/drawing/2014/main" id="{E5277B67-A210-4A91-8C74-75DC6AF28A0D}"/>
                </a:ext>
              </a:extLst>
            </p:cNvPr>
            <p:cNvSpPr>
              <a:spLocks/>
            </p:cNvSpPr>
            <p:nvPr>
              <p:custDataLst>
                <p:tags r:id="rId287"/>
              </p:custDataLst>
            </p:nvPr>
          </p:nvSpPr>
          <p:spPr bwMode="auto">
            <a:xfrm>
              <a:off x="6677025" y="3365500"/>
              <a:ext cx="55563" cy="57150"/>
            </a:xfrm>
            <a:custGeom>
              <a:avLst/>
              <a:gdLst>
                <a:gd name="T0" fmla="*/ 0 w 126"/>
                <a:gd name="T1" fmla="*/ 16589829 h 105"/>
                <a:gd name="T2" fmla="*/ 777882 w 126"/>
                <a:gd name="T3" fmla="*/ 14516100 h 105"/>
                <a:gd name="T4" fmla="*/ 1944705 w 126"/>
                <a:gd name="T5" fmla="*/ 12146280 h 105"/>
                <a:gd name="T6" fmla="*/ 3111528 w 126"/>
                <a:gd name="T7" fmla="*/ 9775916 h 105"/>
                <a:gd name="T8" fmla="*/ 4666851 w 126"/>
                <a:gd name="T9" fmla="*/ 7406096 h 105"/>
                <a:gd name="T10" fmla="*/ 7194968 w 126"/>
                <a:gd name="T11" fmla="*/ 3258639 h 105"/>
                <a:gd name="T12" fmla="*/ 9139673 w 126"/>
                <a:gd name="T13" fmla="*/ 0 h 105"/>
                <a:gd name="T14" fmla="*/ 21973844 w 126"/>
                <a:gd name="T15" fmla="*/ 0 h 105"/>
                <a:gd name="T16" fmla="*/ 22168314 w 126"/>
                <a:gd name="T17" fmla="*/ 1184910 h 105"/>
                <a:gd name="T18" fmla="*/ 22362785 w 126"/>
                <a:gd name="T19" fmla="*/ 2369820 h 105"/>
                <a:gd name="T20" fmla="*/ 22751726 w 126"/>
                <a:gd name="T21" fmla="*/ 3554730 h 105"/>
                <a:gd name="T22" fmla="*/ 23140667 w 126"/>
                <a:gd name="T23" fmla="*/ 4147457 h 105"/>
                <a:gd name="T24" fmla="*/ 24113019 w 126"/>
                <a:gd name="T25" fmla="*/ 5925094 h 105"/>
                <a:gd name="T26" fmla="*/ 24501960 w 126"/>
                <a:gd name="T27" fmla="*/ 7110004 h 105"/>
                <a:gd name="T28" fmla="*/ 24501960 w 126"/>
                <a:gd name="T29" fmla="*/ 9479824 h 105"/>
                <a:gd name="T30" fmla="*/ 24307490 w 126"/>
                <a:gd name="T31" fmla="*/ 12146280 h 105"/>
                <a:gd name="T32" fmla="*/ 24113019 w 126"/>
                <a:gd name="T33" fmla="*/ 14220009 h 105"/>
                <a:gd name="T34" fmla="*/ 23724078 w 126"/>
                <a:gd name="T35" fmla="*/ 16293737 h 105"/>
                <a:gd name="T36" fmla="*/ 23140667 w 126"/>
                <a:gd name="T37" fmla="*/ 18367466 h 105"/>
                <a:gd name="T38" fmla="*/ 22557255 w 126"/>
                <a:gd name="T39" fmla="*/ 20441194 h 105"/>
                <a:gd name="T40" fmla="*/ 21779373 w 126"/>
                <a:gd name="T41" fmla="*/ 22218287 h 105"/>
                <a:gd name="T42" fmla="*/ 21001491 w 126"/>
                <a:gd name="T43" fmla="*/ 23995924 h 105"/>
                <a:gd name="T44" fmla="*/ 20224050 w 126"/>
                <a:gd name="T45" fmla="*/ 25477470 h 105"/>
                <a:gd name="T46" fmla="*/ 19251698 w 126"/>
                <a:gd name="T47" fmla="*/ 26662380 h 105"/>
                <a:gd name="T48" fmla="*/ 18084875 w 126"/>
                <a:gd name="T49" fmla="*/ 27847290 h 105"/>
                <a:gd name="T50" fmla="*/ 17112522 w 126"/>
                <a:gd name="T51" fmla="*/ 29328291 h 105"/>
                <a:gd name="T52" fmla="*/ 15751229 w 126"/>
                <a:gd name="T53" fmla="*/ 29921019 h 105"/>
                <a:gd name="T54" fmla="*/ 14389935 w 126"/>
                <a:gd name="T55" fmla="*/ 30513201 h 105"/>
                <a:gd name="T56" fmla="*/ 13028642 w 126"/>
                <a:gd name="T57" fmla="*/ 31105929 h 105"/>
                <a:gd name="T58" fmla="*/ 11667789 w 126"/>
                <a:gd name="T59" fmla="*/ 31105929 h 105"/>
                <a:gd name="T60" fmla="*/ 9334143 w 126"/>
                <a:gd name="T61" fmla="*/ 30809837 h 105"/>
                <a:gd name="T62" fmla="*/ 7389438 w 126"/>
                <a:gd name="T63" fmla="*/ 30217110 h 105"/>
                <a:gd name="T64" fmla="*/ 6028145 w 126"/>
                <a:gd name="T65" fmla="*/ 29032200 h 105"/>
                <a:gd name="T66" fmla="*/ 4666851 w 126"/>
                <a:gd name="T67" fmla="*/ 27254563 h 105"/>
                <a:gd name="T68" fmla="*/ 3889410 w 126"/>
                <a:gd name="T69" fmla="*/ 25477470 h 105"/>
                <a:gd name="T70" fmla="*/ 3111528 w 126"/>
                <a:gd name="T71" fmla="*/ 23107106 h 105"/>
                <a:gd name="T72" fmla="*/ 2722587 w 126"/>
                <a:gd name="T73" fmla="*/ 20737286 h 105"/>
                <a:gd name="T74" fmla="*/ 2528117 w 126"/>
                <a:gd name="T75" fmla="*/ 18367466 h 105"/>
                <a:gd name="T76" fmla="*/ 0 w 126"/>
                <a:gd name="T77" fmla="*/ 16589829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US"/>
            </a:p>
          </p:txBody>
        </p:sp>
        <p:sp>
          <p:nvSpPr>
            <p:cNvPr id="300" name="Freeform 450">
              <a:extLst>
                <a:ext uri="{FF2B5EF4-FFF2-40B4-BE49-F238E27FC236}">
                  <a16:creationId xmlns:a16="http://schemas.microsoft.com/office/drawing/2014/main" id="{1C5C91A8-11D3-42EB-8A3D-A112B42A8CD3}"/>
                </a:ext>
              </a:extLst>
            </p:cNvPr>
            <p:cNvSpPr>
              <a:spLocks/>
            </p:cNvSpPr>
            <p:nvPr>
              <p:custDataLst>
                <p:tags r:id="rId288"/>
              </p:custDataLst>
            </p:nvPr>
          </p:nvSpPr>
          <p:spPr bwMode="auto">
            <a:xfrm>
              <a:off x="2032000" y="3629025"/>
              <a:ext cx="298450" cy="523875"/>
            </a:xfrm>
            <a:custGeom>
              <a:avLst/>
              <a:gdLst>
                <a:gd name="T0" fmla="*/ 127747945 w 684"/>
                <a:gd name="T1" fmla="*/ 157887946 h 998"/>
                <a:gd name="T2" fmla="*/ 129461414 w 684"/>
                <a:gd name="T3" fmla="*/ 151550528 h 998"/>
                <a:gd name="T4" fmla="*/ 127747945 w 684"/>
                <a:gd name="T5" fmla="*/ 135293081 h 998"/>
                <a:gd name="T6" fmla="*/ 125463319 w 684"/>
                <a:gd name="T7" fmla="*/ 116555888 h 998"/>
                <a:gd name="T8" fmla="*/ 129080498 w 684"/>
                <a:gd name="T9" fmla="*/ 107187555 h 998"/>
                <a:gd name="T10" fmla="*/ 106043997 w 684"/>
                <a:gd name="T11" fmla="*/ 99472209 h 998"/>
                <a:gd name="T12" fmla="*/ 101474745 w 684"/>
                <a:gd name="T13" fmla="*/ 89828290 h 998"/>
                <a:gd name="T14" fmla="*/ 87957666 w 684"/>
                <a:gd name="T15" fmla="*/ 85419446 h 998"/>
                <a:gd name="T16" fmla="*/ 76534535 w 684"/>
                <a:gd name="T17" fmla="*/ 74397599 h 998"/>
                <a:gd name="T18" fmla="*/ 71394127 w 684"/>
                <a:gd name="T19" fmla="*/ 55384821 h 998"/>
                <a:gd name="T20" fmla="*/ 71394127 w 684"/>
                <a:gd name="T21" fmla="*/ 36647628 h 998"/>
                <a:gd name="T22" fmla="*/ 75201982 w 684"/>
                <a:gd name="T23" fmla="*/ 23146036 h 998"/>
                <a:gd name="T24" fmla="*/ 82817257 w 684"/>
                <a:gd name="T25" fmla="*/ 13226007 h 998"/>
                <a:gd name="T26" fmla="*/ 88147906 w 684"/>
                <a:gd name="T27" fmla="*/ 3030916 h 998"/>
                <a:gd name="T28" fmla="*/ 74059669 w 684"/>
                <a:gd name="T29" fmla="*/ 10746262 h 998"/>
                <a:gd name="T30" fmla="*/ 63778852 w 684"/>
                <a:gd name="T31" fmla="*/ 18737193 h 998"/>
                <a:gd name="T32" fmla="*/ 57876611 w 684"/>
                <a:gd name="T33" fmla="*/ 21492523 h 998"/>
                <a:gd name="T34" fmla="*/ 52926879 w 684"/>
                <a:gd name="T35" fmla="*/ 23146036 h 998"/>
                <a:gd name="T36" fmla="*/ 45882761 w 684"/>
                <a:gd name="T37" fmla="*/ 22319280 h 998"/>
                <a:gd name="T38" fmla="*/ 41313508 w 684"/>
                <a:gd name="T39" fmla="*/ 29759040 h 998"/>
                <a:gd name="T40" fmla="*/ 37315413 w 684"/>
                <a:gd name="T41" fmla="*/ 48220647 h 998"/>
                <a:gd name="T42" fmla="*/ 29890378 w 684"/>
                <a:gd name="T43" fmla="*/ 62548995 h 998"/>
                <a:gd name="T44" fmla="*/ 20370958 w 684"/>
                <a:gd name="T45" fmla="*/ 78255272 h 998"/>
                <a:gd name="T46" fmla="*/ 17134695 w 684"/>
                <a:gd name="T47" fmla="*/ 87348020 h 998"/>
                <a:gd name="T48" fmla="*/ 16372862 w 684"/>
                <a:gd name="T49" fmla="*/ 98094281 h 998"/>
                <a:gd name="T50" fmla="*/ 18467248 w 684"/>
                <a:gd name="T51" fmla="*/ 105258456 h 998"/>
                <a:gd name="T52" fmla="*/ 18467248 w 684"/>
                <a:gd name="T53" fmla="*/ 124271234 h 998"/>
                <a:gd name="T54" fmla="*/ 18086332 w 684"/>
                <a:gd name="T55" fmla="*/ 144661940 h 998"/>
                <a:gd name="T56" fmla="*/ 13707756 w 684"/>
                <a:gd name="T57" fmla="*/ 155132616 h 998"/>
                <a:gd name="T58" fmla="*/ 7044118 w 684"/>
                <a:gd name="T59" fmla="*/ 163123547 h 998"/>
                <a:gd name="T60" fmla="*/ 2094386 w 684"/>
                <a:gd name="T61" fmla="*/ 168634208 h 998"/>
                <a:gd name="T62" fmla="*/ 5711565 w 684"/>
                <a:gd name="T63" fmla="*/ 184064899 h 998"/>
                <a:gd name="T64" fmla="*/ 23417417 w 684"/>
                <a:gd name="T65" fmla="*/ 199771175 h 998"/>
                <a:gd name="T66" fmla="*/ 33317317 w 684"/>
                <a:gd name="T67" fmla="*/ 200597407 h 998"/>
                <a:gd name="T68" fmla="*/ 44549771 w 684"/>
                <a:gd name="T69" fmla="*/ 205557422 h 998"/>
                <a:gd name="T70" fmla="*/ 56924974 w 684"/>
                <a:gd name="T71" fmla="*/ 219059014 h 998"/>
                <a:gd name="T72" fmla="*/ 64159332 w 684"/>
                <a:gd name="T73" fmla="*/ 234214119 h 998"/>
                <a:gd name="T74" fmla="*/ 69870897 w 684"/>
                <a:gd name="T75" fmla="*/ 242756221 h 998"/>
                <a:gd name="T76" fmla="*/ 78438245 w 684"/>
                <a:gd name="T77" fmla="*/ 244133624 h 998"/>
                <a:gd name="T78" fmla="*/ 87957666 w 684"/>
                <a:gd name="T79" fmla="*/ 241378293 h 998"/>
                <a:gd name="T80" fmla="*/ 93669231 w 684"/>
                <a:gd name="T81" fmla="*/ 241929464 h 998"/>
                <a:gd name="T82" fmla="*/ 98047806 w 684"/>
                <a:gd name="T83" fmla="*/ 249093639 h 998"/>
                <a:gd name="T84" fmla="*/ 97667326 w 684"/>
                <a:gd name="T85" fmla="*/ 254053654 h 998"/>
                <a:gd name="T86" fmla="*/ 92907398 w 684"/>
                <a:gd name="T87" fmla="*/ 258186912 h 998"/>
                <a:gd name="T88" fmla="*/ 92907398 w 684"/>
                <a:gd name="T89" fmla="*/ 265351086 h 998"/>
                <a:gd name="T90" fmla="*/ 97286410 w 684"/>
                <a:gd name="T91" fmla="*/ 273892663 h 998"/>
                <a:gd name="T92" fmla="*/ 103188215 w 684"/>
                <a:gd name="T93" fmla="*/ 265075501 h 998"/>
                <a:gd name="T94" fmla="*/ 107757467 w 684"/>
                <a:gd name="T95" fmla="*/ 237245035 h 998"/>
                <a:gd name="T96" fmla="*/ 108709540 w 684"/>
                <a:gd name="T97" fmla="*/ 221263698 h 998"/>
                <a:gd name="T98" fmla="*/ 105663081 w 684"/>
                <a:gd name="T99" fmla="*/ 212446010 h 998"/>
                <a:gd name="T100" fmla="*/ 99571036 w 684"/>
                <a:gd name="T101" fmla="*/ 206384178 h 998"/>
                <a:gd name="T102" fmla="*/ 99190119 w 684"/>
                <a:gd name="T103" fmla="*/ 199220004 h 998"/>
                <a:gd name="T104" fmla="*/ 107757467 w 684"/>
                <a:gd name="T105" fmla="*/ 192882061 h 998"/>
                <a:gd name="T106" fmla="*/ 105853757 w 684"/>
                <a:gd name="T107" fmla="*/ 183238142 h 998"/>
                <a:gd name="T108" fmla="*/ 105853757 w 684"/>
                <a:gd name="T109" fmla="*/ 178829298 h 998"/>
                <a:gd name="T110" fmla="*/ 124701486 w 684"/>
                <a:gd name="T111" fmla="*/ 173043051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1" name="Freeform 451">
              <a:extLst>
                <a:ext uri="{FF2B5EF4-FFF2-40B4-BE49-F238E27FC236}">
                  <a16:creationId xmlns:a16="http://schemas.microsoft.com/office/drawing/2014/main" id="{896B6E0D-BE8F-4075-A8BE-87D088AC32B1}"/>
                </a:ext>
              </a:extLst>
            </p:cNvPr>
            <p:cNvSpPr>
              <a:spLocks/>
            </p:cNvSpPr>
            <p:nvPr>
              <p:custDataLst>
                <p:tags r:id="rId289"/>
              </p:custDataLst>
            </p:nvPr>
          </p:nvSpPr>
          <p:spPr bwMode="auto">
            <a:xfrm>
              <a:off x="4284663" y="3897313"/>
              <a:ext cx="187325" cy="274637"/>
            </a:xfrm>
            <a:custGeom>
              <a:avLst/>
              <a:gdLst>
                <a:gd name="T0" fmla="*/ 81796400 w 429"/>
                <a:gd name="T1" fmla="*/ 6043608 h 524"/>
                <a:gd name="T2" fmla="*/ 81605582 w 429"/>
                <a:gd name="T3" fmla="*/ 11812055 h 524"/>
                <a:gd name="T4" fmla="*/ 80843182 w 429"/>
                <a:gd name="T5" fmla="*/ 14833597 h 524"/>
                <a:gd name="T6" fmla="*/ 79127128 w 429"/>
                <a:gd name="T7" fmla="*/ 18404939 h 524"/>
                <a:gd name="T8" fmla="*/ 78745928 w 429"/>
                <a:gd name="T9" fmla="*/ 22250919 h 524"/>
                <a:gd name="T10" fmla="*/ 78936310 w 429"/>
                <a:gd name="T11" fmla="*/ 43952038 h 524"/>
                <a:gd name="T12" fmla="*/ 77792274 w 429"/>
                <a:gd name="T13" fmla="*/ 56862645 h 524"/>
                <a:gd name="T14" fmla="*/ 75504201 w 429"/>
                <a:gd name="T15" fmla="*/ 66202957 h 524"/>
                <a:gd name="T16" fmla="*/ 70928493 w 429"/>
                <a:gd name="T17" fmla="*/ 76366660 h 524"/>
                <a:gd name="T18" fmla="*/ 64445477 w 429"/>
                <a:gd name="T19" fmla="*/ 84882534 h 524"/>
                <a:gd name="T20" fmla="*/ 60822987 w 429"/>
                <a:gd name="T21" fmla="*/ 91474895 h 524"/>
                <a:gd name="T22" fmla="*/ 59488132 w 429"/>
                <a:gd name="T23" fmla="*/ 113176538 h 524"/>
                <a:gd name="T24" fmla="*/ 57962896 w 429"/>
                <a:gd name="T25" fmla="*/ 120593336 h 524"/>
                <a:gd name="T26" fmla="*/ 55293624 w 429"/>
                <a:gd name="T27" fmla="*/ 123065602 h 524"/>
                <a:gd name="T28" fmla="*/ 51289498 w 429"/>
                <a:gd name="T29" fmla="*/ 124988592 h 524"/>
                <a:gd name="T30" fmla="*/ 48239026 w 429"/>
                <a:gd name="T31" fmla="*/ 129658487 h 524"/>
                <a:gd name="T32" fmla="*/ 44616099 w 429"/>
                <a:gd name="T33" fmla="*/ 137349923 h 524"/>
                <a:gd name="T34" fmla="*/ 42518845 w 429"/>
                <a:gd name="T35" fmla="*/ 138723637 h 524"/>
                <a:gd name="T36" fmla="*/ 38324337 w 429"/>
                <a:gd name="T37" fmla="*/ 138448999 h 524"/>
                <a:gd name="T38" fmla="*/ 36036265 w 429"/>
                <a:gd name="T39" fmla="*/ 136800647 h 524"/>
                <a:gd name="T40" fmla="*/ 27646812 w 429"/>
                <a:gd name="T41" fmla="*/ 137349923 h 524"/>
                <a:gd name="T42" fmla="*/ 23452304 w 429"/>
                <a:gd name="T43" fmla="*/ 137349923 h 524"/>
                <a:gd name="T44" fmla="*/ 21545432 w 429"/>
                <a:gd name="T45" fmla="*/ 135701571 h 524"/>
                <a:gd name="T46" fmla="*/ 18113323 w 429"/>
                <a:gd name="T47" fmla="*/ 135426933 h 524"/>
                <a:gd name="T48" fmla="*/ 14872033 w 429"/>
                <a:gd name="T49" fmla="*/ 137899199 h 524"/>
                <a:gd name="T50" fmla="*/ 11821561 w 429"/>
                <a:gd name="T51" fmla="*/ 142569093 h 524"/>
                <a:gd name="T52" fmla="*/ 5148163 w 429"/>
                <a:gd name="T53" fmla="*/ 134877657 h 524"/>
                <a:gd name="T54" fmla="*/ 1144036 w 429"/>
                <a:gd name="T55" fmla="*/ 122790964 h 524"/>
                <a:gd name="T56" fmla="*/ 4766526 w 429"/>
                <a:gd name="T57" fmla="*/ 118121070 h 524"/>
                <a:gd name="T58" fmla="*/ 8008253 w 429"/>
                <a:gd name="T59" fmla="*/ 116472718 h 524"/>
                <a:gd name="T60" fmla="*/ 11630743 w 429"/>
                <a:gd name="T61" fmla="*/ 117571794 h 524"/>
                <a:gd name="T62" fmla="*/ 11058725 w 429"/>
                <a:gd name="T63" fmla="*/ 114824366 h 524"/>
                <a:gd name="T64" fmla="*/ 8579834 w 429"/>
                <a:gd name="T65" fmla="*/ 106034377 h 524"/>
                <a:gd name="T66" fmla="*/ 8961471 w 429"/>
                <a:gd name="T67" fmla="*/ 100540045 h 524"/>
                <a:gd name="T68" fmla="*/ 10867907 w 429"/>
                <a:gd name="T69" fmla="*/ 97793141 h 524"/>
                <a:gd name="T70" fmla="*/ 13537615 w 429"/>
                <a:gd name="T71" fmla="*/ 96694589 h 524"/>
                <a:gd name="T72" fmla="*/ 16969287 w 429"/>
                <a:gd name="T73" fmla="*/ 92573971 h 524"/>
                <a:gd name="T74" fmla="*/ 19829377 w 429"/>
                <a:gd name="T75" fmla="*/ 91474895 h 524"/>
                <a:gd name="T76" fmla="*/ 21926631 w 429"/>
                <a:gd name="T77" fmla="*/ 93947161 h 524"/>
                <a:gd name="T78" fmla="*/ 25739940 w 429"/>
                <a:gd name="T79" fmla="*/ 98617055 h 524"/>
                <a:gd name="T80" fmla="*/ 29362866 w 429"/>
                <a:gd name="T81" fmla="*/ 96419951 h 524"/>
                <a:gd name="T82" fmla="*/ 34511029 w 429"/>
                <a:gd name="T83" fmla="*/ 96969227 h 524"/>
                <a:gd name="T84" fmla="*/ 37942701 w 429"/>
                <a:gd name="T85" fmla="*/ 93397885 h 524"/>
                <a:gd name="T86" fmla="*/ 40040391 w 429"/>
                <a:gd name="T87" fmla="*/ 86530362 h 524"/>
                <a:gd name="T88" fmla="*/ 40612409 w 429"/>
                <a:gd name="T89" fmla="*/ 79662840 h 524"/>
                <a:gd name="T90" fmla="*/ 40993609 w 429"/>
                <a:gd name="T91" fmla="*/ 73894394 h 524"/>
                <a:gd name="T92" fmla="*/ 38324337 w 429"/>
                <a:gd name="T93" fmla="*/ 64829243 h 524"/>
                <a:gd name="T94" fmla="*/ 35845447 w 429"/>
                <a:gd name="T95" fmla="*/ 55764093 h 524"/>
                <a:gd name="T96" fmla="*/ 39468373 w 429"/>
                <a:gd name="T97" fmla="*/ 48621932 h 524"/>
                <a:gd name="T98" fmla="*/ 40040391 w 429"/>
                <a:gd name="T99" fmla="*/ 45050590 h 524"/>
                <a:gd name="T100" fmla="*/ 38133519 w 429"/>
                <a:gd name="T101" fmla="*/ 42578324 h 524"/>
                <a:gd name="T102" fmla="*/ 37561501 w 429"/>
                <a:gd name="T103" fmla="*/ 37633792 h 524"/>
                <a:gd name="T104" fmla="*/ 35845447 w 429"/>
                <a:gd name="T105" fmla="*/ 35436164 h 524"/>
                <a:gd name="T106" fmla="*/ 30697284 w 429"/>
                <a:gd name="T107" fmla="*/ 36260602 h 524"/>
                <a:gd name="T108" fmla="*/ 26121576 w 429"/>
                <a:gd name="T109" fmla="*/ 35985964 h 524"/>
                <a:gd name="T110" fmla="*/ 23833504 w 429"/>
                <a:gd name="T111" fmla="*/ 32689260 h 524"/>
                <a:gd name="T112" fmla="*/ 23452304 w 429"/>
                <a:gd name="T113" fmla="*/ 28294003 h 524"/>
                <a:gd name="T114" fmla="*/ 25167922 w 429"/>
                <a:gd name="T115" fmla="*/ 20877205 h 524"/>
                <a:gd name="T116" fmla="*/ 58344096 w 429"/>
                <a:gd name="T117" fmla="*/ 10438340 h 524"/>
                <a:gd name="T118" fmla="*/ 61585823 w 429"/>
                <a:gd name="T119" fmla="*/ 4669894 h 524"/>
                <a:gd name="T120" fmla="*/ 65399131 w 429"/>
                <a:gd name="T121" fmla="*/ 1922990 h 524"/>
                <a:gd name="T122" fmla="*/ 71309693 w 429"/>
                <a:gd name="T123" fmla="*/ 1373714 h 524"/>
                <a:gd name="T124" fmla="*/ 77792274 w 429"/>
                <a:gd name="T125" fmla="*/ 1098552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US"/>
            </a:p>
          </p:txBody>
        </p:sp>
        <p:sp>
          <p:nvSpPr>
            <p:cNvPr id="302" name="Freeform 452">
              <a:extLst>
                <a:ext uri="{FF2B5EF4-FFF2-40B4-BE49-F238E27FC236}">
                  <a16:creationId xmlns:a16="http://schemas.microsoft.com/office/drawing/2014/main" id="{42457885-17A9-4FF1-8368-A64BCA2E242D}"/>
                </a:ext>
              </a:extLst>
            </p:cNvPr>
            <p:cNvSpPr>
              <a:spLocks/>
            </p:cNvSpPr>
            <p:nvPr>
              <p:custDataLst>
                <p:tags r:id="rId290"/>
              </p:custDataLst>
            </p:nvPr>
          </p:nvSpPr>
          <p:spPr bwMode="auto">
            <a:xfrm>
              <a:off x="4316413" y="2540000"/>
              <a:ext cx="127000" cy="114300"/>
            </a:xfrm>
            <a:custGeom>
              <a:avLst/>
              <a:gdLst>
                <a:gd name="T0" fmla="*/ 48993729 w 292"/>
                <a:gd name="T1" fmla="*/ 24432522 h 223"/>
                <a:gd name="T2" fmla="*/ 31401620 w 292"/>
                <a:gd name="T3" fmla="*/ 20229050 h 223"/>
                <a:gd name="T4" fmla="*/ 28753322 w 292"/>
                <a:gd name="T5" fmla="*/ 20754420 h 223"/>
                <a:gd name="T6" fmla="*/ 26293784 w 292"/>
                <a:gd name="T7" fmla="*/ 20754420 h 223"/>
                <a:gd name="T8" fmla="*/ 23834682 w 292"/>
                <a:gd name="T9" fmla="*/ 20229050 h 223"/>
                <a:gd name="T10" fmla="*/ 22510750 w 292"/>
                <a:gd name="T11" fmla="*/ 24432522 h 223"/>
                <a:gd name="T12" fmla="*/ 27239760 w 292"/>
                <a:gd name="T13" fmla="*/ 34415576 h 223"/>
                <a:gd name="T14" fmla="*/ 31779575 w 292"/>
                <a:gd name="T15" fmla="*/ 41245898 h 223"/>
                <a:gd name="T16" fmla="*/ 35752240 w 292"/>
                <a:gd name="T17" fmla="*/ 48602103 h 223"/>
                <a:gd name="T18" fmla="*/ 37265801 w 292"/>
                <a:gd name="T19" fmla="*/ 53068004 h 223"/>
                <a:gd name="T20" fmla="*/ 38778928 w 292"/>
                <a:gd name="T21" fmla="*/ 58322216 h 223"/>
                <a:gd name="T22" fmla="*/ 33103942 w 292"/>
                <a:gd name="T23" fmla="*/ 58585157 h 223"/>
                <a:gd name="T24" fmla="*/ 30455644 w 292"/>
                <a:gd name="T25" fmla="*/ 58322216 h 223"/>
                <a:gd name="T26" fmla="*/ 27618151 w 292"/>
                <a:gd name="T27" fmla="*/ 56746106 h 223"/>
                <a:gd name="T28" fmla="*/ 25348243 w 292"/>
                <a:gd name="T29" fmla="*/ 54907055 h 223"/>
                <a:gd name="T30" fmla="*/ 24023877 w 292"/>
                <a:gd name="T31" fmla="*/ 52017264 h 223"/>
                <a:gd name="T32" fmla="*/ 22889140 w 292"/>
                <a:gd name="T33" fmla="*/ 49127473 h 223"/>
                <a:gd name="T34" fmla="*/ 21375579 w 292"/>
                <a:gd name="T35" fmla="*/ 47288422 h 223"/>
                <a:gd name="T36" fmla="*/ 17214154 w 292"/>
                <a:gd name="T37" fmla="*/ 38093678 h 223"/>
                <a:gd name="T38" fmla="*/ 12863099 w 292"/>
                <a:gd name="T39" fmla="*/ 29686734 h 223"/>
                <a:gd name="T40" fmla="*/ 10403997 w 292"/>
                <a:gd name="T41" fmla="*/ 26008632 h 223"/>
                <a:gd name="T42" fmla="*/ 7944894 w 292"/>
                <a:gd name="T43" fmla="*/ 22855900 h 223"/>
                <a:gd name="T44" fmla="*/ 5107401 w 292"/>
                <a:gd name="T45" fmla="*/ 20754420 h 223"/>
                <a:gd name="T46" fmla="*/ 2459103 w 292"/>
                <a:gd name="T47" fmla="*/ 19703680 h 223"/>
                <a:gd name="T48" fmla="*/ 756781 w 292"/>
                <a:gd name="T49" fmla="*/ 17076317 h 223"/>
                <a:gd name="T50" fmla="*/ 189195 w 292"/>
                <a:gd name="T51" fmla="*/ 15237266 h 223"/>
                <a:gd name="T52" fmla="*/ 0 w 292"/>
                <a:gd name="T53" fmla="*/ 12872845 h 223"/>
                <a:gd name="T54" fmla="*/ 7566503 w 292"/>
                <a:gd name="T55" fmla="*/ 14449468 h 223"/>
                <a:gd name="T56" fmla="*/ 13241490 w 292"/>
                <a:gd name="T57" fmla="*/ 14449468 h 223"/>
                <a:gd name="T58" fmla="*/ 17214154 w 292"/>
                <a:gd name="T59" fmla="*/ 13135787 h 223"/>
                <a:gd name="T60" fmla="*/ 20051647 w 292"/>
                <a:gd name="T61" fmla="*/ 10771365 h 223"/>
                <a:gd name="T62" fmla="*/ 24023877 w 292"/>
                <a:gd name="T63" fmla="*/ 5254212 h 223"/>
                <a:gd name="T64" fmla="*/ 26105024 w 292"/>
                <a:gd name="T65" fmla="*/ 2364421 h 223"/>
                <a:gd name="T66" fmla="*/ 28753322 w 292"/>
                <a:gd name="T67" fmla="*/ 0 h 223"/>
                <a:gd name="T68" fmla="*/ 32536356 w 292"/>
                <a:gd name="T69" fmla="*/ 3678102 h 223"/>
                <a:gd name="T70" fmla="*/ 36698216 w 292"/>
                <a:gd name="T71" fmla="*/ 6830322 h 223"/>
                <a:gd name="T72" fmla="*/ 41238031 w 292"/>
                <a:gd name="T73" fmla="*/ 8932314 h 223"/>
                <a:gd name="T74" fmla="*/ 46534627 w 292"/>
                <a:gd name="T75" fmla="*/ 9720626 h 223"/>
                <a:gd name="T76" fmla="*/ 49561315 w 292"/>
                <a:gd name="T77" fmla="*/ 8932314 h 223"/>
                <a:gd name="T78" fmla="*/ 52777199 w 292"/>
                <a:gd name="T79" fmla="*/ 8144003 h 223"/>
                <a:gd name="T80" fmla="*/ 53911935 w 292"/>
                <a:gd name="T81" fmla="*/ 12347475 h 223"/>
                <a:gd name="T82" fmla="*/ 54290325 w 292"/>
                <a:gd name="T83" fmla="*/ 12872845 h 223"/>
                <a:gd name="T84" fmla="*/ 55236301 w 292"/>
                <a:gd name="T85" fmla="*/ 1812705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3" name="Freeform 453">
              <a:extLst>
                <a:ext uri="{FF2B5EF4-FFF2-40B4-BE49-F238E27FC236}">
                  <a16:creationId xmlns:a16="http://schemas.microsoft.com/office/drawing/2014/main" id="{67EAD1F4-9295-4567-BDED-841170B3B32B}"/>
                </a:ext>
              </a:extLst>
            </p:cNvPr>
            <p:cNvSpPr>
              <a:spLocks/>
            </p:cNvSpPr>
            <p:nvPr>
              <p:custDataLst>
                <p:tags r:id="rId291"/>
              </p:custDataLst>
            </p:nvPr>
          </p:nvSpPr>
          <p:spPr bwMode="auto">
            <a:xfrm>
              <a:off x="4267200" y="2398713"/>
              <a:ext cx="168275" cy="77787"/>
            </a:xfrm>
            <a:custGeom>
              <a:avLst/>
              <a:gdLst>
                <a:gd name="T0" fmla="*/ 73925117 w 379"/>
                <a:gd name="T1" fmla="*/ 26321978 h 147"/>
                <a:gd name="T2" fmla="*/ 70968094 w 379"/>
                <a:gd name="T3" fmla="*/ 28282023 h 147"/>
                <a:gd name="T4" fmla="*/ 69785285 w 379"/>
                <a:gd name="T5" fmla="*/ 30242069 h 147"/>
                <a:gd name="T6" fmla="*/ 68405341 w 379"/>
                <a:gd name="T7" fmla="*/ 32762506 h 147"/>
                <a:gd name="T8" fmla="*/ 65645454 w 379"/>
                <a:gd name="T9" fmla="*/ 35562874 h 147"/>
                <a:gd name="T10" fmla="*/ 63082701 w 379"/>
                <a:gd name="T11" fmla="*/ 36682598 h 147"/>
                <a:gd name="T12" fmla="*/ 61308488 w 379"/>
                <a:gd name="T13" fmla="*/ 36962529 h 147"/>
                <a:gd name="T14" fmla="*/ 59337139 w 379"/>
                <a:gd name="T15" fmla="*/ 36402667 h 147"/>
                <a:gd name="T16" fmla="*/ 57365791 w 379"/>
                <a:gd name="T17" fmla="*/ 35282414 h 147"/>
                <a:gd name="T18" fmla="*/ 55394443 w 379"/>
                <a:gd name="T19" fmla="*/ 33322368 h 147"/>
                <a:gd name="T20" fmla="*/ 54211634 w 379"/>
                <a:gd name="T21" fmla="*/ 32482575 h 147"/>
                <a:gd name="T22" fmla="*/ 53028825 w 379"/>
                <a:gd name="T23" fmla="*/ 33042437 h 147"/>
                <a:gd name="T24" fmla="*/ 52634555 w 379"/>
                <a:gd name="T25" fmla="*/ 34442621 h 147"/>
                <a:gd name="T26" fmla="*/ 52437420 w 379"/>
                <a:gd name="T27" fmla="*/ 39203035 h 147"/>
                <a:gd name="T28" fmla="*/ 50663207 w 379"/>
                <a:gd name="T29" fmla="*/ 40603219 h 147"/>
                <a:gd name="T30" fmla="*/ 48100454 w 379"/>
                <a:gd name="T31" fmla="*/ 39203035 h 147"/>
                <a:gd name="T32" fmla="*/ 45143432 w 379"/>
                <a:gd name="T33" fmla="*/ 36682598 h 147"/>
                <a:gd name="T34" fmla="*/ 22276236 w 379"/>
                <a:gd name="T35" fmla="*/ 39482966 h 147"/>
                <a:gd name="T36" fmla="*/ 15770786 w 379"/>
                <a:gd name="T37" fmla="*/ 34722552 h 147"/>
                <a:gd name="T38" fmla="*/ 11433820 w 379"/>
                <a:gd name="T39" fmla="*/ 30522530 h 147"/>
                <a:gd name="T40" fmla="*/ 8871067 w 379"/>
                <a:gd name="T41" fmla="*/ 26321978 h 147"/>
                <a:gd name="T42" fmla="*/ 7293989 w 379"/>
                <a:gd name="T43" fmla="*/ 22961748 h 147"/>
                <a:gd name="T44" fmla="*/ 5125506 w 379"/>
                <a:gd name="T45" fmla="*/ 16521219 h 147"/>
                <a:gd name="T46" fmla="*/ 3154157 w 379"/>
                <a:gd name="T47" fmla="*/ 13440920 h 147"/>
                <a:gd name="T48" fmla="*/ 0 w 379"/>
                <a:gd name="T49" fmla="*/ 10080690 h 147"/>
                <a:gd name="T50" fmla="*/ 5716910 w 379"/>
                <a:gd name="T51" fmla="*/ 11200943 h 147"/>
                <a:gd name="T52" fmla="*/ 10251011 w 379"/>
                <a:gd name="T53" fmla="*/ 10640552 h 147"/>
                <a:gd name="T54" fmla="*/ 14193708 w 379"/>
                <a:gd name="T55" fmla="*/ 9240897 h 147"/>
                <a:gd name="T56" fmla="*/ 17150730 w 379"/>
                <a:gd name="T57" fmla="*/ 7000391 h 147"/>
                <a:gd name="T58" fmla="*/ 23459045 w 379"/>
                <a:gd name="T59" fmla="*/ 2239977 h 147"/>
                <a:gd name="T60" fmla="*/ 27204606 w 379"/>
                <a:gd name="T61" fmla="*/ 559862 h 147"/>
                <a:gd name="T62" fmla="*/ 31344438 w 379"/>
                <a:gd name="T63" fmla="*/ 0 h 147"/>
                <a:gd name="T64" fmla="*/ 39426522 w 379"/>
                <a:gd name="T65" fmla="*/ 6440529 h 147"/>
                <a:gd name="T66" fmla="*/ 48100454 w 379"/>
                <a:gd name="T67" fmla="*/ 12601127 h 147"/>
                <a:gd name="T68" fmla="*/ 57562926 w 379"/>
                <a:gd name="T69" fmla="*/ 18761196 h 147"/>
                <a:gd name="T70" fmla="*/ 65645454 w 379"/>
                <a:gd name="T71" fmla="*/ 22401886 h 147"/>
                <a:gd name="T72" fmla="*/ 69785285 w 379"/>
                <a:gd name="T73" fmla="*/ 24082001 h 147"/>
                <a:gd name="T74" fmla="*/ 74713656 w 379"/>
                <a:gd name="T75" fmla="*/ 25762116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4" name="Freeform 454">
              <a:extLst>
                <a:ext uri="{FF2B5EF4-FFF2-40B4-BE49-F238E27FC236}">
                  <a16:creationId xmlns:a16="http://schemas.microsoft.com/office/drawing/2014/main" id="{EABA2649-D57E-4A6F-9D37-6AEB2BF3BB08}"/>
                </a:ext>
              </a:extLst>
            </p:cNvPr>
            <p:cNvSpPr>
              <a:spLocks/>
            </p:cNvSpPr>
            <p:nvPr>
              <p:custDataLst>
                <p:tags r:id="rId292"/>
              </p:custDataLst>
            </p:nvPr>
          </p:nvSpPr>
          <p:spPr bwMode="auto">
            <a:xfrm>
              <a:off x="4230688" y="2254250"/>
              <a:ext cx="30162" cy="60325"/>
            </a:xfrm>
            <a:custGeom>
              <a:avLst/>
              <a:gdLst>
                <a:gd name="T0" fmla="*/ 0 w 61"/>
                <a:gd name="T1" fmla="*/ 0 h 67"/>
                <a:gd name="T2" fmla="*/ 0 w 61"/>
                <a:gd name="T3" fmla="*/ 7295724 h 67"/>
                <a:gd name="T4" fmla="*/ 0 w 61"/>
                <a:gd name="T5" fmla="*/ 14592347 h 67"/>
                <a:gd name="T6" fmla="*/ 244263 w 61"/>
                <a:gd name="T7" fmla="*/ 19456163 h 67"/>
                <a:gd name="T8" fmla="*/ 489020 w 61"/>
                <a:gd name="T9" fmla="*/ 24319979 h 67"/>
                <a:gd name="T10" fmla="*/ 733283 w 61"/>
                <a:gd name="T11" fmla="*/ 29183794 h 67"/>
                <a:gd name="T12" fmla="*/ 1467060 w 61"/>
                <a:gd name="T13" fmla="*/ 34048510 h 67"/>
                <a:gd name="T14" fmla="*/ 2934120 w 61"/>
                <a:gd name="T15" fmla="*/ 44587378 h 67"/>
                <a:gd name="T16" fmla="*/ 5134462 w 61"/>
                <a:gd name="T17" fmla="*/ 54315009 h 67"/>
                <a:gd name="T18" fmla="*/ 6845785 w 61"/>
                <a:gd name="T19" fmla="*/ 52693437 h 67"/>
                <a:gd name="T20" fmla="*/ 8557108 w 61"/>
                <a:gd name="T21" fmla="*/ 49451194 h 67"/>
                <a:gd name="T22" fmla="*/ 10268430 w 61"/>
                <a:gd name="T23" fmla="*/ 47019286 h 67"/>
                <a:gd name="T24" fmla="*/ 11735490 w 61"/>
                <a:gd name="T25" fmla="*/ 42965806 h 67"/>
                <a:gd name="T26" fmla="*/ 12957793 w 61"/>
                <a:gd name="T27" fmla="*/ 38101990 h 67"/>
                <a:gd name="T28" fmla="*/ 13935833 w 61"/>
                <a:gd name="T29" fmla="*/ 32426938 h 67"/>
                <a:gd name="T30" fmla="*/ 14424853 w 61"/>
                <a:gd name="T31" fmla="*/ 25941551 h 67"/>
                <a:gd name="T32" fmla="*/ 14913873 w 61"/>
                <a:gd name="T33" fmla="*/ 19456163 h 67"/>
                <a:gd name="T34" fmla="*/ 12957793 w 61"/>
                <a:gd name="T35" fmla="*/ 11349203 h 67"/>
                <a:gd name="T36" fmla="*/ 10024168 w 61"/>
                <a:gd name="T37" fmla="*/ 0 h 67"/>
                <a:gd name="T38" fmla="*/ 6845785 w 61"/>
                <a:gd name="T39" fmla="*/ 2431908 h 67"/>
                <a:gd name="T40" fmla="*/ 4400685 w 61"/>
                <a:gd name="T41" fmla="*/ 3242244 h 67"/>
                <a:gd name="T42" fmla="*/ 3178383 w 61"/>
                <a:gd name="T43" fmla="*/ 3242244 h 67"/>
                <a:gd name="T44" fmla="*/ 2445100 w 61"/>
                <a:gd name="T45" fmla="*/ 2431908 h 67"/>
                <a:gd name="T46" fmla="*/ 1467060 w 61"/>
                <a:gd name="T47" fmla="*/ 1621572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5" name="Freeform 455">
              <a:extLst>
                <a:ext uri="{FF2B5EF4-FFF2-40B4-BE49-F238E27FC236}">
                  <a16:creationId xmlns:a16="http://schemas.microsoft.com/office/drawing/2014/main" id="{F51DF536-1013-41FC-A53E-10EE6E925946}"/>
                </a:ext>
              </a:extLst>
            </p:cNvPr>
            <p:cNvSpPr>
              <a:spLocks/>
            </p:cNvSpPr>
            <p:nvPr>
              <p:custDataLst>
                <p:tags r:id="rId293"/>
              </p:custDataLst>
            </p:nvPr>
          </p:nvSpPr>
          <p:spPr bwMode="auto">
            <a:xfrm>
              <a:off x="4202113" y="2259013"/>
              <a:ext cx="25400" cy="58737"/>
            </a:xfrm>
            <a:custGeom>
              <a:avLst/>
              <a:gdLst>
                <a:gd name="T0" fmla="*/ 0 w 60"/>
                <a:gd name="T1" fmla="*/ 6843511 h 55"/>
                <a:gd name="T2" fmla="*/ 0 w 60"/>
                <a:gd name="T3" fmla="*/ 27372976 h 55"/>
                <a:gd name="T4" fmla="*/ 896197 w 60"/>
                <a:gd name="T5" fmla="*/ 36497657 h 55"/>
                <a:gd name="T6" fmla="*/ 1791970 w 60"/>
                <a:gd name="T7" fmla="*/ 45622339 h 55"/>
                <a:gd name="T8" fmla="*/ 2867237 w 60"/>
                <a:gd name="T9" fmla="*/ 51324196 h 55"/>
                <a:gd name="T10" fmla="*/ 3763433 w 60"/>
                <a:gd name="T11" fmla="*/ 55886537 h 55"/>
                <a:gd name="T12" fmla="*/ 4838700 w 60"/>
                <a:gd name="T13" fmla="*/ 59308293 h 55"/>
                <a:gd name="T14" fmla="*/ 5913967 w 60"/>
                <a:gd name="T15" fmla="*/ 61589463 h 55"/>
                <a:gd name="T16" fmla="*/ 7168303 w 60"/>
                <a:gd name="T17" fmla="*/ 62730048 h 55"/>
                <a:gd name="T18" fmla="*/ 8243570 w 60"/>
                <a:gd name="T19" fmla="*/ 62730048 h 55"/>
                <a:gd name="T20" fmla="*/ 9498330 w 60"/>
                <a:gd name="T21" fmla="*/ 59308293 h 55"/>
                <a:gd name="T22" fmla="*/ 10752667 w 60"/>
                <a:gd name="T23" fmla="*/ 55886537 h 55"/>
                <a:gd name="T24" fmla="*/ 8960697 w 60"/>
                <a:gd name="T25" fmla="*/ 38778828 h 55"/>
                <a:gd name="T26" fmla="*/ 7526867 w 60"/>
                <a:gd name="T27" fmla="*/ 25091806 h 55"/>
                <a:gd name="T28" fmla="*/ 6989233 w 60"/>
                <a:gd name="T29" fmla="*/ 19388880 h 55"/>
                <a:gd name="T30" fmla="*/ 6272530 w 60"/>
                <a:gd name="T31" fmla="*/ 13687022 h 55"/>
                <a:gd name="T32" fmla="*/ 6093037 w 60"/>
                <a:gd name="T33" fmla="*/ 6843511 h 55"/>
                <a:gd name="T34" fmla="*/ 5913967 w 60"/>
                <a:gd name="T35" fmla="*/ 0 h 55"/>
                <a:gd name="T36" fmla="*/ 4121997 w 60"/>
                <a:gd name="T37" fmla="*/ 1140585 h 55"/>
                <a:gd name="T38" fmla="*/ 2688167 w 60"/>
                <a:gd name="T39" fmla="*/ 3421755 h 55"/>
                <a:gd name="T40" fmla="*/ 1254337 w 60"/>
                <a:gd name="T41" fmla="*/ 5702926 h 55"/>
                <a:gd name="T42" fmla="*/ 0 w 60"/>
                <a:gd name="T43" fmla="*/ 6843511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306" name="Freeform 456">
              <a:extLst>
                <a:ext uri="{FF2B5EF4-FFF2-40B4-BE49-F238E27FC236}">
                  <a16:creationId xmlns:a16="http://schemas.microsoft.com/office/drawing/2014/main" id="{98C32E64-BE37-44C4-9DC9-4E6887E54B4D}"/>
                </a:ext>
              </a:extLst>
            </p:cNvPr>
            <p:cNvSpPr>
              <a:spLocks/>
            </p:cNvSpPr>
            <p:nvPr>
              <p:custDataLst>
                <p:tags r:id="rId294"/>
              </p:custDataLst>
            </p:nvPr>
          </p:nvSpPr>
          <p:spPr bwMode="auto">
            <a:xfrm>
              <a:off x="4171950" y="2205038"/>
              <a:ext cx="52388" cy="77787"/>
            </a:xfrm>
            <a:custGeom>
              <a:avLst/>
              <a:gdLst>
                <a:gd name="T0" fmla="*/ 14103723 w 120"/>
                <a:gd name="T1" fmla="*/ 35636365 h 148"/>
                <a:gd name="T2" fmla="*/ 13341477 w 120"/>
                <a:gd name="T3" fmla="*/ 36188765 h 148"/>
                <a:gd name="T4" fmla="*/ 12769575 w 120"/>
                <a:gd name="T5" fmla="*/ 36464702 h 148"/>
                <a:gd name="T6" fmla="*/ 12197673 w 120"/>
                <a:gd name="T7" fmla="*/ 36741165 h 148"/>
                <a:gd name="T8" fmla="*/ 11435427 w 120"/>
                <a:gd name="T9" fmla="*/ 36741165 h 148"/>
                <a:gd name="T10" fmla="*/ 10673182 w 120"/>
                <a:gd name="T11" fmla="*/ 36741165 h 148"/>
                <a:gd name="T12" fmla="*/ 10101280 w 120"/>
                <a:gd name="T13" fmla="*/ 36464702 h 148"/>
                <a:gd name="T14" fmla="*/ 9529377 w 120"/>
                <a:gd name="T15" fmla="*/ 36188765 h 148"/>
                <a:gd name="T16" fmla="*/ 8957911 w 120"/>
                <a:gd name="T17" fmla="*/ 35636365 h 148"/>
                <a:gd name="T18" fmla="*/ 7814107 w 120"/>
                <a:gd name="T19" fmla="*/ 35359902 h 148"/>
                <a:gd name="T20" fmla="*/ 6479959 w 120"/>
                <a:gd name="T21" fmla="*/ 34531039 h 148"/>
                <a:gd name="T22" fmla="*/ 4955468 w 120"/>
                <a:gd name="T23" fmla="*/ 33149777 h 148"/>
                <a:gd name="T24" fmla="*/ 3621321 w 120"/>
                <a:gd name="T25" fmla="*/ 31768514 h 148"/>
                <a:gd name="T26" fmla="*/ 2096393 w 120"/>
                <a:gd name="T27" fmla="*/ 29834852 h 148"/>
                <a:gd name="T28" fmla="*/ 1143368 w 120"/>
                <a:gd name="T29" fmla="*/ 27901189 h 148"/>
                <a:gd name="T30" fmla="*/ 571902 w 120"/>
                <a:gd name="T31" fmla="*/ 26796389 h 148"/>
                <a:gd name="T32" fmla="*/ 381123 w 120"/>
                <a:gd name="T33" fmla="*/ 25967527 h 148"/>
                <a:gd name="T34" fmla="*/ 190780 w 120"/>
                <a:gd name="T35" fmla="*/ 24862727 h 148"/>
                <a:gd name="T36" fmla="*/ 0 w 120"/>
                <a:gd name="T37" fmla="*/ 24033864 h 148"/>
                <a:gd name="T38" fmla="*/ 381123 w 120"/>
                <a:gd name="T39" fmla="*/ 20166013 h 148"/>
                <a:gd name="T40" fmla="*/ 1524927 w 120"/>
                <a:gd name="T41" fmla="*/ 15193889 h 148"/>
                <a:gd name="T42" fmla="*/ 2668295 w 120"/>
                <a:gd name="T43" fmla="*/ 9668838 h 148"/>
                <a:gd name="T44" fmla="*/ 3811664 w 120"/>
                <a:gd name="T45" fmla="*/ 4972650 h 148"/>
                <a:gd name="T46" fmla="*/ 6098836 w 120"/>
                <a:gd name="T47" fmla="*/ 4696188 h 148"/>
                <a:gd name="T48" fmla="*/ 8004886 w 120"/>
                <a:gd name="T49" fmla="*/ 4420251 h 148"/>
                <a:gd name="T50" fmla="*/ 9720157 w 120"/>
                <a:gd name="T51" fmla="*/ 3867325 h 148"/>
                <a:gd name="T52" fmla="*/ 11054305 w 120"/>
                <a:gd name="T53" fmla="*/ 3038988 h 148"/>
                <a:gd name="T54" fmla="*/ 13341477 w 120"/>
                <a:gd name="T55" fmla="*/ 1381263 h 148"/>
                <a:gd name="T56" fmla="*/ 15247091 w 120"/>
                <a:gd name="T57" fmla="*/ 0 h 148"/>
                <a:gd name="T58" fmla="*/ 16200116 w 120"/>
                <a:gd name="T59" fmla="*/ 552400 h 148"/>
                <a:gd name="T60" fmla="*/ 17725043 w 120"/>
                <a:gd name="T61" fmla="*/ 1933663 h 148"/>
                <a:gd name="T62" fmla="*/ 18678068 w 120"/>
                <a:gd name="T63" fmla="*/ 2762525 h 148"/>
                <a:gd name="T64" fmla="*/ 19440314 w 120"/>
                <a:gd name="T65" fmla="*/ 3591388 h 148"/>
                <a:gd name="T66" fmla="*/ 20202559 w 120"/>
                <a:gd name="T67" fmla="*/ 4420251 h 148"/>
                <a:gd name="T68" fmla="*/ 20393339 w 120"/>
                <a:gd name="T69" fmla="*/ 4972650 h 148"/>
                <a:gd name="T70" fmla="*/ 19059191 w 120"/>
                <a:gd name="T71" fmla="*/ 7735176 h 148"/>
                <a:gd name="T72" fmla="*/ 17725043 w 120"/>
                <a:gd name="T73" fmla="*/ 10221238 h 148"/>
                <a:gd name="T74" fmla="*/ 18106166 w 120"/>
                <a:gd name="T75" fmla="*/ 11602501 h 148"/>
                <a:gd name="T76" fmla="*/ 18678068 w 120"/>
                <a:gd name="T77" fmla="*/ 13536163 h 148"/>
                <a:gd name="T78" fmla="*/ 19440314 w 120"/>
                <a:gd name="T79" fmla="*/ 15469826 h 148"/>
                <a:gd name="T80" fmla="*/ 20393339 w 120"/>
                <a:gd name="T81" fmla="*/ 17403488 h 148"/>
                <a:gd name="T82" fmla="*/ 21917830 w 120"/>
                <a:gd name="T83" fmla="*/ 20718939 h 148"/>
                <a:gd name="T84" fmla="*/ 22870855 w 120"/>
                <a:gd name="T85" fmla="*/ 21823739 h 148"/>
                <a:gd name="T86" fmla="*/ 21536707 w 120"/>
                <a:gd name="T87" fmla="*/ 22376139 h 148"/>
                <a:gd name="T88" fmla="*/ 20393339 w 120"/>
                <a:gd name="T89" fmla="*/ 23205001 h 148"/>
                <a:gd name="T90" fmla="*/ 19059191 w 120"/>
                <a:gd name="T91" fmla="*/ 24033864 h 148"/>
                <a:gd name="T92" fmla="*/ 18296509 w 120"/>
                <a:gd name="T93" fmla="*/ 25138664 h 148"/>
                <a:gd name="T94" fmla="*/ 17153141 w 120"/>
                <a:gd name="T95" fmla="*/ 26243464 h 148"/>
                <a:gd name="T96" fmla="*/ 16581239 w 120"/>
                <a:gd name="T97" fmla="*/ 27348789 h 148"/>
                <a:gd name="T98" fmla="*/ 15628214 w 120"/>
                <a:gd name="T99" fmla="*/ 28730052 h 148"/>
                <a:gd name="T100" fmla="*/ 15247091 w 120"/>
                <a:gd name="T101" fmla="*/ 30111314 h 148"/>
                <a:gd name="T102" fmla="*/ 14865968 w 120"/>
                <a:gd name="T103" fmla="*/ 31492577 h 148"/>
                <a:gd name="T104" fmla="*/ 14675625 w 120"/>
                <a:gd name="T105" fmla="*/ 33149777 h 148"/>
                <a:gd name="T106" fmla="*/ 14484845 w 120"/>
                <a:gd name="T107" fmla="*/ 34531039 h 148"/>
                <a:gd name="T108" fmla="*/ 14294502 w 120"/>
                <a:gd name="T109" fmla="*/ 35912302 h 148"/>
                <a:gd name="T110" fmla="*/ 14484845 w 120"/>
                <a:gd name="T111" fmla="*/ 37293564 h 148"/>
                <a:gd name="T112" fmla="*/ 14675625 w 120"/>
                <a:gd name="T113" fmla="*/ 38674827 h 148"/>
                <a:gd name="T114" fmla="*/ 14865968 w 120"/>
                <a:gd name="T115" fmla="*/ 39780152 h 148"/>
                <a:gd name="T116" fmla="*/ 15247091 w 120"/>
                <a:gd name="T117" fmla="*/ 40884952 h 148"/>
                <a:gd name="T118" fmla="*/ 14103723 w 120"/>
                <a:gd name="T119" fmla="*/ 35636365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7" name="Freeform 457">
              <a:extLst>
                <a:ext uri="{FF2B5EF4-FFF2-40B4-BE49-F238E27FC236}">
                  <a16:creationId xmlns:a16="http://schemas.microsoft.com/office/drawing/2014/main" id="{DE74727B-CE7E-4C3E-8288-A4237F0B0D73}"/>
                </a:ext>
              </a:extLst>
            </p:cNvPr>
            <p:cNvSpPr>
              <a:spLocks/>
            </p:cNvSpPr>
            <p:nvPr>
              <p:custDataLst>
                <p:tags r:id="rId295"/>
              </p:custDataLst>
            </p:nvPr>
          </p:nvSpPr>
          <p:spPr bwMode="auto">
            <a:xfrm>
              <a:off x="4603750" y="3009900"/>
              <a:ext cx="273050" cy="307975"/>
            </a:xfrm>
            <a:custGeom>
              <a:avLst/>
              <a:gdLst>
                <a:gd name="T0" fmla="*/ 3932180 w 631"/>
                <a:gd name="T1" fmla="*/ 541037 h 592"/>
                <a:gd name="T2" fmla="*/ 5991955 w 631"/>
                <a:gd name="T3" fmla="*/ 1082595 h 592"/>
                <a:gd name="T4" fmla="*/ 10111505 w 631"/>
                <a:gd name="T5" fmla="*/ 2165189 h 592"/>
                <a:gd name="T6" fmla="*/ 14605795 w 631"/>
                <a:gd name="T7" fmla="*/ 2977265 h 592"/>
                <a:gd name="T8" fmla="*/ 19473961 w 631"/>
                <a:gd name="T9" fmla="*/ 5141934 h 592"/>
                <a:gd name="T10" fmla="*/ 24342559 w 631"/>
                <a:gd name="T11" fmla="*/ 8660236 h 592"/>
                <a:gd name="T12" fmla="*/ 27338753 w 631"/>
                <a:gd name="T13" fmla="*/ 10825425 h 592"/>
                <a:gd name="T14" fmla="*/ 29772835 w 631"/>
                <a:gd name="T15" fmla="*/ 11637501 h 592"/>
                <a:gd name="T16" fmla="*/ 35390482 w 631"/>
                <a:gd name="T17" fmla="*/ 11637501 h 592"/>
                <a:gd name="T18" fmla="*/ 42506226 w 631"/>
                <a:gd name="T19" fmla="*/ 10013349 h 592"/>
                <a:gd name="T20" fmla="*/ 51868682 w 631"/>
                <a:gd name="T21" fmla="*/ 6224529 h 592"/>
                <a:gd name="T22" fmla="*/ 74713577 w 631"/>
                <a:gd name="T23" fmla="*/ 10284388 h 592"/>
                <a:gd name="T24" fmla="*/ 75462625 w 631"/>
                <a:gd name="T25" fmla="*/ 18674106 h 592"/>
                <a:gd name="T26" fmla="*/ 76773352 w 631"/>
                <a:gd name="T27" fmla="*/ 25710710 h 592"/>
                <a:gd name="T28" fmla="*/ 78084078 w 631"/>
                <a:gd name="T29" fmla="*/ 32205757 h 592"/>
                <a:gd name="T30" fmla="*/ 79956483 w 631"/>
                <a:gd name="T31" fmla="*/ 37889249 h 592"/>
                <a:gd name="T32" fmla="*/ 84263403 w 631"/>
                <a:gd name="T33" fmla="*/ 47361561 h 592"/>
                <a:gd name="T34" fmla="*/ 88382953 w 631"/>
                <a:gd name="T35" fmla="*/ 55210241 h 592"/>
                <a:gd name="T36" fmla="*/ 90255358 w 631"/>
                <a:gd name="T37" fmla="*/ 60081657 h 592"/>
                <a:gd name="T38" fmla="*/ 90817036 w 631"/>
                <a:gd name="T39" fmla="*/ 64953072 h 592"/>
                <a:gd name="T40" fmla="*/ 91940392 w 631"/>
                <a:gd name="T41" fmla="*/ 69012411 h 592"/>
                <a:gd name="T42" fmla="*/ 92876811 w 631"/>
                <a:gd name="T43" fmla="*/ 70636563 h 592"/>
                <a:gd name="T44" fmla="*/ 94562278 w 631"/>
                <a:gd name="T45" fmla="*/ 71989676 h 592"/>
                <a:gd name="T46" fmla="*/ 96059942 w 631"/>
                <a:gd name="T47" fmla="*/ 73072271 h 592"/>
                <a:gd name="T48" fmla="*/ 97183731 w 631"/>
                <a:gd name="T49" fmla="*/ 75236940 h 592"/>
                <a:gd name="T50" fmla="*/ 99805184 w 631"/>
                <a:gd name="T51" fmla="*/ 82003026 h 592"/>
                <a:gd name="T52" fmla="*/ 101303281 w 631"/>
                <a:gd name="T53" fmla="*/ 89580667 h 592"/>
                <a:gd name="T54" fmla="*/ 102052329 w 631"/>
                <a:gd name="T55" fmla="*/ 96888311 h 592"/>
                <a:gd name="T56" fmla="*/ 102614007 w 631"/>
                <a:gd name="T57" fmla="*/ 99594537 h 592"/>
                <a:gd name="T58" fmla="*/ 104299042 w 631"/>
                <a:gd name="T59" fmla="*/ 103112839 h 592"/>
                <a:gd name="T60" fmla="*/ 109167640 w 631"/>
                <a:gd name="T61" fmla="*/ 112314633 h 592"/>
                <a:gd name="T62" fmla="*/ 114597917 w 631"/>
                <a:gd name="T63" fmla="*/ 120974869 h 592"/>
                <a:gd name="T64" fmla="*/ 118155788 w 631"/>
                <a:gd name="T65" fmla="*/ 125305247 h 592"/>
                <a:gd name="T66" fmla="*/ 114597917 w 631"/>
                <a:gd name="T67" fmla="*/ 130176663 h 592"/>
                <a:gd name="T68" fmla="*/ 116845062 w 631"/>
                <a:gd name="T69" fmla="*/ 134236002 h 592"/>
                <a:gd name="T70" fmla="*/ 117219370 w 631"/>
                <a:gd name="T71" fmla="*/ 137213267 h 592"/>
                <a:gd name="T72" fmla="*/ 117219370 w 631"/>
                <a:gd name="T73" fmla="*/ 139648975 h 592"/>
                <a:gd name="T74" fmla="*/ 118155788 w 631"/>
                <a:gd name="T75" fmla="*/ 143708314 h 592"/>
                <a:gd name="T76" fmla="*/ 117219370 w 631"/>
                <a:gd name="T77" fmla="*/ 145873503 h 592"/>
                <a:gd name="T78" fmla="*/ 115534335 w 631"/>
                <a:gd name="T79" fmla="*/ 148309211 h 592"/>
                <a:gd name="T80" fmla="*/ 110853107 w 631"/>
                <a:gd name="T81" fmla="*/ 153992702 h 592"/>
                <a:gd name="T82" fmla="*/ 104486412 w 631"/>
                <a:gd name="T83" fmla="*/ 160217231 h 592"/>
                <a:gd name="T84" fmla="*/ 8613408 w 631"/>
                <a:gd name="T85" fmla="*/ 47091042 h 592"/>
                <a:gd name="T86" fmla="*/ 4681228 w 631"/>
                <a:gd name="T87" fmla="*/ 42490145 h 592"/>
                <a:gd name="T88" fmla="*/ 2059775 w 631"/>
                <a:gd name="T89" fmla="*/ 37347691 h 592"/>
                <a:gd name="T90" fmla="*/ 374308 w 631"/>
                <a:gd name="T91" fmla="*/ 31664720 h 592"/>
                <a:gd name="T92" fmla="*/ 0 w 631"/>
                <a:gd name="T93" fmla="*/ 25169153 h 592"/>
                <a:gd name="T94" fmla="*/ 561678 w 631"/>
                <a:gd name="T95" fmla="*/ 24086558 h 592"/>
                <a:gd name="T96" fmla="*/ 1872405 w 631"/>
                <a:gd name="T97" fmla="*/ 22462927 h 592"/>
                <a:gd name="T98" fmla="*/ 3183131 w 631"/>
                <a:gd name="T99" fmla="*/ 20839295 h 592"/>
                <a:gd name="T100" fmla="*/ 3745242 w 631"/>
                <a:gd name="T101" fmla="*/ 18674106 h 592"/>
                <a:gd name="T102" fmla="*/ 3370502 w 631"/>
                <a:gd name="T103" fmla="*/ 14343728 h 592"/>
                <a:gd name="T104" fmla="*/ 2434083 w 631"/>
                <a:gd name="T105" fmla="*/ 11366983 h 592"/>
                <a:gd name="T106" fmla="*/ 1685467 w 631"/>
                <a:gd name="T107" fmla="*/ 9201794 h 592"/>
                <a:gd name="T108" fmla="*/ 1310727 w 631"/>
                <a:gd name="T109" fmla="*/ 7036604 h 592"/>
                <a:gd name="T110" fmla="*/ 2434083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8" name="Freeform 458">
              <a:extLst>
                <a:ext uri="{FF2B5EF4-FFF2-40B4-BE49-F238E27FC236}">
                  <a16:creationId xmlns:a16="http://schemas.microsoft.com/office/drawing/2014/main" id="{15592E98-EFF3-415F-B58B-2BD36D68A74C}"/>
                </a:ext>
              </a:extLst>
            </p:cNvPr>
            <p:cNvSpPr>
              <a:spLocks/>
            </p:cNvSpPr>
            <p:nvPr>
              <p:custDataLst>
                <p:tags r:id="rId296"/>
              </p:custDataLst>
            </p:nvPr>
          </p:nvSpPr>
          <p:spPr bwMode="auto">
            <a:xfrm>
              <a:off x="4198938" y="2644775"/>
              <a:ext cx="17462" cy="57150"/>
            </a:xfrm>
            <a:custGeom>
              <a:avLst/>
              <a:gdLst>
                <a:gd name="T0" fmla="*/ 1334097 w 40"/>
                <a:gd name="T1" fmla="*/ 11706532 h 93"/>
                <a:gd name="T2" fmla="*/ 1905977 w 40"/>
                <a:gd name="T3" fmla="*/ 11328605 h 93"/>
                <a:gd name="T4" fmla="*/ 2668194 w 40"/>
                <a:gd name="T5" fmla="*/ 9818124 h 93"/>
                <a:gd name="T6" fmla="*/ 3811518 w 40"/>
                <a:gd name="T7" fmla="*/ 7552403 h 93"/>
                <a:gd name="T8" fmla="*/ 4764507 w 40"/>
                <a:gd name="T9" fmla="*/ 5664610 h 93"/>
                <a:gd name="T10" fmla="*/ 6670047 w 40"/>
                <a:gd name="T11" fmla="*/ 1510481 h 93"/>
                <a:gd name="T12" fmla="*/ 7623036 w 40"/>
                <a:gd name="T13" fmla="*/ 0 h 93"/>
                <a:gd name="T14" fmla="*/ 7051156 w 40"/>
                <a:gd name="T15" fmla="*/ 9818124 h 93"/>
                <a:gd name="T16" fmla="*/ 6670047 w 40"/>
                <a:gd name="T17" fmla="*/ 20014176 h 93"/>
                <a:gd name="T18" fmla="*/ 6479712 w 40"/>
                <a:gd name="T19" fmla="*/ 24546232 h 93"/>
                <a:gd name="T20" fmla="*/ 6479712 w 40"/>
                <a:gd name="T21" fmla="*/ 29077674 h 93"/>
                <a:gd name="T22" fmla="*/ 6670047 w 40"/>
                <a:gd name="T23" fmla="*/ 30965468 h 93"/>
                <a:gd name="T24" fmla="*/ 6860820 w 40"/>
                <a:gd name="T25" fmla="*/ 32475948 h 93"/>
                <a:gd name="T26" fmla="*/ 7051156 w 40"/>
                <a:gd name="T27" fmla="*/ 33986429 h 93"/>
                <a:gd name="T28" fmla="*/ 7623036 w 40"/>
                <a:gd name="T29" fmla="*/ 35119597 h 93"/>
                <a:gd name="T30" fmla="*/ 4954843 w 40"/>
                <a:gd name="T31" fmla="*/ 35119597 h 93"/>
                <a:gd name="T32" fmla="*/ 2477421 w 40"/>
                <a:gd name="T33" fmla="*/ 35119597 h 93"/>
                <a:gd name="T34" fmla="*/ 2096313 w 40"/>
                <a:gd name="T35" fmla="*/ 34741669 h 93"/>
                <a:gd name="T36" fmla="*/ 1524433 w 40"/>
                <a:gd name="T37" fmla="*/ 34364356 h 93"/>
                <a:gd name="T38" fmla="*/ 1143324 w 40"/>
                <a:gd name="T39" fmla="*/ 33231189 h 93"/>
                <a:gd name="T40" fmla="*/ 762216 w 40"/>
                <a:gd name="T41" fmla="*/ 32475948 h 93"/>
                <a:gd name="T42" fmla="*/ 190772 w 40"/>
                <a:gd name="T43" fmla="*/ 30210227 h 93"/>
                <a:gd name="T44" fmla="*/ 0 w 40"/>
                <a:gd name="T45" fmla="*/ 27567194 h 93"/>
                <a:gd name="T46" fmla="*/ 190772 w 40"/>
                <a:gd name="T47" fmla="*/ 24168305 h 93"/>
                <a:gd name="T48" fmla="*/ 571881 w 40"/>
                <a:gd name="T49" fmla="*/ 18881623 h 93"/>
                <a:gd name="T50" fmla="*/ 1143324 w 40"/>
                <a:gd name="T51" fmla="*/ 13972253 h 93"/>
                <a:gd name="T52" fmla="*/ 1334097 w 40"/>
                <a:gd name="T53" fmla="*/ 11706532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9" name="Freeform 459">
              <a:extLst>
                <a:ext uri="{FF2B5EF4-FFF2-40B4-BE49-F238E27FC236}">
                  <a16:creationId xmlns:a16="http://schemas.microsoft.com/office/drawing/2014/main" id="{B8DA8989-CBD3-401B-AA01-56511C07BEDE}"/>
                </a:ext>
              </a:extLst>
            </p:cNvPr>
            <p:cNvSpPr>
              <a:spLocks/>
            </p:cNvSpPr>
            <p:nvPr>
              <p:custDataLst>
                <p:tags r:id="rId297"/>
              </p:custDataLst>
            </p:nvPr>
          </p:nvSpPr>
          <p:spPr bwMode="auto">
            <a:xfrm>
              <a:off x="3838575" y="2395538"/>
              <a:ext cx="295275" cy="273050"/>
            </a:xfrm>
            <a:custGeom>
              <a:avLst/>
              <a:gdLst>
                <a:gd name="T0" fmla="*/ 29464799 w 664"/>
                <a:gd name="T1" fmla="*/ 123647372 h 518"/>
                <a:gd name="T2" fmla="*/ 29860129 w 664"/>
                <a:gd name="T3" fmla="*/ 119757200 h 518"/>
                <a:gd name="T4" fmla="*/ 28871580 w 664"/>
                <a:gd name="T5" fmla="*/ 111143474 h 518"/>
                <a:gd name="T6" fmla="*/ 29860129 w 664"/>
                <a:gd name="T7" fmla="*/ 98084515 h 518"/>
                <a:gd name="T8" fmla="*/ 28871580 w 664"/>
                <a:gd name="T9" fmla="*/ 82802149 h 518"/>
                <a:gd name="T10" fmla="*/ 26498708 w 664"/>
                <a:gd name="T11" fmla="*/ 69742663 h 518"/>
                <a:gd name="T12" fmla="*/ 21554630 w 664"/>
                <a:gd name="T13" fmla="*/ 66964195 h 518"/>
                <a:gd name="T14" fmla="*/ 3955084 w 664"/>
                <a:gd name="T15" fmla="*/ 53349120 h 518"/>
                <a:gd name="T16" fmla="*/ 4746190 w 664"/>
                <a:gd name="T17" fmla="*/ 47513863 h 518"/>
                <a:gd name="T18" fmla="*/ 7119062 w 664"/>
                <a:gd name="T19" fmla="*/ 44179806 h 518"/>
                <a:gd name="T20" fmla="*/ 9491935 w 664"/>
                <a:gd name="T21" fmla="*/ 41123017 h 518"/>
                <a:gd name="T22" fmla="*/ 19774976 w 664"/>
                <a:gd name="T23" fmla="*/ 43068103 h 518"/>
                <a:gd name="T24" fmla="*/ 24718609 w 664"/>
                <a:gd name="T25" fmla="*/ 42234720 h 518"/>
                <a:gd name="T26" fmla="*/ 29069468 w 664"/>
                <a:gd name="T27" fmla="*/ 43623691 h 518"/>
                <a:gd name="T28" fmla="*/ 32628777 w 664"/>
                <a:gd name="T29" fmla="*/ 26118972 h 518"/>
                <a:gd name="T30" fmla="*/ 36583861 w 664"/>
                <a:gd name="T31" fmla="*/ 30286411 h 518"/>
                <a:gd name="T32" fmla="*/ 40934276 w 664"/>
                <a:gd name="T33" fmla="*/ 30564732 h 518"/>
                <a:gd name="T34" fmla="*/ 46669014 w 664"/>
                <a:gd name="T35" fmla="*/ 27507943 h 518"/>
                <a:gd name="T36" fmla="*/ 52205865 w 664"/>
                <a:gd name="T37" fmla="*/ 22228800 h 518"/>
                <a:gd name="T38" fmla="*/ 57149943 w 664"/>
                <a:gd name="T39" fmla="*/ 15837954 h 518"/>
                <a:gd name="T40" fmla="*/ 60907139 w 664"/>
                <a:gd name="T41" fmla="*/ 8891520 h 518"/>
                <a:gd name="T42" fmla="*/ 62884681 w 664"/>
                <a:gd name="T43" fmla="*/ 3334056 h 518"/>
                <a:gd name="T44" fmla="*/ 73167722 w 664"/>
                <a:gd name="T45" fmla="*/ 1111176 h 518"/>
                <a:gd name="T46" fmla="*/ 79891009 w 664"/>
                <a:gd name="T47" fmla="*/ 8891520 h 518"/>
                <a:gd name="T48" fmla="*/ 90371938 w 664"/>
                <a:gd name="T49" fmla="*/ 16949658 h 518"/>
                <a:gd name="T50" fmla="*/ 101050309 w 664"/>
                <a:gd name="T51" fmla="*/ 25007268 h 518"/>
                <a:gd name="T52" fmla="*/ 109158365 w 664"/>
                <a:gd name="T53" fmla="*/ 29730823 h 518"/>
                <a:gd name="T54" fmla="*/ 114299885 w 664"/>
                <a:gd name="T55" fmla="*/ 32231497 h 518"/>
                <a:gd name="T56" fmla="*/ 123198602 w 664"/>
                <a:gd name="T57" fmla="*/ 33620994 h 518"/>
                <a:gd name="T58" fmla="*/ 130119777 w 664"/>
                <a:gd name="T59" fmla="*/ 37788960 h 518"/>
                <a:gd name="T60" fmla="*/ 127549017 w 664"/>
                <a:gd name="T61" fmla="*/ 46124892 h 518"/>
                <a:gd name="T62" fmla="*/ 122605384 w 664"/>
                <a:gd name="T63" fmla="*/ 65574697 h 518"/>
                <a:gd name="T64" fmla="*/ 118254525 w 664"/>
                <a:gd name="T65" fmla="*/ 75577921 h 518"/>
                <a:gd name="T66" fmla="*/ 115683764 w 664"/>
                <a:gd name="T67" fmla="*/ 79467565 h 518"/>
                <a:gd name="T68" fmla="*/ 118452412 w 664"/>
                <a:gd name="T69" fmla="*/ 82802149 h 518"/>
                <a:gd name="T70" fmla="*/ 122209609 w 664"/>
                <a:gd name="T71" fmla="*/ 85302823 h 518"/>
                <a:gd name="T72" fmla="*/ 123198602 w 664"/>
                <a:gd name="T73" fmla="*/ 92804845 h 518"/>
                <a:gd name="T74" fmla="*/ 122605384 w 664"/>
                <a:gd name="T75" fmla="*/ 96417223 h 518"/>
                <a:gd name="T76" fmla="*/ 122209609 w 664"/>
                <a:gd name="T77" fmla="*/ 103363657 h 518"/>
                <a:gd name="T78" fmla="*/ 123000715 w 664"/>
                <a:gd name="T79" fmla="*/ 110865680 h 518"/>
                <a:gd name="T80" fmla="*/ 124978257 w 664"/>
                <a:gd name="T81" fmla="*/ 117534320 h 518"/>
                <a:gd name="T82" fmla="*/ 120232067 w 664"/>
                <a:gd name="T83" fmla="*/ 126981428 h 518"/>
                <a:gd name="T84" fmla="*/ 112519786 w 664"/>
                <a:gd name="T85" fmla="*/ 134483978 h 518"/>
                <a:gd name="T86" fmla="*/ 107180823 w 664"/>
                <a:gd name="T87" fmla="*/ 135872948 h 518"/>
                <a:gd name="T88" fmla="*/ 100654978 w 664"/>
                <a:gd name="T89" fmla="*/ 133650068 h 518"/>
                <a:gd name="T90" fmla="*/ 94327022 w 664"/>
                <a:gd name="T91" fmla="*/ 127815338 h 518"/>
                <a:gd name="T92" fmla="*/ 91558374 w 664"/>
                <a:gd name="T93" fmla="*/ 126703634 h 518"/>
                <a:gd name="T94" fmla="*/ 87603290 w 664"/>
                <a:gd name="T95" fmla="*/ 126981428 h 518"/>
                <a:gd name="T96" fmla="*/ 83648206 w 664"/>
                <a:gd name="T97" fmla="*/ 129204308 h 518"/>
                <a:gd name="T98" fmla="*/ 80286784 w 664"/>
                <a:gd name="T99" fmla="*/ 132538892 h 518"/>
                <a:gd name="T100" fmla="*/ 76727031 w 664"/>
                <a:gd name="T101" fmla="*/ 139763120 h 518"/>
                <a:gd name="T102" fmla="*/ 76133813 w 664"/>
                <a:gd name="T103" fmla="*/ 143653292 h 518"/>
                <a:gd name="T104" fmla="*/ 65850772 w 664"/>
                <a:gd name="T105" fmla="*/ 143097704 h 518"/>
                <a:gd name="T106" fmla="*/ 62686794 w 664"/>
                <a:gd name="T107" fmla="*/ 140874824 h 518"/>
                <a:gd name="T108" fmla="*/ 60709252 w 664"/>
                <a:gd name="T109" fmla="*/ 138929738 h 518"/>
                <a:gd name="T110" fmla="*/ 58534267 w 664"/>
                <a:gd name="T111" fmla="*/ 141152618 h 518"/>
                <a:gd name="T112" fmla="*/ 56754167 w 664"/>
                <a:gd name="T113" fmla="*/ 143375498 h 518"/>
                <a:gd name="T114" fmla="*/ 52996971 w 664"/>
                <a:gd name="T115" fmla="*/ 143375498 h 518"/>
                <a:gd name="T116" fmla="*/ 44889360 w 664"/>
                <a:gd name="T117" fmla="*/ 140597029 h 518"/>
                <a:gd name="T118" fmla="*/ 36583861 w 664"/>
                <a:gd name="T119" fmla="*/ 135317360 h 518"/>
                <a:gd name="T120" fmla="*/ 31640228 w 664"/>
                <a:gd name="T121" fmla="*/ 130316012 h 518"/>
                <a:gd name="T122" fmla="*/ 28871580 w 664"/>
                <a:gd name="T123" fmla="*/ 125036869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0" name="Freeform 460">
              <a:extLst>
                <a:ext uri="{FF2B5EF4-FFF2-40B4-BE49-F238E27FC236}">
                  <a16:creationId xmlns:a16="http://schemas.microsoft.com/office/drawing/2014/main" id="{A2E515C1-DFB0-4EAF-89B2-9ED8BE67EB48}"/>
                </a:ext>
              </a:extLst>
            </p:cNvPr>
            <p:cNvSpPr>
              <a:spLocks/>
            </p:cNvSpPr>
            <p:nvPr>
              <p:custDataLst>
                <p:tags r:id="rId298"/>
              </p:custDataLst>
            </p:nvPr>
          </p:nvSpPr>
          <p:spPr bwMode="auto">
            <a:xfrm>
              <a:off x="4919663" y="2630488"/>
              <a:ext cx="150812" cy="82550"/>
            </a:xfrm>
            <a:custGeom>
              <a:avLst/>
              <a:gdLst>
                <a:gd name="T0" fmla="*/ 60943044 w 352"/>
                <a:gd name="T1" fmla="*/ 26490457 h 153"/>
                <a:gd name="T2" fmla="*/ 64614373 w 352"/>
                <a:gd name="T3" fmla="*/ 44539232 h 153"/>
                <a:gd name="T4" fmla="*/ 59841516 w 352"/>
                <a:gd name="T5" fmla="*/ 41045694 h 153"/>
                <a:gd name="T6" fmla="*/ 54885714 w 352"/>
                <a:gd name="T7" fmla="*/ 37552696 h 153"/>
                <a:gd name="T8" fmla="*/ 48827956 w 352"/>
                <a:gd name="T9" fmla="*/ 41045694 h 153"/>
                <a:gd name="T10" fmla="*/ 42586824 w 352"/>
                <a:gd name="T11" fmla="*/ 41045694 h 153"/>
                <a:gd name="T12" fmla="*/ 41669099 w 352"/>
                <a:gd name="T13" fmla="*/ 39299195 h 153"/>
                <a:gd name="T14" fmla="*/ 41485296 w 352"/>
                <a:gd name="T15" fmla="*/ 39299195 h 153"/>
                <a:gd name="T16" fmla="*/ 40200395 w 352"/>
                <a:gd name="T17" fmla="*/ 37552696 h 153"/>
                <a:gd name="T18" fmla="*/ 39098868 w 352"/>
                <a:gd name="T19" fmla="*/ 36388364 h 153"/>
                <a:gd name="T20" fmla="*/ 37630593 w 352"/>
                <a:gd name="T21" fmla="*/ 35224031 h 153"/>
                <a:gd name="T22" fmla="*/ 36161890 w 352"/>
                <a:gd name="T23" fmla="*/ 34350512 h 153"/>
                <a:gd name="T24" fmla="*/ 33224912 w 352"/>
                <a:gd name="T25" fmla="*/ 32894826 h 153"/>
                <a:gd name="T26" fmla="*/ 29920758 w 352"/>
                <a:gd name="T27" fmla="*/ 32021846 h 153"/>
                <a:gd name="T28" fmla="*/ 23129077 w 352"/>
                <a:gd name="T29" fmla="*/ 31148327 h 153"/>
                <a:gd name="T30" fmla="*/ 15786417 w 352"/>
                <a:gd name="T31" fmla="*/ 30274808 h 153"/>
                <a:gd name="T32" fmla="*/ 15603044 w 352"/>
                <a:gd name="T33" fmla="*/ 27363976 h 153"/>
                <a:gd name="T34" fmla="*/ 15052066 w 352"/>
                <a:gd name="T35" fmla="*/ 24453144 h 153"/>
                <a:gd name="T36" fmla="*/ 14684890 w 352"/>
                <a:gd name="T37" fmla="*/ 21833126 h 153"/>
                <a:gd name="T38" fmla="*/ 13767165 w 352"/>
                <a:gd name="T39" fmla="*/ 19503921 h 153"/>
                <a:gd name="T40" fmla="*/ 13032813 w 352"/>
                <a:gd name="T41" fmla="*/ 17175256 h 153"/>
                <a:gd name="T42" fmla="*/ 12298890 w 352"/>
                <a:gd name="T43" fmla="*/ 15137404 h 153"/>
                <a:gd name="T44" fmla="*/ 11197363 w 352"/>
                <a:gd name="T45" fmla="*/ 12808739 h 153"/>
                <a:gd name="T46" fmla="*/ 10279637 w 352"/>
                <a:gd name="T47" fmla="*/ 10770887 h 153"/>
                <a:gd name="T48" fmla="*/ 8077011 w 352"/>
                <a:gd name="T49" fmla="*/ 7568702 h 153"/>
                <a:gd name="T50" fmla="*/ 5323407 w 352"/>
                <a:gd name="T51" fmla="*/ 4657870 h 153"/>
                <a:gd name="T52" fmla="*/ 2753604 w 352"/>
                <a:gd name="T53" fmla="*/ 2037852 h 153"/>
                <a:gd name="T54" fmla="*/ 0 w 352"/>
                <a:gd name="T55" fmla="*/ 0 h 153"/>
                <a:gd name="T56" fmla="*/ 1284901 w 352"/>
                <a:gd name="T57" fmla="*/ 0 h 153"/>
                <a:gd name="T58" fmla="*/ 11013989 w 352"/>
                <a:gd name="T59" fmla="*/ 5240037 h 153"/>
                <a:gd name="T60" fmla="*/ 19457747 w 352"/>
                <a:gd name="T61" fmla="*/ 8733035 h 153"/>
                <a:gd name="T62" fmla="*/ 24597352 w 352"/>
                <a:gd name="T63" fmla="*/ 5240037 h 153"/>
                <a:gd name="T64" fmla="*/ 33041538 w 352"/>
                <a:gd name="T65" fmla="*/ 10480073 h 153"/>
                <a:gd name="T66" fmla="*/ 37813967 w 352"/>
                <a:gd name="T67" fmla="*/ 16010923 h 153"/>
                <a:gd name="T68" fmla="*/ 45156626 w 352"/>
                <a:gd name="T69" fmla="*/ 14264424 h 153"/>
                <a:gd name="T70" fmla="*/ 52499285 w 352"/>
                <a:gd name="T71" fmla="*/ 17757422 h 153"/>
                <a:gd name="T72" fmla="*/ 57455516 w 352"/>
                <a:gd name="T73" fmla="*/ 22997459 h 153"/>
                <a:gd name="T74" fmla="*/ 60943044 w 352"/>
                <a:gd name="T75" fmla="*/ 2649045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US"/>
            </a:p>
          </p:txBody>
        </p:sp>
        <p:sp>
          <p:nvSpPr>
            <p:cNvPr id="311" name="Freeform 461">
              <a:extLst>
                <a:ext uri="{FF2B5EF4-FFF2-40B4-BE49-F238E27FC236}">
                  <a16:creationId xmlns:a16="http://schemas.microsoft.com/office/drawing/2014/main" id="{D156C4CC-A4C8-4097-9B87-775E9D724889}"/>
                </a:ext>
              </a:extLst>
            </p:cNvPr>
            <p:cNvSpPr>
              <a:spLocks/>
            </p:cNvSpPr>
            <p:nvPr>
              <p:custDataLst>
                <p:tags r:id="rId299"/>
              </p:custDataLst>
            </p:nvPr>
          </p:nvSpPr>
          <p:spPr bwMode="auto">
            <a:xfrm>
              <a:off x="4468813" y="2690813"/>
              <a:ext cx="147637" cy="173037"/>
            </a:xfrm>
            <a:custGeom>
              <a:avLst/>
              <a:gdLst>
                <a:gd name="T0" fmla="*/ 45757657 w 331"/>
                <a:gd name="T1" fmla="*/ 11200903 h 327"/>
                <a:gd name="T2" fmla="*/ 38396325 w 331"/>
                <a:gd name="T3" fmla="*/ 15680841 h 327"/>
                <a:gd name="T4" fmla="*/ 36208086 w 331"/>
                <a:gd name="T5" fmla="*/ 18761129 h 327"/>
                <a:gd name="T6" fmla="*/ 36009155 w 331"/>
                <a:gd name="T7" fmla="*/ 22681736 h 327"/>
                <a:gd name="T8" fmla="*/ 36605947 w 331"/>
                <a:gd name="T9" fmla="*/ 26321884 h 327"/>
                <a:gd name="T10" fmla="*/ 35213432 w 331"/>
                <a:gd name="T11" fmla="*/ 28561853 h 327"/>
                <a:gd name="T12" fmla="*/ 33423054 w 331"/>
                <a:gd name="T13" fmla="*/ 29402172 h 327"/>
                <a:gd name="T14" fmla="*/ 31831162 w 331"/>
                <a:gd name="T15" fmla="*/ 27441604 h 327"/>
                <a:gd name="T16" fmla="*/ 29642923 w 331"/>
                <a:gd name="T17" fmla="*/ 23801456 h 327"/>
                <a:gd name="T18" fmla="*/ 25067068 w 331"/>
                <a:gd name="T19" fmla="*/ 20721168 h 327"/>
                <a:gd name="T20" fmla="*/ 25265998 w 331"/>
                <a:gd name="T21" fmla="*/ 26881744 h 327"/>
                <a:gd name="T22" fmla="*/ 27653614 w 331"/>
                <a:gd name="T23" fmla="*/ 32482461 h 327"/>
                <a:gd name="T24" fmla="*/ 30637577 w 331"/>
                <a:gd name="T25" fmla="*/ 36122609 h 327"/>
                <a:gd name="T26" fmla="*/ 31632231 w 331"/>
                <a:gd name="T27" fmla="*/ 36402539 h 327"/>
                <a:gd name="T28" fmla="*/ 31632231 w 331"/>
                <a:gd name="T29" fmla="*/ 49563481 h 327"/>
                <a:gd name="T30" fmla="*/ 31632231 w 331"/>
                <a:gd name="T31" fmla="*/ 66364571 h 327"/>
                <a:gd name="T32" fmla="*/ 31035438 w 331"/>
                <a:gd name="T33" fmla="*/ 70284649 h 327"/>
                <a:gd name="T34" fmla="*/ 29245061 w 331"/>
                <a:gd name="T35" fmla="*/ 72525147 h 327"/>
                <a:gd name="T36" fmla="*/ 28847199 w 331"/>
                <a:gd name="T37" fmla="*/ 73924797 h 327"/>
                <a:gd name="T38" fmla="*/ 32229023 w 331"/>
                <a:gd name="T39" fmla="*/ 77285015 h 327"/>
                <a:gd name="T40" fmla="*/ 33224123 w 331"/>
                <a:gd name="T41" fmla="*/ 80085373 h 327"/>
                <a:gd name="T42" fmla="*/ 30836508 w 331"/>
                <a:gd name="T43" fmla="*/ 82605801 h 327"/>
                <a:gd name="T44" fmla="*/ 27852545 w 331"/>
                <a:gd name="T45" fmla="*/ 83165661 h 327"/>
                <a:gd name="T46" fmla="*/ 25862791 w 331"/>
                <a:gd name="T47" fmla="*/ 85966019 h 327"/>
                <a:gd name="T48" fmla="*/ 25067068 w 331"/>
                <a:gd name="T49" fmla="*/ 89886097 h 327"/>
                <a:gd name="T50" fmla="*/ 24072414 w 331"/>
                <a:gd name="T51" fmla="*/ 84005451 h 327"/>
                <a:gd name="T52" fmla="*/ 24669206 w 331"/>
                <a:gd name="T53" fmla="*/ 80645233 h 327"/>
                <a:gd name="T54" fmla="*/ 21685244 w 331"/>
                <a:gd name="T55" fmla="*/ 80085373 h 327"/>
                <a:gd name="T56" fmla="*/ 18501905 w 331"/>
                <a:gd name="T57" fmla="*/ 81765482 h 327"/>
                <a:gd name="T58" fmla="*/ 15716873 w 331"/>
                <a:gd name="T59" fmla="*/ 82885731 h 327"/>
                <a:gd name="T60" fmla="*/ 14522842 w 331"/>
                <a:gd name="T61" fmla="*/ 67764750 h 327"/>
                <a:gd name="T62" fmla="*/ 15716873 w 331"/>
                <a:gd name="T63" fmla="*/ 60483925 h 327"/>
                <a:gd name="T64" fmla="*/ 9549572 w 331"/>
                <a:gd name="T65" fmla="*/ 59083746 h 327"/>
                <a:gd name="T66" fmla="*/ 5570509 w 331"/>
                <a:gd name="T67" fmla="*/ 55443598 h 327"/>
                <a:gd name="T68" fmla="*/ 2586101 w 331"/>
                <a:gd name="T69" fmla="*/ 48443232 h 327"/>
                <a:gd name="T70" fmla="*/ 0 w 331"/>
                <a:gd name="T71" fmla="*/ 36402539 h 327"/>
                <a:gd name="T72" fmla="*/ 5570509 w 331"/>
                <a:gd name="T73" fmla="*/ 31082281 h 327"/>
                <a:gd name="T74" fmla="*/ 9947433 w 331"/>
                <a:gd name="T75" fmla="*/ 22681736 h 327"/>
                <a:gd name="T76" fmla="*/ 14522842 w 331"/>
                <a:gd name="T77" fmla="*/ 15400911 h 327"/>
                <a:gd name="T78" fmla="*/ 22878829 w 331"/>
                <a:gd name="T79" fmla="*/ 11480833 h 327"/>
                <a:gd name="T80" fmla="*/ 35810224 w 331"/>
                <a:gd name="T81" fmla="*/ 3920078 h 327"/>
                <a:gd name="T82" fmla="*/ 43370041 w 331"/>
                <a:gd name="T83" fmla="*/ 1960039 h 327"/>
                <a:gd name="T84" fmla="*/ 49537343 w 331"/>
                <a:gd name="T85" fmla="*/ 3920078 h 327"/>
                <a:gd name="T86" fmla="*/ 53914267 w 331"/>
                <a:gd name="T87" fmla="*/ 7560755 h 327"/>
                <a:gd name="T88" fmla="*/ 58092260 w 331"/>
                <a:gd name="T89" fmla="*/ 8400545 h 327"/>
                <a:gd name="T90" fmla="*/ 61076223 w 331"/>
                <a:gd name="T91" fmla="*/ 5600187 h 327"/>
                <a:gd name="T92" fmla="*/ 65055285 w 331"/>
                <a:gd name="T93" fmla="*/ 1680109 h 327"/>
                <a:gd name="T94" fmla="*/ 65652078 w 331"/>
                <a:gd name="T95" fmla="*/ 8960405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endParaRPr lang="en-US"/>
            </a:p>
          </p:txBody>
        </p:sp>
        <p:sp>
          <p:nvSpPr>
            <p:cNvPr id="312" name="Freeform 462">
              <a:extLst>
                <a:ext uri="{FF2B5EF4-FFF2-40B4-BE49-F238E27FC236}">
                  <a16:creationId xmlns:a16="http://schemas.microsoft.com/office/drawing/2014/main" id="{CEC2EFE6-67AD-46BA-9062-3CE14EE5FBB8}"/>
                </a:ext>
              </a:extLst>
            </p:cNvPr>
            <p:cNvSpPr>
              <a:spLocks/>
            </p:cNvSpPr>
            <p:nvPr>
              <p:custDataLst>
                <p:tags r:id="rId300"/>
              </p:custDataLst>
            </p:nvPr>
          </p:nvSpPr>
          <p:spPr bwMode="auto">
            <a:xfrm>
              <a:off x="4552950" y="2882900"/>
              <a:ext cx="69850" cy="57150"/>
            </a:xfrm>
            <a:custGeom>
              <a:avLst/>
              <a:gdLst>
                <a:gd name="T0" fmla="*/ 0 w 153"/>
                <a:gd name="T1" fmla="*/ 0 h 49"/>
                <a:gd name="T2" fmla="*/ 9170894 w 153"/>
                <a:gd name="T3" fmla="*/ 2721040 h 49"/>
                <a:gd name="T4" fmla="*/ 17299060 w 153"/>
                <a:gd name="T5" fmla="*/ 8161953 h 49"/>
                <a:gd name="T6" fmla="*/ 21467690 w 153"/>
                <a:gd name="T7" fmla="*/ 10882993 h 49"/>
                <a:gd name="T8" fmla="*/ 25219502 w 153"/>
                <a:gd name="T9" fmla="*/ 9521890 h 49"/>
                <a:gd name="T10" fmla="*/ 27095408 w 153"/>
                <a:gd name="T11" fmla="*/ 8161953 h 49"/>
                <a:gd name="T12" fmla="*/ 28554041 w 153"/>
                <a:gd name="T13" fmla="*/ 6802016 h 49"/>
                <a:gd name="T14" fmla="*/ 30221767 w 153"/>
                <a:gd name="T15" fmla="*/ 4080977 h 49"/>
                <a:gd name="T16" fmla="*/ 31889036 w 153"/>
                <a:gd name="T17" fmla="*/ 0 h 49"/>
                <a:gd name="T18" fmla="*/ 31889036 w 153"/>
                <a:gd name="T19" fmla="*/ 12242930 h 49"/>
                <a:gd name="T20" fmla="*/ 31889036 w 153"/>
                <a:gd name="T21" fmla="*/ 34007749 h 49"/>
                <a:gd name="T22" fmla="*/ 29804949 w 153"/>
                <a:gd name="T23" fmla="*/ 42169702 h 49"/>
                <a:gd name="T24" fmla="*/ 27720406 w 153"/>
                <a:gd name="T25" fmla="*/ 48971718 h 49"/>
                <a:gd name="T26" fmla="*/ 25844500 w 153"/>
                <a:gd name="T27" fmla="*/ 54412632 h 49"/>
                <a:gd name="T28" fmla="*/ 23760413 w 153"/>
                <a:gd name="T29" fmla="*/ 59853545 h 49"/>
                <a:gd name="T30" fmla="*/ 22093144 w 153"/>
                <a:gd name="T31" fmla="*/ 62574585 h 49"/>
                <a:gd name="T32" fmla="*/ 20634055 w 153"/>
                <a:gd name="T33" fmla="*/ 65295624 h 49"/>
                <a:gd name="T34" fmla="*/ 19174966 w 153"/>
                <a:gd name="T35" fmla="*/ 66655561 h 49"/>
                <a:gd name="T36" fmla="*/ 18133151 w 153"/>
                <a:gd name="T37" fmla="*/ 66655561 h 49"/>
                <a:gd name="T38" fmla="*/ 15006793 w 153"/>
                <a:gd name="T39" fmla="*/ 65295624 h 49"/>
                <a:gd name="T40" fmla="*/ 12505433 w 153"/>
                <a:gd name="T41" fmla="*/ 62574585 h 49"/>
                <a:gd name="T42" fmla="*/ 10421346 w 153"/>
                <a:gd name="T43" fmla="*/ 58493608 h 49"/>
                <a:gd name="T44" fmla="*/ 8545440 w 153"/>
                <a:gd name="T45" fmla="*/ 51691592 h 49"/>
                <a:gd name="T46" fmla="*/ 4585447 w 153"/>
                <a:gd name="T47" fmla="*/ 39448662 h 49"/>
                <a:gd name="T48" fmla="*/ 0 w 153"/>
                <a:gd name="T49" fmla="*/ 25845796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3" name="Freeform 463">
              <a:extLst>
                <a:ext uri="{FF2B5EF4-FFF2-40B4-BE49-F238E27FC236}">
                  <a16:creationId xmlns:a16="http://schemas.microsoft.com/office/drawing/2014/main" id="{BEB6A2CB-A7CE-493A-BD5F-9FD0E701EDAF}"/>
                </a:ext>
              </a:extLst>
            </p:cNvPr>
            <p:cNvSpPr>
              <a:spLocks/>
            </p:cNvSpPr>
            <p:nvPr>
              <p:custDataLst>
                <p:tags r:id="rId301"/>
              </p:custDataLst>
            </p:nvPr>
          </p:nvSpPr>
          <p:spPr bwMode="auto">
            <a:xfrm>
              <a:off x="3632200" y="3614738"/>
              <a:ext cx="187325" cy="158750"/>
            </a:xfrm>
            <a:custGeom>
              <a:avLst/>
              <a:gdLst>
                <a:gd name="T0" fmla="*/ 37512491 w 426"/>
                <a:gd name="T1" fmla="*/ 4510305 h 299"/>
                <a:gd name="T2" fmla="*/ 41766439 w 426"/>
                <a:gd name="T3" fmla="*/ 6201869 h 299"/>
                <a:gd name="T4" fmla="*/ 44473417 w 426"/>
                <a:gd name="T5" fmla="*/ 8174829 h 299"/>
                <a:gd name="T6" fmla="*/ 48920847 w 426"/>
                <a:gd name="T7" fmla="*/ 9866392 h 299"/>
                <a:gd name="T8" fmla="*/ 53948281 w 426"/>
                <a:gd name="T9" fmla="*/ 10430247 h 299"/>
                <a:gd name="T10" fmla="*/ 58008748 w 426"/>
                <a:gd name="T11" fmla="*/ 10430247 h 299"/>
                <a:gd name="T12" fmla="*/ 61682693 w 426"/>
                <a:gd name="T13" fmla="*/ 9584465 h 299"/>
                <a:gd name="T14" fmla="*/ 63616186 w 426"/>
                <a:gd name="T15" fmla="*/ 8174829 h 299"/>
                <a:gd name="T16" fmla="*/ 70577112 w 426"/>
                <a:gd name="T17" fmla="*/ 7047120 h 299"/>
                <a:gd name="T18" fmla="*/ 71931041 w 426"/>
                <a:gd name="T19" fmla="*/ 13812843 h 299"/>
                <a:gd name="T20" fmla="*/ 74058015 w 426"/>
                <a:gd name="T21" fmla="*/ 20859962 h 299"/>
                <a:gd name="T22" fmla="*/ 75604546 w 426"/>
                <a:gd name="T23" fmla="*/ 23679235 h 299"/>
                <a:gd name="T24" fmla="*/ 77344997 w 426"/>
                <a:gd name="T25" fmla="*/ 25934122 h 299"/>
                <a:gd name="T26" fmla="*/ 79665453 w 426"/>
                <a:gd name="T27" fmla="*/ 27343758 h 299"/>
                <a:gd name="T28" fmla="*/ 82178950 w 426"/>
                <a:gd name="T29" fmla="*/ 27907613 h 299"/>
                <a:gd name="T30" fmla="*/ 82178950 w 426"/>
                <a:gd name="T31" fmla="*/ 33827023 h 299"/>
                <a:gd name="T32" fmla="*/ 82178950 w 426"/>
                <a:gd name="T33" fmla="*/ 40028892 h 299"/>
                <a:gd name="T34" fmla="*/ 80438938 w 426"/>
                <a:gd name="T35" fmla="*/ 44539197 h 299"/>
                <a:gd name="T36" fmla="*/ 79665453 w 426"/>
                <a:gd name="T37" fmla="*/ 47921793 h 299"/>
                <a:gd name="T38" fmla="*/ 79665453 w 426"/>
                <a:gd name="T39" fmla="*/ 51022462 h 299"/>
                <a:gd name="T40" fmla="*/ 80245457 w 426"/>
                <a:gd name="T41" fmla="*/ 53559808 h 299"/>
                <a:gd name="T42" fmla="*/ 81792427 w 426"/>
                <a:gd name="T43" fmla="*/ 59479749 h 299"/>
                <a:gd name="T44" fmla="*/ 82372431 w 426"/>
                <a:gd name="T45" fmla="*/ 63708127 h 299"/>
                <a:gd name="T46" fmla="*/ 82178950 w 426"/>
                <a:gd name="T47" fmla="*/ 69627538 h 299"/>
                <a:gd name="T48" fmla="*/ 82372431 w 426"/>
                <a:gd name="T49" fmla="*/ 77239043 h 299"/>
                <a:gd name="T50" fmla="*/ 81792427 w 426"/>
                <a:gd name="T51" fmla="*/ 80339712 h 299"/>
                <a:gd name="T52" fmla="*/ 79665453 w 426"/>
                <a:gd name="T53" fmla="*/ 83440380 h 299"/>
                <a:gd name="T54" fmla="*/ 73477572 w 426"/>
                <a:gd name="T55" fmla="*/ 84004235 h 299"/>
                <a:gd name="T56" fmla="*/ 71544079 w 426"/>
                <a:gd name="T57" fmla="*/ 84286162 h 299"/>
                <a:gd name="T58" fmla="*/ 69610586 w 426"/>
                <a:gd name="T59" fmla="*/ 83440380 h 299"/>
                <a:gd name="T60" fmla="*/ 67870134 w 426"/>
                <a:gd name="T61" fmla="*/ 81749348 h 299"/>
                <a:gd name="T62" fmla="*/ 65356637 w 426"/>
                <a:gd name="T63" fmla="*/ 78366221 h 299"/>
                <a:gd name="T64" fmla="*/ 62649659 w 426"/>
                <a:gd name="T65" fmla="*/ 73573988 h 299"/>
                <a:gd name="T66" fmla="*/ 60135722 w 426"/>
                <a:gd name="T67" fmla="*/ 71319101 h 299"/>
                <a:gd name="T68" fmla="*/ 56848740 w 426"/>
                <a:gd name="T69" fmla="*/ 70755247 h 299"/>
                <a:gd name="T70" fmla="*/ 53754800 w 426"/>
                <a:gd name="T71" fmla="*/ 65399160 h 299"/>
                <a:gd name="T72" fmla="*/ 52981314 w 426"/>
                <a:gd name="T73" fmla="*/ 59197822 h 299"/>
                <a:gd name="T74" fmla="*/ 52014348 w 426"/>
                <a:gd name="T75" fmla="*/ 55532768 h 299"/>
                <a:gd name="T76" fmla="*/ 50467817 w 426"/>
                <a:gd name="T77" fmla="*/ 51868244 h 299"/>
                <a:gd name="T78" fmla="*/ 48533885 w 426"/>
                <a:gd name="T79" fmla="*/ 48767575 h 299"/>
                <a:gd name="T80" fmla="*/ 46020388 w 426"/>
                <a:gd name="T81" fmla="*/ 46512688 h 299"/>
                <a:gd name="T82" fmla="*/ 42926447 w 426"/>
                <a:gd name="T83" fmla="*/ 45384979 h 299"/>
                <a:gd name="T84" fmla="*/ 39445984 w 426"/>
                <a:gd name="T85" fmla="*/ 45384979 h 299"/>
                <a:gd name="T86" fmla="*/ 36352043 w 426"/>
                <a:gd name="T87" fmla="*/ 45948834 h 299"/>
                <a:gd name="T88" fmla="*/ 33451584 w 426"/>
                <a:gd name="T89" fmla="*/ 47357939 h 299"/>
                <a:gd name="T90" fmla="*/ 30938087 w 426"/>
                <a:gd name="T91" fmla="*/ 49613357 h 299"/>
                <a:gd name="T92" fmla="*/ 27264142 w 426"/>
                <a:gd name="T93" fmla="*/ 53841735 h 299"/>
                <a:gd name="T94" fmla="*/ 22816713 w 426"/>
                <a:gd name="T95" fmla="*/ 60606927 h 299"/>
                <a:gd name="T96" fmla="*/ 20303216 w 426"/>
                <a:gd name="T97" fmla="*/ 61452709 h 299"/>
                <a:gd name="T98" fmla="*/ 19336249 w 426"/>
                <a:gd name="T99" fmla="*/ 56660477 h 299"/>
                <a:gd name="T100" fmla="*/ 17402756 w 426"/>
                <a:gd name="T101" fmla="*/ 52432099 h 299"/>
                <a:gd name="T102" fmla="*/ 14695338 w 426"/>
                <a:gd name="T103" fmla="*/ 48203721 h 299"/>
                <a:gd name="T104" fmla="*/ 9668345 w 426"/>
                <a:gd name="T105" fmla="*/ 43129561 h 299"/>
                <a:gd name="T106" fmla="*/ 4640911 w 426"/>
                <a:gd name="T107" fmla="*/ 37773474 h 299"/>
                <a:gd name="T108" fmla="*/ 1546970 w 426"/>
                <a:gd name="T109" fmla="*/ 33545096 h 299"/>
                <a:gd name="T110" fmla="*/ 2900459 w 426"/>
                <a:gd name="T111" fmla="*/ 28471467 h 299"/>
                <a:gd name="T112" fmla="*/ 8894859 w 426"/>
                <a:gd name="T113" fmla="*/ 21705744 h 299"/>
                <a:gd name="T114" fmla="*/ 14502297 w 426"/>
                <a:gd name="T115" fmla="*/ 13530916 h 299"/>
                <a:gd name="T116" fmla="*/ 18949727 w 426"/>
                <a:gd name="T117" fmla="*/ 4792232 h 299"/>
                <a:gd name="T118" fmla="*/ 34612031 w 426"/>
                <a:gd name="T119" fmla="*/ 3664523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US"/>
            </a:p>
          </p:txBody>
        </p:sp>
        <p:sp>
          <p:nvSpPr>
            <p:cNvPr id="314" name="Freeform 464">
              <a:extLst>
                <a:ext uri="{FF2B5EF4-FFF2-40B4-BE49-F238E27FC236}">
                  <a16:creationId xmlns:a16="http://schemas.microsoft.com/office/drawing/2014/main" id="{55ECD13A-1CC7-4311-A3B7-B1AD15394E7C}"/>
                </a:ext>
              </a:extLst>
            </p:cNvPr>
            <p:cNvSpPr>
              <a:spLocks/>
            </p:cNvSpPr>
            <p:nvPr>
              <p:custDataLst>
                <p:tags r:id="rId302"/>
              </p:custDataLst>
            </p:nvPr>
          </p:nvSpPr>
          <p:spPr bwMode="auto">
            <a:xfrm>
              <a:off x="5676900" y="2878138"/>
              <a:ext cx="692150" cy="874712"/>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0C0C0"/>
            </a:solidFill>
            <a:ln w="9525" cmpd="sng">
              <a:solidFill>
                <a:srgbClr val="FFFFFF"/>
              </a:solidFill>
              <a:prstDash val="solid"/>
              <a:round/>
              <a:headEnd/>
              <a:tailEnd/>
            </a:ln>
          </p:spPr>
          <p:txBody>
            <a:bodyPr/>
            <a:lstStyle/>
            <a:p>
              <a:pPr eaLnBrk="1" hangingPunct="1">
                <a:defRPr/>
              </a:pPr>
              <a:endParaRPr lang="en-US"/>
            </a:p>
          </p:txBody>
        </p:sp>
        <p:sp>
          <p:nvSpPr>
            <p:cNvPr id="315" name="Freeform 465">
              <a:extLst>
                <a:ext uri="{FF2B5EF4-FFF2-40B4-BE49-F238E27FC236}">
                  <a16:creationId xmlns:a16="http://schemas.microsoft.com/office/drawing/2014/main" id="{6ACDFACA-F572-40C8-B7AD-1391836E9E12}"/>
                </a:ext>
              </a:extLst>
            </p:cNvPr>
            <p:cNvSpPr>
              <a:spLocks/>
            </p:cNvSpPr>
            <p:nvPr>
              <p:custDataLst>
                <p:tags r:id="rId303"/>
              </p:custDataLst>
            </p:nvPr>
          </p:nvSpPr>
          <p:spPr bwMode="auto">
            <a:xfrm>
              <a:off x="3798888" y="3673475"/>
              <a:ext cx="158750" cy="206375"/>
            </a:xfrm>
            <a:custGeom>
              <a:avLst/>
              <a:gdLst>
                <a:gd name="T0" fmla="*/ 10363854 w 359"/>
                <a:gd name="T1" fmla="*/ 104805501 h 394"/>
                <a:gd name="T2" fmla="*/ 10363854 w 359"/>
                <a:gd name="T3" fmla="*/ 98220881 h 394"/>
                <a:gd name="T4" fmla="*/ 10363854 w 359"/>
                <a:gd name="T5" fmla="*/ 91362317 h 394"/>
                <a:gd name="T6" fmla="*/ 9777054 w 359"/>
                <a:gd name="T7" fmla="*/ 85600579 h 394"/>
                <a:gd name="T8" fmla="*/ 8408444 w 359"/>
                <a:gd name="T9" fmla="*/ 80387777 h 394"/>
                <a:gd name="T10" fmla="*/ 6843938 w 359"/>
                <a:gd name="T11" fmla="*/ 75997856 h 394"/>
                <a:gd name="T12" fmla="*/ 2542211 w 359"/>
                <a:gd name="T13" fmla="*/ 67218537 h 394"/>
                <a:gd name="T14" fmla="*/ 0 w 359"/>
                <a:gd name="T15" fmla="*/ 50756727 h 394"/>
                <a:gd name="T16" fmla="*/ 6453033 w 359"/>
                <a:gd name="T17" fmla="*/ 49659377 h 394"/>
                <a:gd name="T18" fmla="*/ 7821643 w 359"/>
                <a:gd name="T19" fmla="*/ 46366806 h 394"/>
                <a:gd name="T20" fmla="*/ 8017096 w 359"/>
                <a:gd name="T21" fmla="*/ 41154003 h 394"/>
                <a:gd name="T22" fmla="*/ 7430738 w 359"/>
                <a:gd name="T23" fmla="*/ 29356582 h 394"/>
                <a:gd name="T24" fmla="*/ 6061685 w 359"/>
                <a:gd name="T25" fmla="*/ 17833628 h 394"/>
                <a:gd name="T26" fmla="*/ 6257138 w 359"/>
                <a:gd name="T27" fmla="*/ 12894771 h 394"/>
                <a:gd name="T28" fmla="*/ 7039391 w 359"/>
                <a:gd name="T29" fmla="*/ 9877191 h 394"/>
                <a:gd name="T30" fmla="*/ 23464930 w 359"/>
                <a:gd name="T31" fmla="*/ 8505374 h 394"/>
                <a:gd name="T32" fmla="*/ 23855836 w 359"/>
                <a:gd name="T33" fmla="*/ 6035683 h 394"/>
                <a:gd name="T34" fmla="*/ 25029436 w 359"/>
                <a:gd name="T35" fmla="*/ 3840984 h 394"/>
                <a:gd name="T36" fmla="*/ 27375752 w 359"/>
                <a:gd name="T37" fmla="*/ 0 h 394"/>
                <a:gd name="T38" fmla="*/ 27766657 w 359"/>
                <a:gd name="T39" fmla="*/ 4938334 h 394"/>
                <a:gd name="T40" fmla="*/ 27766657 w 359"/>
                <a:gd name="T41" fmla="*/ 7133556 h 394"/>
                <a:gd name="T42" fmla="*/ 27375752 w 359"/>
                <a:gd name="T43" fmla="*/ 8505374 h 394"/>
                <a:gd name="T44" fmla="*/ 32851079 w 359"/>
                <a:gd name="T45" fmla="*/ 8505374 h 394"/>
                <a:gd name="T46" fmla="*/ 36370554 w 359"/>
                <a:gd name="T47" fmla="*/ 8505374 h 394"/>
                <a:gd name="T48" fmla="*/ 41845881 w 359"/>
                <a:gd name="T49" fmla="*/ 10425604 h 394"/>
                <a:gd name="T50" fmla="*/ 45561250 w 359"/>
                <a:gd name="T51" fmla="*/ 13443707 h 394"/>
                <a:gd name="T52" fmla="*/ 48103019 w 359"/>
                <a:gd name="T53" fmla="*/ 15912874 h 394"/>
                <a:gd name="T54" fmla="*/ 50645230 w 359"/>
                <a:gd name="T55" fmla="*/ 16735755 h 394"/>
                <a:gd name="T56" fmla="*/ 52405188 w 359"/>
                <a:gd name="T57" fmla="*/ 16187343 h 394"/>
                <a:gd name="T58" fmla="*/ 53773799 w 359"/>
                <a:gd name="T59" fmla="*/ 14815525 h 394"/>
                <a:gd name="T60" fmla="*/ 55924662 w 359"/>
                <a:gd name="T61" fmla="*/ 10151136 h 394"/>
                <a:gd name="T62" fmla="*/ 61009084 w 359"/>
                <a:gd name="T63" fmla="*/ 14266589 h 394"/>
                <a:gd name="T64" fmla="*/ 63550853 w 359"/>
                <a:gd name="T65" fmla="*/ 16187343 h 394"/>
                <a:gd name="T66" fmla="*/ 66093064 w 359"/>
                <a:gd name="T67" fmla="*/ 16735755 h 394"/>
                <a:gd name="T68" fmla="*/ 69026180 w 359"/>
                <a:gd name="T69" fmla="*/ 44172107 h 394"/>
                <a:gd name="T70" fmla="*/ 66093064 w 359"/>
                <a:gd name="T71" fmla="*/ 50756727 h 394"/>
                <a:gd name="T72" fmla="*/ 63159948 w 359"/>
                <a:gd name="T73" fmla="*/ 56518465 h 394"/>
                <a:gd name="T74" fmla="*/ 61595442 w 359"/>
                <a:gd name="T75" fmla="*/ 61456799 h 394"/>
                <a:gd name="T76" fmla="*/ 61204537 w 359"/>
                <a:gd name="T77" fmla="*/ 65572252 h 394"/>
                <a:gd name="T78" fmla="*/ 61204537 w 359"/>
                <a:gd name="T79" fmla="*/ 69962173 h 394"/>
                <a:gd name="T80" fmla="*/ 62768600 w 359"/>
                <a:gd name="T81" fmla="*/ 74900506 h 394"/>
                <a:gd name="T82" fmla="*/ 64724011 w 359"/>
                <a:gd name="T83" fmla="*/ 80387777 h 394"/>
                <a:gd name="T84" fmla="*/ 65897611 w 359"/>
                <a:gd name="T85" fmla="*/ 84777174 h 394"/>
                <a:gd name="T86" fmla="*/ 65897611 w 359"/>
                <a:gd name="T87" fmla="*/ 88069746 h 394"/>
                <a:gd name="T88" fmla="*/ 64528558 w 359"/>
                <a:gd name="T89" fmla="*/ 92459667 h 394"/>
                <a:gd name="T90" fmla="*/ 63746306 w 359"/>
                <a:gd name="T91" fmla="*/ 96300651 h 394"/>
                <a:gd name="T92" fmla="*/ 62377695 w 359"/>
                <a:gd name="T93" fmla="*/ 98220881 h 394"/>
                <a:gd name="T94" fmla="*/ 60226831 w 359"/>
                <a:gd name="T95" fmla="*/ 97672469 h 394"/>
                <a:gd name="T96" fmla="*/ 58271421 w 359"/>
                <a:gd name="T97" fmla="*/ 96026183 h 394"/>
                <a:gd name="T98" fmla="*/ 56120557 w 359"/>
                <a:gd name="T99" fmla="*/ 93282548 h 394"/>
                <a:gd name="T100" fmla="*/ 54165146 w 359"/>
                <a:gd name="T101" fmla="*/ 91910730 h 394"/>
                <a:gd name="T102" fmla="*/ 52013841 w 359"/>
                <a:gd name="T103" fmla="*/ 91362317 h 394"/>
                <a:gd name="T104" fmla="*/ 48103019 w 359"/>
                <a:gd name="T105" fmla="*/ 91362317 h 394"/>
                <a:gd name="T106" fmla="*/ 43214492 w 359"/>
                <a:gd name="T107" fmla="*/ 92185198 h 394"/>
                <a:gd name="T108" fmla="*/ 35392848 w 359"/>
                <a:gd name="T109" fmla="*/ 94105429 h 394"/>
                <a:gd name="T110" fmla="*/ 25615794 w 359"/>
                <a:gd name="T111" fmla="*/ 98495350 h 394"/>
                <a:gd name="T112" fmla="*/ 16816445 w 359"/>
                <a:gd name="T113" fmla="*/ 102885271 h 394"/>
                <a:gd name="T114" fmla="*/ 10363854 w 359"/>
                <a:gd name="T115" fmla="*/ 108098073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US"/>
            </a:p>
          </p:txBody>
        </p:sp>
        <p:sp>
          <p:nvSpPr>
            <p:cNvPr id="316" name="Freeform 466">
              <a:extLst>
                <a:ext uri="{FF2B5EF4-FFF2-40B4-BE49-F238E27FC236}">
                  <a16:creationId xmlns:a16="http://schemas.microsoft.com/office/drawing/2014/main" id="{11D4FFA9-FC36-43E3-B2F3-0158F0F34553}"/>
                </a:ext>
              </a:extLst>
            </p:cNvPr>
            <p:cNvSpPr>
              <a:spLocks/>
            </p:cNvSpPr>
            <p:nvPr>
              <p:custDataLst>
                <p:tags r:id="rId304"/>
              </p:custDataLst>
            </p:nvPr>
          </p:nvSpPr>
          <p:spPr bwMode="auto">
            <a:xfrm>
              <a:off x="4867275" y="3868738"/>
              <a:ext cx="192088" cy="271462"/>
            </a:xfrm>
            <a:custGeom>
              <a:avLst/>
              <a:gdLst>
                <a:gd name="T0" fmla="*/ 75039669 w 449"/>
                <a:gd name="T1" fmla="*/ 28288209 h 523"/>
                <a:gd name="T2" fmla="*/ 74124577 w 449"/>
                <a:gd name="T3" fmla="*/ 26402502 h 523"/>
                <a:gd name="T4" fmla="*/ 74673889 w 449"/>
                <a:gd name="T5" fmla="*/ 24786181 h 523"/>
                <a:gd name="T6" fmla="*/ 77236061 w 449"/>
                <a:gd name="T7" fmla="*/ 20744860 h 523"/>
                <a:gd name="T8" fmla="*/ 80713324 w 449"/>
                <a:gd name="T9" fmla="*/ 16164765 h 523"/>
                <a:gd name="T10" fmla="*/ 81811520 w 449"/>
                <a:gd name="T11" fmla="*/ 13470378 h 523"/>
                <a:gd name="T12" fmla="*/ 82177728 w 449"/>
                <a:gd name="T13" fmla="*/ 9968350 h 523"/>
                <a:gd name="T14" fmla="*/ 79066244 w 449"/>
                <a:gd name="T15" fmla="*/ 9160189 h 523"/>
                <a:gd name="T16" fmla="*/ 77236061 w 449"/>
                <a:gd name="T17" fmla="*/ 7273963 h 523"/>
                <a:gd name="T18" fmla="*/ 75222773 w 449"/>
                <a:gd name="T19" fmla="*/ 5657642 h 523"/>
                <a:gd name="T20" fmla="*/ 71379302 w 449"/>
                <a:gd name="T21" fmla="*/ 4849481 h 523"/>
                <a:gd name="T22" fmla="*/ 68999806 w 449"/>
                <a:gd name="T23" fmla="*/ 5388255 h 523"/>
                <a:gd name="T24" fmla="*/ 67352727 w 449"/>
                <a:gd name="T25" fmla="*/ 6465802 h 523"/>
                <a:gd name="T26" fmla="*/ 64973659 w 449"/>
                <a:gd name="T27" fmla="*/ 9968350 h 523"/>
                <a:gd name="T28" fmla="*/ 62227956 w 449"/>
                <a:gd name="T29" fmla="*/ 13470378 h 523"/>
                <a:gd name="T30" fmla="*/ 59665784 w 449"/>
                <a:gd name="T31" fmla="*/ 14548444 h 523"/>
                <a:gd name="T32" fmla="*/ 56737405 w 449"/>
                <a:gd name="T33" fmla="*/ 14817831 h 523"/>
                <a:gd name="T34" fmla="*/ 52527726 w 449"/>
                <a:gd name="T35" fmla="*/ 14548444 h 523"/>
                <a:gd name="T36" fmla="*/ 48867358 w 449"/>
                <a:gd name="T37" fmla="*/ 13470378 h 523"/>
                <a:gd name="T38" fmla="*/ 43010599 w 449"/>
                <a:gd name="T39" fmla="*/ 9698963 h 523"/>
                <a:gd name="T40" fmla="*/ 37702725 w 449"/>
                <a:gd name="T41" fmla="*/ 5118868 h 523"/>
                <a:gd name="T42" fmla="*/ 34591669 w 449"/>
                <a:gd name="T43" fmla="*/ 3233161 h 523"/>
                <a:gd name="T44" fmla="*/ 31113978 w 449"/>
                <a:gd name="T45" fmla="*/ 1616321 h 523"/>
                <a:gd name="T46" fmla="*/ 24525231 w 449"/>
                <a:gd name="T47" fmla="*/ 2155094 h 523"/>
                <a:gd name="T48" fmla="*/ 21779956 w 449"/>
                <a:gd name="T49" fmla="*/ 1616321 h 523"/>
                <a:gd name="T50" fmla="*/ 18851576 w 449"/>
                <a:gd name="T51" fmla="*/ 0 h 523"/>
                <a:gd name="T52" fmla="*/ 9517126 w 449"/>
                <a:gd name="T53" fmla="*/ 0 h 523"/>
                <a:gd name="T54" fmla="*/ 915092 w 449"/>
                <a:gd name="T55" fmla="*/ 0 h 523"/>
                <a:gd name="T56" fmla="*/ 915092 w 449"/>
                <a:gd name="T57" fmla="*/ 4849481 h 523"/>
                <a:gd name="T58" fmla="*/ 915092 w 449"/>
                <a:gd name="T59" fmla="*/ 9968350 h 523"/>
                <a:gd name="T60" fmla="*/ 2745275 w 449"/>
                <a:gd name="T61" fmla="*/ 16164765 h 523"/>
                <a:gd name="T62" fmla="*/ 4209679 w 449"/>
                <a:gd name="T63" fmla="*/ 24516794 h 523"/>
                <a:gd name="T64" fmla="*/ 5673655 w 449"/>
                <a:gd name="T65" fmla="*/ 34484625 h 523"/>
                <a:gd name="T66" fmla="*/ 6954955 w 449"/>
                <a:gd name="T67" fmla="*/ 46339201 h 523"/>
                <a:gd name="T68" fmla="*/ 6771851 w 449"/>
                <a:gd name="T69" fmla="*/ 55498872 h 523"/>
                <a:gd name="T70" fmla="*/ 5307875 w 449"/>
                <a:gd name="T71" fmla="*/ 61964674 h 523"/>
                <a:gd name="T72" fmla="*/ 1281300 w 449"/>
                <a:gd name="T73" fmla="*/ 72471797 h 523"/>
                <a:gd name="T74" fmla="*/ 1830184 w 449"/>
                <a:gd name="T75" fmla="*/ 86481468 h 523"/>
                <a:gd name="T76" fmla="*/ 5124771 w 449"/>
                <a:gd name="T77" fmla="*/ 91330949 h 523"/>
                <a:gd name="T78" fmla="*/ 15373885 w 449"/>
                <a:gd name="T79" fmla="*/ 98874299 h 523"/>
                <a:gd name="T80" fmla="*/ 24891439 w 449"/>
                <a:gd name="T81" fmla="*/ 106687554 h 523"/>
                <a:gd name="T82" fmla="*/ 31113978 w 449"/>
                <a:gd name="T83" fmla="*/ 113153357 h 523"/>
                <a:gd name="T84" fmla="*/ 34591669 w 449"/>
                <a:gd name="T85" fmla="*/ 117464064 h 523"/>
                <a:gd name="T86" fmla="*/ 36238749 w 449"/>
                <a:gd name="T87" fmla="*/ 121504866 h 523"/>
                <a:gd name="T88" fmla="*/ 36787633 w 449"/>
                <a:gd name="T89" fmla="*/ 125007414 h 523"/>
                <a:gd name="T90" fmla="*/ 38252036 w 449"/>
                <a:gd name="T91" fmla="*/ 129048735 h 523"/>
                <a:gd name="T92" fmla="*/ 40265324 w 449"/>
                <a:gd name="T93" fmla="*/ 132550763 h 523"/>
                <a:gd name="T94" fmla="*/ 42644392 w 449"/>
                <a:gd name="T95" fmla="*/ 135514537 h 523"/>
                <a:gd name="T96" fmla="*/ 45206991 w 449"/>
                <a:gd name="T97" fmla="*/ 137939018 h 523"/>
                <a:gd name="T98" fmla="*/ 48318474 w 449"/>
                <a:gd name="T99" fmla="*/ 139825245 h 523"/>
                <a:gd name="T100" fmla="*/ 51429530 w 449"/>
                <a:gd name="T101" fmla="*/ 140902792 h 523"/>
                <a:gd name="T102" fmla="*/ 55639209 w 449"/>
                <a:gd name="T103" fmla="*/ 135245150 h 523"/>
                <a:gd name="T104" fmla="*/ 61312864 w 449"/>
                <a:gd name="T105" fmla="*/ 124468640 h 523"/>
                <a:gd name="T106" fmla="*/ 66803843 w 449"/>
                <a:gd name="T107" fmla="*/ 115039064 h 523"/>
                <a:gd name="T108" fmla="*/ 72111290 w 449"/>
                <a:gd name="T109" fmla="*/ 105070714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en-US"/>
            </a:p>
          </p:txBody>
        </p:sp>
        <p:sp>
          <p:nvSpPr>
            <p:cNvPr id="317" name="Freeform 467">
              <a:extLst>
                <a:ext uri="{FF2B5EF4-FFF2-40B4-BE49-F238E27FC236}">
                  <a16:creationId xmlns:a16="http://schemas.microsoft.com/office/drawing/2014/main" id="{20640281-4B27-4C14-A32D-4A531300E07C}"/>
                </a:ext>
              </a:extLst>
            </p:cNvPr>
            <p:cNvSpPr>
              <a:spLocks/>
            </p:cNvSpPr>
            <p:nvPr>
              <p:custDataLst>
                <p:tags r:id="rId305"/>
              </p:custDataLst>
            </p:nvPr>
          </p:nvSpPr>
          <p:spPr bwMode="auto">
            <a:xfrm>
              <a:off x="4849813" y="2954338"/>
              <a:ext cx="101600" cy="130175"/>
            </a:xfrm>
            <a:custGeom>
              <a:avLst/>
              <a:gdLst>
                <a:gd name="T0" fmla="*/ 2425363 w 226"/>
                <a:gd name="T1" fmla="*/ 63843958 h 246"/>
                <a:gd name="T2" fmla="*/ 7275639 w 226"/>
                <a:gd name="T3" fmla="*/ 67204167 h 246"/>
                <a:gd name="T4" fmla="*/ 10711607 w 226"/>
                <a:gd name="T5" fmla="*/ 68604342 h 246"/>
                <a:gd name="T6" fmla="*/ 13742973 w 226"/>
                <a:gd name="T7" fmla="*/ 68604342 h 246"/>
                <a:gd name="T8" fmla="*/ 17178492 w 226"/>
                <a:gd name="T9" fmla="*/ 67484096 h 246"/>
                <a:gd name="T10" fmla="*/ 22231069 w 226"/>
                <a:gd name="T11" fmla="*/ 63843958 h 246"/>
                <a:gd name="T12" fmla="*/ 28496552 w 226"/>
                <a:gd name="T13" fmla="*/ 57403471 h 246"/>
                <a:gd name="T14" fmla="*/ 32538524 w 226"/>
                <a:gd name="T15" fmla="*/ 51523371 h 246"/>
                <a:gd name="T16" fmla="*/ 32134372 w 226"/>
                <a:gd name="T17" fmla="*/ 48443092 h 246"/>
                <a:gd name="T18" fmla="*/ 30113161 w 226"/>
                <a:gd name="T19" fmla="*/ 44802954 h 246"/>
                <a:gd name="T20" fmla="*/ 28900704 w 226"/>
                <a:gd name="T21" fmla="*/ 40602429 h 246"/>
                <a:gd name="T22" fmla="*/ 28496552 w 226"/>
                <a:gd name="T23" fmla="*/ 36402433 h 246"/>
                <a:gd name="T24" fmla="*/ 28496552 w 226"/>
                <a:gd name="T25" fmla="*/ 32481837 h 246"/>
                <a:gd name="T26" fmla="*/ 29506708 w 226"/>
                <a:gd name="T27" fmla="*/ 29401558 h 246"/>
                <a:gd name="T28" fmla="*/ 31527919 w 226"/>
                <a:gd name="T29" fmla="*/ 26321808 h 246"/>
                <a:gd name="T30" fmla="*/ 33953281 w 226"/>
                <a:gd name="T31" fmla="*/ 24081317 h 246"/>
                <a:gd name="T32" fmla="*/ 41228920 w 226"/>
                <a:gd name="T33" fmla="*/ 19881321 h 246"/>
                <a:gd name="T34" fmla="*/ 45472743 w 226"/>
                <a:gd name="T35" fmla="*/ 13720762 h 246"/>
                <a:gd name="T36" fmla="*/ 44664439 w 226"/>
                <a:gd name="T37" fmla="*/ 8400521 h 246"/>
                <a:gd name="T38" fmla="*/ 43249681 w 226"/>
                <a:gd name="T39" fmla="*/ 4760383 h 246"/>
                <a:gd name="T40" fmla="*/ 42845529 w 226"/>
                <a:gd name="T41" fmla="*/ 1680104 h 246"/>
                <a:gd name="T42" fmla="*/ 40824768 w 226"/>
                <a:gd name="T43" fmla="*/ 279929 h 246"/>
                <a:gd name="T44" fmla="*/ 36580496 w 226"/>
                <a:gd name="T45" fmla="*/ 1960033 h 246"/>
                <a:gd name="T46" fmla="*/ 31123766 w 226"/>
                <a:gd name="T47" fmla="*/ 5600171 h 246"/>
                <a:gd name="T48" fmla="*/ 24454131 w 226"/>
                <a:gd name="T49" fmla="*/ 10640483 h 246"/>
                <a:gd name="T50" fmla="*/ 20210308 w 226"/>
                <a:gd name="T51" fmla="*/ 14280621 h 246"/>
                <a:gd name="T52" fmla="*/ 17583094 w 226"/>
                <a:gd name="T53" fmla="*/ 15400867 h 246"/>
                <a:gd name="T54" fmla="*/ 15157731 w 226"/>
                <a:gd name="T55" fmla="*/ 15120937 h 246"/>
                <a:gd name="T56" fmla="*/ 11924064 w 226"/>
                <a:gd name="T57" fmla="*/ 13160904 h 246"/>
                <a:gd name="T58" fmla="*/ 7275639 w 226"/>
                <a:gd name="T59" fmla="*/ 8680450 h 246"/>
                <a:gd name="T60" fmla="*/ 4850276 w 226"/>
                <a:gd name="T61" fmla="*/ 10920942 h 246"/>
                <a:gd name="T62" fmla="*/ 3637819 w 226"/>
                <a:gd name="T63" fmla="*/ 26601737 h 246"/>
                <a:gd name="T64" fmla="*/ 2021211 w 226"/>
                <a:gd name="T65" fmla="*/ 45642742 h 246"/>
                <a:gd name="T66" fmla="*/ 606453 w 226"/>
                <a:gd name="T67" fmla="*/ 59363504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US"/>
            </a:p>
          </p:txBody>
        </p:sp>
        <p:sp>
          <p:nvSpPr>
            <p:cNvPr id="318" name="Freeform 468">
              <a:extLst>
                <a:ext uri="{FF2B5EF4-FFF2-40B4-BE49-F238E27FC236}">
                  <a16:creationId xmlns:a16="http://schemas.microsoft.com/office/drawing/2014/main" id="{6BD130BC-6C28-400A-9BD6-B1CA1DA10EBF}"/>
                </a:ext>
              </a:extLst>
            </p:cNvPr>
            <p:cNvSpPr>
              <a:spLocks/>
            </p:cNvSpPr>
            <p:nvPr>
              <p:custDataLst>
                <p:tags r:id="rId306"/>
              </p:custDataLst>
            </p:nvPr>
          </p:nvSpPr>
          <p:spPr bwMode="auto">
            <a:xfrm>
              <a:off x="5148263" y="3057525"/>
              <a:ext cx="22225" cy="55563"/>
            </a:xfrm>
            <a:custGeom>
              <a:avLst/>
              <a:gdLst>
                <a:gd name="T0" fmla="*/ 3704537 w 60"/>
                <a:gd name="T1" fmla="*/ 0 h 81"/>
                <a:gd name="T2" fmla="*/ 3979016 w 60"/>
                <a:gd name="T3" fmla="*/ 941124 h 81"/>
                <a:gd name="T4" fmla="*/ 4390549 w 60"/>
                <a:gd name="T5" fmla="*/ 1411686 h 81"/>
                <a:gd name="T6" fmla="*/ 4939506 w 60"/>
                <a:gd name="T7" fmla="*/ 1411686 h 81"/>
                <a:gd name="T8" fmla="*/ 5488464 w 60"/>
                <a:gd name="T9" fmla="*/ 941124 h 81"/>
                <a:gd name="T10" fmla="*/ 6448954 w 60"/>
                <a:gd name="T11" fmla="*/ 470562 h 81"/>
                <a:gd name="T12" fmla="*/ 7272020 w 60"/>
                <a:gd name="T13" fmla="*/ 0 h 81"/>
                <a:gd name="T14" fmla="*/ 7272020 w 60"/>
                <a:gd name="T15" fmla="*/ 12233929 h 81"/>
                <a:gd name="T16" fmla="*/ 7409445 w 60"/>
                <a:gd name="T17" fmla="*/ 22115048 h 81"/>
                <a:gd name="T18" fmla="*/ 7409445 w 60"/>
                <a:gd name="T19" fmla="*/ 26819983 h 81"/>
                <a:gd name="T20" fmla="*/ 7683553 w 60"/>
                <a:gd name="T21" fmla="*/ 30584480 h 81"/>
                <a:gd name="T22" fmla="*/ 7958032 w 60"/>
                <a:gd name="T23" fmla="*/ 34348291 h 81"/>
                <a:gd name="T24" fmla="*/ 8232510 w 60"/>
                <a:gd name="T25" fmla="*/ 38112788 h 81"/>
                <a:gd name="T26" fmla="*/ 2744047 w 60"/>
                <a:gd name="T27" fmla="*/ 38112788 h 81"/>
                <a:gd name="T28" fmla="*/ 1920981 w 60"/>
                <a:gd name="T29" fmla="*/ 37642226 h 81"/>
                <a:gd name="T30" fmla="*/ 960490 w 60"/>
                <a:gd name="T31" fmla="*/ 36230540 h 81"/>
                <a:gd name="T32" fmla="*/ 686012 w 60"/>
                <a:gd name="T33" fmla="*/ 34818853 h 81"/>
                <a:gd name="T34" fmla="*/ 274479 w 60"/>
                <a:gd name="T35" fmla="*/ 33877729 h 81"/>
                <a:gd name="T36" fmla="*/ 137054 w 60"/>
                <a:gd name="T37" fmla="*/ 32937291 h 81"/>
                <a:gd name="T38" fmla="*/ 0 w 60"/>
                <a:gd name="T39" fmla="*/ 31996167 h 81"/>
                <a:gd name="T40" fmla="*/ 960490 w 60"/>
                <a:gd name="T41" fmla="*/ 5646060 h 81"/>
                <a:gd name="T42" fmla="*/ 2744047 w 60"/>
                <a:gd name="T43" fmla="*/ 2823373 h 81"/>
                <a:gd name="T44" fmla="*/ 4665028 w 60"/>
                <a:gd name="T45" fmla="*/ 0 h 81"/>
                <a:gd name="T46" fmla="*/ 3704537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319" name="Freeform 469">
              <a:extLst>
                <a:ext uri="{FF2B5EF4-FFF2-40B4-BE49-F238E27FC236}">
                  <a16:creationId xmlns:a16="http://schemas.microsoft.com/office/drawing/2014/main" id="{93369770-1F5A-4C03-BA43-6BE95D3D9070}"/>
                </a:ext>
              </a:extLst>
            </p:cNvPr>
            <p:cNvSpPr>
              <a:spLocks/>
            </p:cNvSpPr>
            <p:nvPr>
              <p:custDataLst>
                <p:tags r:id="rId307"/>
              </p:custDataLst>
            </p:nvPr>
          </p:nvSpPr>
          <p:spPr bwMode="auto">
            <a:xfrm>
              <a:off x="4435475" y="2192338"/>
              <a:ext cx="161925" cy="66675"/>
            </a:xfrm>
            <a:custGeom>
              <a:avLst/>
              <a:gdLst>
                <a:gd name="T0" fmla="*/ 47881223 w 370"/>
                <a:gd name="T1" fmla="*/ 31256103 h 129"/>
                <a:gd name="T2" fmla="*/ 49413383 w 370"/>
                <a:gd name="T3" fmla="*/ 31790020 h 129"/>
                <a:gd name="T4" fmla="*/ 53052319 w 370"/>
                <a:gd name="T5" fmla="*/ 32858887 h 129"/>
                <a:gd name="T6" fmla="*/ 56499571 w 370"/>
                <a:gd name="T7" fmla="*/ 33927238 h 129"/>
                <a:gd name="T8" fmla="*/ 58031732 w 370"/>
                <a:gd name="T9" fmla="*/ 34461672 h 129"/>
                <a:gd name="T10" fmla="*/ 70864069 w 370"/>
                <a:gd name="T11" fmla="*/ 25912799 h 129"/>
                <a:gd name="T12" fmla="*/ 68565610 w 370"/>
                <a:gd name="T13" fmla="*/ 20036096 h 129"/>
                <a:gd name="T14" fmla="*/ 66075903 w 370"/>
                <a:gd name="T15" fmla="*/ 12822791 h 129"/>
                <a:gd name="T16" fmla="*/ 64160812 w 370"/>
                <a:gd name="T17" fmla="*/ 7212788 h 129"/>
                <a:gd name="T18" fmla="*/ 63203266 w 370"/>
                <a:gd name="T19" fmla="*/ 4808353 h 129"/>
                <a:gd name="T20" fmla="*/ 57457555 w 370"/>
                <a:gd name="T21" fmla="*/ 4007219 h 129"/>
                <a:gd name="T22" fmla="*/ 49221699 w 370"/>
                <a:gd name="T23" fmla="*/ 2404435 h 129"/>
                <a:gd name="T24" fmla="*/ 40986281 w 370"/>
                <a:gd name="T25" fmla="*/ 534434 h 129"/>
                <a:gd name="T26" fmla="*/ 35048885 w 370"/>
                <a:gd name="T27" fmla="*/ 0 h 129"/>
                <a:gd name="T28" fmla="*/ 34283024 w 370"/>
                <a:gd name="T29" fmla="*/ 0 h 129"/>
                <a:gd name="T30" fmla="*/ 33708409 w 370"/>
                <a:gd name="T31" fmla="*/ 267217 h 129"/>
                <a:gd name="T32" fmla="*/ 32942110 w 370"/>
                <a:gd name="T33" fmla="*/ 534434 h 129"/>
                <a:gd name="T34" fmla="*/ 32559179 w 370"/>
                <a:gd name="T35" fmla="*/ 801651 h 129"/>
                <a:gd name="T36" fmla="*/ 31027018 w 370"/>
                <a:gd name="T37" fmla="*/ 1870001 h 129"/>
                <a:gd name="T38" fmla="*/ 28728558 w 370"/>
                <a:gd name="T39" fmla="*/ 3205569 h 129"/>
                <a:gd name="T40" fmla="*/ 28153944 w 370"/>
                <a:gd name="T41" fmla="*/ 5610003 h 129"/>
                <a:gd name="T42" fmla="*/ 26813467 w 370"/>
                <a:gd name="T43" fmla="*/ 9350006 h 129"/>
                <a:gd name="T44" fmla="*/ 25664237 w 370"/>
                <a:gd name="T45" fmla="*/ 12822791 h 129"/>
                <a:gd name="T46" fmla="*/ 25089622 w 370"/>
                <a:gd name="T47" fmla="*/ 14692792 h 129"/>
                <a:gd name="T48" fmla="*/ 23365778 w 370"/>
                <a:gd name="T49" fmla="*/ 14425576 h 129"/>
                <a:gd name="T50" fmla="*/ 21259440 w 370"/>
                <a:gd name="T51" fmla="*/ 13090008 h 129"/>
                <a:gd name="T52" fmla="*/ 18769296 w 370"/>
                <a:gd name="T53" fmla="*/ 11754441 h 129"/>
                <a:gd name="T54" fmla="*/ 16087905 w 370"/>
                <a:gd name="T55" fmla="*/ 10151656 h 129"/>
                <a:gd name="T56" fmla="*/ 11491423 w 370"/>
                <a:gd name="T57" fmla="*/ 6945571 h 129"/>
                <a:gd name="T58" fmla="*/ 8427102 w 370"/>
                <a:gd name="T59" fmla="*/ 4808353 h 129"/>
                <a:gd name="T60" fmla="*/ 6128642 w 370"/>
                <a:gd name="T61" fmla="*/ 6678871 h 129"/>
                <a:gd name="T62" fmla="*/ 4021867 w 370"/>
                <a:gd name="T63" fmla="*/ 8815572 h 129"/>
                <a:gd name="T64" fmla="*/ 3064321 w 370"/>
                <a:gd name="T65" fmla="*/ 9884440 h 129"/>
                <a:gd name="T66" fmla="*/ 2298460 w 370"/>
                <a:gd name="T67" fmla="*/ 10952790 h 129"/>
                <a:gd name="T68" fmla="*/ 1723845 w 370"/>
                <a:gd name="T69" fmla="*/ 12288874 h 129"/>
                <a:gd name="T70" fmla="*/ 957546 w 370"/>
                <a:gd name="T71" fmla="*/ 13891659 h 129"/>
                <a:gd name="T72" fmla="*/ 574615 w 370"/>
                <a:gd name="T73" fmla="*/ 15227226 h 129"/>
                <a:gd name="T74" fmla="*/ 191684 w 370"/>
                <a:gd name="T75" fmla="*/ 16830010 h 129"/>
                <a:gd name="T76" fmla="*/ 0 w 370"/>
                <a:gd name="T77" fmla="*/ 18432795 h 129"/>
                <a:gd name="T78" fmla="*/ 0 w 370"/>
                <a:gd name="T79" fmla="*/ 20036096 h 129"/>
                <a:gd name="T80" fmla="*/ 191684 w 370"/>
                <a:gd name="T81" fmla="*/ 21906097 h 129"/>
                <a:gd name="T82" fmla="*/ 574615 w 370"/>
                <a:gd name="T83" fmla="*/ 23508881 h 129"/>
                <a:gd name="T84" fmla="*/ 1149230 w 370"/>
                <a:gd name="T85" fmla="*/ 25646099 h 129"/>
                <a:gd name="T86" fmla="*/ 2106776 w 370"/>
                <a:gd name="T87" fmla="*/ 27516101 h 129"/>
                <a:gd name="T88" fmla="*/ 3830620 w 370"/>
                <a:gd name="T89" fmla="*/ 26981667 h 129"/>
                <a:gd name="T90" fmla="*/ 6320327 w 370"/>
                <a:gd name="T91" fmla="*/ 26447233 h 129"/>
                <a:gd name="T92" fmla="*/ 9576332 w 370"/>
                <a:gd name="T93" fmla="*/ 25912799 h 129"/>
                <a:gd name="T94" fmla="*/ 13215268 w 370"/>
                <a:gd name="T95" fmla="*/ 25378883 h 129"/>
                <a:gd name="T96" fmla="*/ 19535595 w 370"/>
                <a:gd name="T97" fmla="*/ 24577232 h 129"/>
                <a:gd name="T98" fmla="*/ 22408232 w 370"/>
                <a:gd name="T99" fmla="*/ 24310015 h 129"/>
                <a:gd name="T100" fmla="*/ 26238852 w 370"/>
                <a:gd name="T101" fmla="*/ 24577232 h 129"/>
                <a:gd name="T102" fmla="*/ 29111927 w 370"/>
                <a:gd name="T103" fmla="*/ 25111666 h 129"/>
                <a:gd name="T104" fmla="*/ 31792880 w 370"/>
                <a:gd name="T105" fmla="*/ 25912799 h 129"/>
                <a:gd name="T106" fmla="*/ 33899655 w 370"/>
                <a:gd name="T107" fmla="*/ 26714450 h 129"/>
                <a:gd name="T108" fmla="*/ 36198115 w 370"/>
                <a:gd name="T109" fmla="*/ 27782801 h 129"/>
                <a:gd name="T110" fmla="*/ 38496575 w 370"/>
                <a:gd name="T111" fmla="*/ 28851668 h 129"/>
                <a:gd name="T112" fmla="*/ 41560896 w 370"/>
                <a:gd name="T113" fmla="*/ 29386102 h 129"/>
                <a:gd name="T114" fmla="*/ 45391516 w 370"/>
                <a:gd name="T115" fmla="*/ 29653319 h 129"/>
                <a:gd name="T116" fmla="*/ 45391516 w 370"/>
                <a:gd name="T117" fmla="*/ 31256103 h 129"/>
                <a:gd name="T118" fmla="*/ 47881223 w 370"/>
                <a:gd name="T119" fmla="*/ 3125610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0" name="Freeform 470">
              <a:extLst>
                <a:ext uri="{FF2B5EF4-FFF2-40B4-BE49-F238E27FC236}">
                  <a16:creationId xmlns:a16="http://schemas.microsoft.com/office/drawing/2014/main" id="{8C921DD1-668E-4209-BAD3-1F76666465F5}"/>
                </a:ext>
              </a:extLst>
            </p:cNvPr>
            <p:cNvSpPr>
              <a:spLocks/>
            </p:cNvSpPr>
            <p:nvPr>
              <p:custDataLst>
                <p:tags r:id="rId308"/>
              </p:custDataLst>
            </p:nvPr>
          </p:nvSpPr>
          <p:spPr bwMode="auto">
            <a:xfrm>
              <a:off x="4846638" y="2913063"/>
              <a:ext cx="30162" cy="57150"/>
            </a:xfrm>
            <a:custGeom>
              <a:avLst/>
              <a:gdLst>
                <a:gd name="T0" fmla="*/ 3838115 w 80"/>
                <a:gd name="T1" fmla="*/ 369651 h 94"/>
                <a:gd name="T2" fmla="*/ 4833083 w 80"/>
                <a:gd name="T3" fmla="*/ 0 h 94"/>
                <a:gd name="T4" fmla="*/ 5828052 w 80"/>
                <a:gd name="T5" fmla="*/ 0 h 94"/>
                <a:gd name="T6" fmla="*/ 6680883 w 80"/>
                <a:gd name="T7" fmla="*/ 739302 h 94"/>
                <a:gd name="T8" fmla="*/ 7675852 w 80"/>
                <a:gd name="T9" fmla="*/ 1478604 h 94"/>
                <a:gd name="T10" fmla="*/ 8529060 w 80"/>
                <a:gd name="T11" fmla="*/ 2217906 h 94"/>
                <a:gd name="T12" fmla="*/ 9381890 w 80"/>
                <a:gd name="T13" fmla="*/ 2957209 h 94"/>
                <a:gd name="T14" fmla="*/ 10376859 w 80"/>
                <a:gd name="T15" fmla="*/ 2957209 h 94"/>
                <a:gd name="T16" fmla="*/ 11371828 w 80"/>
                <a:gd name="T17" fmla="*/ 2587557 h 94"/>
                <a:gd name="T18" fmla="*/ 11371828 w 80"/>
                <a:gd name="T19" fmla="*/ 14046132 h 94"/>
                <a:gd name="T20" fmla="*/ 10661136 w 80"/>
                <a:gd name="T21" fmla="*/ 16264039 h 94"/>
                <a:gd name="T22" fmla="*/ 9808305 w 80"/>
                <a:gd name="T23" fmla="*/ 18851596 h 94"/>
                <a:gd name="T24" fmla="*/ 9097613 w 80"/>
                <a:gd name="T25" fmla="*/ 21808805 h 94"/>
                <a:gd name="T26" fmla="*/ 8244406 w 80"/>
                <a:gd name="T27" fmla="*/ 25135664 h 94"/>
                <a:gd name="T28" fmla="*/ 7249437 w 80"/>
                <a:gd name="T29" fmla="*/ 31049473 h 94"/>
                <a:gd name="T30" fmla="*/ 6680883 w 80"/>
                <a:gd name="T31" fmla="*/ 34745984 h 94"/>
                <a:gd name="T32" fmla="*/ 6112329 w 80"/>
                <a:gd name="T33" fmla="*/ 34376333 h 94"/>
                <a:gd name="T34" fmla="*/ 5685914 w 80"/>
                <a:gd name="T35" fmla="*/ 34006682 h 94"/>
                <a:gd name="T36" fmla="*/ 5259499 w 80"/>
                <a:gd name="T37" fmla="*/ 33637031 h 94"/>
                <a:gd name="T38" fmla="*/ 4833083 w 80"/>
                <a:gd name="T39" fmla="*/ 32897729 h 94"/>
                <a:gd name="T40" fmla="*/ 4122391 w 80"/>
                <a:gd name="T41" fmla="*/ 31049473 h 94"/>
                <a:gd name="T42" fmla="*/ 3269561 w 80"/>
                <a:gd name="T43" fmla="*/ 28831567 h 94"/>
                <a:gd name="T44" fmla="*/ 2700630 w 80"/>
                <a:gd name="T45" fmla="*/ 26613661 h 94"/>
                <a:gd name="T46" fmla="*/ 1847800 w 80"/>
                <a:gd name="T47" fmla="*/ 24026711 h 94"/>
                <a:gd name="T48" fmla="*/ 994969 w 80"/>
                <a:gd name="T49" fmla="*/ 22178456 h 94"/>
                <a:gd name="T50" fmla="*/ 0 w 80"/>
                <a:gd name="T51" fmla="*/ 20699852 h 94"/>
                <a:gd name="T52" fmla="*/ 1137107 w 80"/>
                <a:gd name="T53" fmla="*/ 15155086 h 94"/>
                <a:gd name="T54" fmla="*/ 1847800 w 80"/>
                <a:gd name="T55" fmla="*/ 10719273 h 94"/>
                <a:gd name="T56" fmla="*/ 2700630 w 80"/>
                <a:gd name="T57" fmla="*/ 6284068 h 94"/>
                <a:gd name="T58" fmla="*/ 3838115 w 80"/>
                <a:gd name="T59" fmla="*/ 369651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US"/>
            </a:p>
          </p:txBody>
        </p:sp>
        <p:sp>
          <p:nvSpPr>
            <p:cNvPr id="321" name="Freeform 471">
              <a:extLst>
                <a:ext uri="{FF2B5EF4-FFF2-40B4-BE49-F238E27FC236}">
                  <a16:creationId xmlns:a16="http://schemas.microsoft.com/office/drawing/2014/main" id="{73458081-C508-4D56-BD32-D0F4E6ED38CF}"/>
                </a:ext>
              </a:extLst>
            </p:cNvPr>
            <p:cNvSpPr>
              <a:spLocks/>
            </p:cNvSpPr>
            <p:nvPr>
              <p:custDataLst>
                <p:tags r:id="rId309"/>
              </p:custDataLst>
            </p:nvPr>
          </p:nvSpPr>
          <p:spPr bwMode="auto">
            <a:xfrm>
              <a:off x="4662488" y="4924425"/>
              <a:ext cx="61912" cy="57150"/>
            </a:xfrm>
            <a:custGeom>
              <a:avLst/>
              <a:gdLst>
                <a:gd name="T0" fmla="*/ 631044 w 135"/>
                <a:gd name="T1" fmla="*/ 18704379 h 98"/>
                <a:gd name="T2" fmla="*/ 2313674 w 135"/>
                <a:gd name="T3" fmla="*/ 18364394 h 98"/>
                <a:gd name="T4" fmla="*/ 3785804 w 135"/>
                <a:gd name="T5" fmla="*/ 18024410 h 98"/>
                <a:gd name="T6" fmla="*/ 5047892 w 135"/>
                <a:gd name="T7" fmla="*/ 17003874 h 98"/>
                <a:gd name="T8" fmla="*/ 6520022 w 135"/>
                <a:gd name="T9" fmla="*/ 15983922 h 98"/>
                <a:gd name="T10" fmla="*/ 8833696 w 135"/>
                <a:gd name="T11" fmla="*/ 12922898 h 98"/>
                <a:gd name="T12" fmla="*/ 10936869 w 135"/>
                <a:gd name="T13" fmla="*/ 9522473 h 98"/>
                <a:gd name="T14" fmla="*/ 12829542 w 135"/>
                <a:gd name="T15" fmla="*/ 6121465 h 98"/>
                <a:gd name="T16" fmla="*/ 14932716 w 135"/>
                <a:gd name="T17" fmla="*/ 2720457 h 98"/>
                <a:gd name="T18" fmla="*/ 15984303 w 135"/>
                <a:gd name="T19" fmla="*/ 1700504 h 98"/>
                <a:gd name="T20" fmla="*/ 17246390 w 135"/>
                <a:gd name="T21" fmla="*/ 679968 h 98"/>
                <a:gd name="T22" fmla="*/ 18508019 w 135"/>
                <a:gd name="T23" fmla="*/ 0 h 98"/>
                <a:gd name="T24" fmla="*/ 20190650 w 135"/>
                <a:gd name="T25" fmla="*/ 0 h 98"/>
                <a:gd name="T26" fmla="*/ 21452737 w 135"/>
                <a:gd name="T27" fmla="*/ 0 h 98"/>
                <a:gd name="T28" fmla="*/ 23135368 w 135"/>
                <a:gd name="T29" fmla="*/ 1019953 h 98"/>
                <a:gd name="T30" fmla="*/ 24607498 w 135"/>
                <a:gd name="T31" fmla="*/ 2040488 h 98"/>
                <a:gd name="T32" fmla="*/ 25869585 w 135"/>
                <a:gd name="T33" fmla="*/ 3740992 h 98"/>
                <a:gd name="T34" fmla="*/ 26921172 w 135"/>
                <a:gd name="T35" fmla="*/ 5441496 h 98"/>
                <a:gd name="T36" fmla="*/ 27762258 w 135"/>
                <a:gd name="T37" fmla="*/ 8161953 h 98"/>
                <a:gd name="T38" fmla="*/ 28182801 w 135"/>
                <a:gd name="T39" fmla="*/ 10202441 h 98"/>
                <a:gd name="T40" fmla="*/ 28393302 w 135"/>
                <a:gd name="T41" fmla="*/ 12582914 h 98"/>
                <a:gd name="T42" fmla="*/ 28182801 w 135"/>
                <a:gd name="T43" fmla="*/ 13603449 h 98"/>
                <a:gd name="T44" fmla="*/ 27762258 w 135"/>
                <a:gd name="T45" fmla="*/ 14623402 h 98"/>
                <a:gd name="T46" fmla="*/ 27131214 w 135"/>
                <a:gd name="T47" fmla="*/ 15983922 h 98"/>
                <a:gd name="T48" fmla="*/ 26079627 w 135"/>
                <a:gd name="T49" fmla="*/ 17343859 h 98"/>
                <a:gd name="T50" fmla="*/ 23766412 w 135"/>
                <a:gd name="T51" fmla="*/ 20744867 h 98"/>
                <a:gd name="T52" fmla="*/ 21032194 w 135"/>
                <a:gd name="T53" fmla="*/ 24485859 h 98"/>
                <a:gd name="T54" fmla="*/ 18297977 w 135"/>
                <a:gd name="T55" fmla="*/ 27886284 h 98"/>
                <a:gd name="T56" fmla="*/ 15563760 w 135"/>
                <a:gd name="T57" fmla="*/ 30947308 h 98"/>
                <a:gd name="T58" fmla="*/ 13250085 w 135"/>
                <a:gd name="T59" fmla="*/ 32647812 h 98"/>
                <a:gd name="T60" fmla="*/ 11567455 w 135"/>
                <a:gd name="T61" fmla="*/ 33327781 h 98"/>
                <a:gd name="T62" fmla="*/ 10726369 w 135"/>
                <a:gd name="T63" fmla="*/ 32987796 h 98"/>
                <a:gd name="T64" fmla="*/ 9043738 w 135"/>
                <a:gd name="T65" fmla="*/ 31287292 h 98"/>
                <a:gd name="T66" fmla="*/ 6730064 w 135"/>
                <a:gd name="T67" fmla="*/ 28906820 h 98"/>
                <a:gd name="T68" fmla="*/ 4416848 w 135"/>
                <a:gd name="T69" fmla="*/ 26186363 h 98"/>
                <a:gd name="T70" fmla="*/ 2313674 w 135"/>
                <a:gd name="T71" fmla="*/ 23125339 h 98"/>
                <a:gd name="T72" fmla="*/ 1051587 w 135"/>
                <a:gd name="T73" fmla="*/ 21084851 h 98"/>
                <a:gd name="T74" fmla="*/ 210501 w 135"/>
                <a:gd name="T75" fmla="*/ 20064898 h 98"/>
                <a:gd name="T76" fmla="*/ 0 w 135"/>
                <a:gd name="T77" fmla="*/ 19384347 h 98"/>
                <a:gd name="T78" fmla="*/ 0 w 135"/>
                <a:gd name="T79" fmla="*/ 19044363 h 98"/>
                <a:gd name="T80" fmla="*/ 631044 w 135"/>
                <a:gd name="T81" fmla="*/ 18704379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a:p>
          </p:txBody>
        </p:sp>
        <p:sp>
          <p:nvSpPr>
            <p:cNvPr id="322" name="Freeform 472">
              <a:extLst>
                <a:ext uri="{FF2B5EF4-FFF2-40B4-BE49-F238E27FC236}">
                  <a16:creationId xmlns:a16="http://schemas.microsoft.com/office/drawing/2014/main" id="{CBEF3777-2F81-429A-933D-309DF3DB997E}"/>
                </a:ext>
              </a:extLst>
            </p:cNvPr>
            <p:cNvSpPr>
              <a:spLocks/>
            </p:cNvSpPr>
            <p:nvPr>
              <p:custDataLst>
                <p:tags r:id="rId310"/>
              </p:custDataLst>
            </p:nvPr>
          </p:nvSpPr>
          <p:spPr bwMode="auto">
            <a:xfrm>
              <a:off x="4433888" y="2239963"/>
              <a:ext cx="131762" cy="84137"/>
            </a:xfrm>
            <a:custGeom>
              <a:avLst/>
              <a:gdLst>
                <a:gd name="T0" fmla="*/ 34242917 w 312"/>
                <a:gd name="T1" fmla="*/ 45672278 h 155"/>
                <a:gd name="T2" fmla="*/ 34599772 w 312"/>
                <a:gd name="T3" fmla="*/ 44493803 h 155"/>
                <a:gd name="T4" fmla="*/ 35134844 w 312"/>
                <a:gd name="T5" fmla="*/ 43609540 h 155"/>
                <a:gd name="T6" fmla="*/ 35669916 w 312"/>
                <a:gd name="T7" fmla="*/ 42725819 h 155"/>
                <a:gd name="T8" fmla="*/ 36204988 w 312"/>
                <a:gd name="T9" fmla="*/ 41841556 h 155"/>
                <a:gd name="T10" fmla="*/ 37631565 w 312"/>
                <a:gd name="T11" fmla="*/ 40368327 h 155"/>
                <a:gd name="T12" fmla="*/ 39236781 w 312"/>
                <a:gd name="T13" fmla="*/ 38895098 h 155"/>
                <a:gd name="T14" fmla="*/ 42447213 w 312"/>
                <a:gd name="T15" fmla="*/ 36243393 h 155"/>
                <a:gd name="T16" fmla="*/ 45122150 w 312"/>
                <a:gd name="T17" fmla="*/ 34475410 h 155"/>
                <a:gd name="T18" fmla="*/ 45479006 w 312"/>
                <a:gd name="T19" fmla="*/ 32117917 h 155"/>
                <a:gd name="T20" fmla="*/ 46370933 w 312"/>
                <a:gd name="T21" fmla="*/ 28581950 h 155"/>
                <a:gd name="T22" fmla="*/ 47084222 w 312"/>
                <a:gd name="T23" fmla="*/ 26813966 h 155"/>
                <a:gd name="T24" fmla="*/ 47619294 w 312"/>
                <a:gd name="T25" fmla="*/ 25340737 h 155"/>
                <a:gd name="T26" fmla="*/ 47975727 w 312"/>
                <a:gd name="T27" fmla="*/ 24162262 h 155"/>
                <a:gd name="T28" fmla="*/ 48510799 w 312"/>
                <a:gd name="T29" fmla="*/ 23867508 h 155"/>
                <a:gd name="T30" fmla="*/ 55644951 w 312"/>
                <a:gd name="T31" fmla="*/ 12964852 h 155"/>
                <a:gd name="T32" fmla="*/ 55644951 w 312"/>
                <a:gd name="T33" fmla="*/ 11491622 h 155"/>
                <a:gd name="T34" fmla="*/ 55288095 w 312"/>
                <a:gd name="T35" fmla="*/ 10313147 h 155"/>
                <a:gd name="T36" fmla="*/ 54574807 w 312"/>
                <a:gd name="T37" fmla="*/ 9428884 h 155"/>
                <a:gd name="T38" fmla="*/ 53861518 w 312"/>
                <a:gd name="T39" fmla="*/ 8839918 h 155"/>
                <a:gd name="T40" fmla="*/ 51899447 w 312"/>
                <a:gd name="T41" fmla="*/ 8250409 h 155"/>
                <a:gd name="T42" fmla="*/ 49937798 w 312"/>
                <a:gd name="T43" fmla="*/ 7955655 h 155"/>
                <a:gd name="T44" fmla="*/ 47797510 w 312"/>
                <a:gd name="T45" fmla="*/ 7955655 h 155"/>
                <a:gd name="T46" fmla="*/ 46192294 w 312"/>
                <a:gd name="T47" fmla="*/ 7955655 h 155"/>
                <a:gd name="T48" fmla="*/ 45657222 w 312"/>
                <a:gd name="T49" fmla="*/ 7660901 h 155"/>
                <a:gd name="T50" fmla="*/ 45122150 w 312"/>
                <a:gd name="T51" fmla="*/ 7366689 h 155"/>
                <a:gd name="T52" fmla="*/ 44943934 w 312"/>
                <a:gd name="T53" fmla="*/ 6777180 h 155"/>
                <a:gd name="T54" fmla="*/ 45122150 w 312"/>
                <a:gd name="T55" fmla="*/ 5893460 h 155"/>
                <a:gd name="T56" fmla="*/ 41377069 w 312"/>
                <a:gd name="T57" fmla="*/ 5598705 h 155"/>
                <a:gd name="T58" fmla="*/ 38523492 w 312"/>
                <a:gd name="T59" fmla="*/ 5009197 h 155"/>
                <a:gd name="T60" fmla="*/ 36026349 w 312"/>
                <a:gd name="T61" fmla="*/ 3830722 h 155"/>
                <a:gd name="T62" fmla="*/ 33707845 w 312"/>
                <a:gd name="T63" fmla="*/ 2651704 h 155"/>
                <a:gd name="T64" fmla="*/ 31567979 w 312"/>
                <a:gd name="T65" fmla="*/ 1767984 h 155"/>
                <a:gd name="T66" fmla="*/ 29070836 w 312"/>
                <a:gd name="T67" fmla="*/ 883720 h 155"/>
                <a:gd name="T68" fmla="*/ 26039043 w 312"/>
                <a:gd name="T69" fmla="*/ 294754 h 155"/>
                <a:gd name="T70" fmla="*/ 22472178 w 312"/>
                <a:gd name="T71" fmla="*/ 0 h 155"/>
                <a:gd name="T72" fmla="*/ 19618602 w 312"/>
                <a:gd name="T73" fmla="*/ 294754 h 155"/>
                <a:gd name="T74" fmla="*/ 13197738 w 312"/>
                <a:gd name="T75" fmla="*/ 1178475 h 155"/>
                <a:gd name="T76" fmla="*/ 9452657 w 312"/>
                <a:gd name="T77" fmla="*/ 1767984 h 155"/>
                <a:gd name="T78" fmla="*/ 6064008 w 312"/>
                <a:gd name="T79" fmla="*/ 2357492 h 155"/>
                <a:gd name="T80" fmla="*/ 3210432 w 312"/>
                <a:gd name="T81" fmla="*/ 2946458 h 155"/>
                <a:gd name="T82" fmla="*/ 1248360 w 312"/>
                <a:gd name="T83" fmla="*/ 3535967 h 155"/>
                <a:gd name="T84" fmla="*/ 1605216 w 312"/>
                <a:gd name="T85" fmla="*/ 5009197 h 155"/>
                <a:gd name="T86" fmla="*/ 1961649 w 312"/>
                <a:gd name="T87" fmla="*/ 5598705 h 155"/>
                <a:gd name="T88" fmla="*/ 2318504 w 312"/>
                <a:gd name="T89" fmla="*/ 5598705 h 155"/>
                <a:gd name="T90" fmla="*/ 2675360 w 312"/>
                <a:gd name="T91" fmla="*/ 5893460 h 155"/>
                <a:gd name="T92" fmla="*/ 3210432 w 312"/>
                <a:gd name="T93" fmla="*/ 5893460 h 155"/>
                <a:gd name="T94" fmla="*/ 3388648 w 312"/>
                <a:gd name="T95" fmla="*/ 5893460 h 155"/>
                <a:gd name="T96" fmla="*/ 3566865 w 312"/>
                <a:gd name="T97" fmla="*/ 6482426 h 155"/>
                <a:gd name="T98" fmla="*/ 3566865 w 312"/>
                <a:gd name="T99" fmla="*/ 7660901 h 155"/>
                <a:gd name="T100" fmla="*/ 3566865 w 312"/>
                <a:gd name="T101" fmla="*/ 8839918 h 155"/>
                <a:gd name="T102" fmla="*/ 3388648 w 312"/>
                <a:gd name="T103" fmla="*/ 10313147 h 155"/>
                <a:gd name="T104" fmla="*/ 3210432 w 312"/>
                <a:gd name="T105" fmla="*/ 11491622 h 155"/>
                <a:gd name="T106" fmla="*/ 2675360 w 312"/>
                <a:gd name="T107" fmla="*/ 12375886 h 155"/>
                <a:gd name="T108" fmla="*/ 2140288 w 312"/>
                <a:gd name="T109" fmla="*/ 13259606 h 155"/>
                <a:gd name="T110" fmla="*/ 1605216 w 312"/>
                <a:gd name="T111" fmla="*/ 14143869 h 155"/>
                <a:gd name="T112" fmla="*/ 713289 w 312"/>
                <a:gd name="T113" fmla="*/ 14438081 h 155"/>
                <a:gd name="T114" fmla="*/ 0 w 312"/>
                <a:gd name="T115" fmla="*/ 14732835 h 155"/>
                <a:gd name="T116" fmla="*/ 13197738 w 312"/>
                <a:gd name="T117" fmla="*/ 20036786 h 155"/>
                <a:gd name="T118" fmla="*/ 15516242 w 312"/>
                <a:gd name="T119" fmla="*/ 32707426 h 155"/>
                <a:gd name="T120" fmla="*/ 29605908 w 312"/>
                <a:gd name="T121" fmla="*/ 36243393 h 155"/>
                <a:gd name="T122" fmla="*/ 34242917 w 312"/>
                <a:gd name="T123" fmla="*/ 4567227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3" name="Freeform 473">
              <a:extLst>
                <a:ext uri="{FF2B5EF4-FFF2-40B4-BE49-F238E27FC236}">
                  <a16:creationId xmlns:a16="http://schemas.microsoft.com/office/drawing/2014/main" id="{110F823F-5826-4485-9274-5A1EB7A2E516}"/>
                </a:ext>
              </a:extLst>
            </p:cNvPr>
            <p:cNvSpPr>
              <a:spLocks/>
            </p:cNvSpPr>
            <p:nvPr>
              <p:custDataLst>
                <p:tags r:id="rId311"/>
              </p:custDataLst>
            </p:nvPr>
          </p:nvSpPr>
          <p:spPr bwMode="auto">
            <a:xfrm>
              <a:off x="4140200" y="2425700"/>
              <a:ext cx="19050" cy="60325"/>
            </a:xfrm>
            <a:custGeom>
              <a:avLst/>
              <a:gdLst>
                <a:gd name="T0" fmla="*/ 0 w 46"/>
                <a:gd name="T1" fmla="*/ 36391660 h 50"/>
                <a:gd name="T2" fmla="*/ 342900 w 46"/>
                <a:gd name="T3" fmla="*/ 26201561 h 50"/>
                <a:gd name="T4" fmla="*/ 171450 w 46"/>
                <a:gd name="T5" fmla="*/ 20378992 h 50"/>
                <a:gd name="T6" fmla="*/ 342900 w 46"/>
                <a:gd name="T7" fmla="*/ 18923953 h 50"/>
                <a:gd name="T8" fmla="*/ 514350 w 46"/>
                <a:gd name="T9" fmla="*/ 18923953 h 50"/>
                <a:gd name="T10" fmla="*/ 1029114 w 46"/>
                <a:gd name="T11" fmla="*/ 17467707 h 50"/>
                <a:gd name="T12" fmla="*/ 2229678 w 46"/>
                <a:gd name="T13" fmla="*/ 17467707 h 50"/>
                <a:gd name="T14" fmla="*/ 7889185 w 46"/>
                <a:gd name="T15" fmla="*/ 0 h 50"/>
                <a:gd name="T16" fmla="*/ 7889185 w 46"/>
                <a:gd name="T17" fmla="*/ 72782113 h 50"/>
                <a:gd name="T18" fmla="*/ 6860071 w 46"/>
                <a:gd name="T19" fmla="*/ 71327074 h 50"/>
                <a:gd name="T20" fmla="*/ 5659507 w 46"/>
                <a:gd name="T21" fmla="*/ 65504505 h 50"/>
                <a:gd name="T22" fmla="*/ 4287492 w 46"/>
                <a:gd name="T23" fmla="*/ 59681936 h 50"/>
                <a:gd name="T24" fmla="*/ 2915478 w 46"/>
                <a:gd name="T25" fmla="*/ 53859367 h 50"/>
                <a:gd name="T26" fmla="*/ 857664 w 46"/>
                <a:gd name="T27" fmla="*/ 40757983 h 50"/>
                <a:gd name="T28" fmla="*/ 0 w 46"/>
                <a:gd name="T29" fmla="*/ 36391660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4" name="Freeform 474">
              <a:extLst>
                <a:ext uri="{FF2B5EF4-FFF2-40B4-BE49-F238E27FC236}">
                  <a16:creationId xmlns:a16="http://schemas.microsoft.com/office/drawing/2014/main" id="{91C1F12A-6349-4AEF-877C-F7DD3102FC94}"/>
                </a:ext>
              </a:extLst>
            </p:cNvPr>
            <p:cNvSpPr>
              <a:spLocks/>
            </p:cNvSpPr>
            <p:nvPr>
              <p:custDataLst>
                <p:tags r:id="rId312"/>
              </p:custDataLst>
            </p:nvPr>
          </p:nvSpPr>
          <p:spPr bwMode="auto">
            <a:xfrm>
              <a:off x="4837113" y="4310063"/>
              <a:ext cx="69850" cy="241300"/>
            </a:xfrm>
            <a:custGeom>
              <a:avLst/>
              <a:gdLst>
                <a:gd name="T0" fmla="*/ 1770655 w 166"/>
                <a:gd name="T1" fmla="*/ 78964896 h 456"/>
                <a:gd name="T2" fmla="*/ 3364161 w 166"/>
                <a:gd name="T3" fmla="*/ 81204858 h 456"/>
                <a:gd name="T4" fmla="*/ 6551173 w 166"/>
                <a:gd name="T5" fmla="*/ 84005208 h 456"/>
                <a:gd name="T6" fmla="*/ 10269212 w 166"/>
                <a:gd name="T7" fmla="*/ 85685313 h 456"/>
                <a:gd name="T8" fmla="*/ 12394167 w 166"/>
                <a:gd name="T9" fmla="*/ 87365417 h 456"/>
                <a:gd name="T10" fmla="*/ 14164823 w 166"/>
                <a:gd name="T11" fmla="*/ 89605379 h 456"/>
                <a:gd name="T12" fmla="*/ 15226879 w 166"/>
                <a:gd name="T13" fmla="*/ 92685658 h 456"/>
                <a:gd name="T14" fmla="*/ 15226879 w 166"/>
                <a:gd name="T15" fmla="*/ 97166113 h 456"/>
                <a:gd name="T16" fmla="*/ 13810523 w 166"/>
                <a:gd name="T17" fmla="*/ 101646567 h 456"/>
                <a:gd name="T18" fmla="*/ 12039868 w 166"/>
                <a:gd name="T19" fmla="*/ 105006775 h 456"/>
                <a:gd name="T20" fmla="*/ 10977811 w 166"/>
                <a:gd name="T21" fmla="*/ 108646912 h 456"/>
                <a:gd name="T22" fmla="*/ 10623512 w 166"/>
                <a:gd name="T23" fmla="*/ 112007121 h 456"/>
                <a:gd name="T24" fmla="*/ 11331690 w 166"/>
                <a:gd name="T25" fmla="*/ 115086871 h 456"/>
                <a:gd name="T26" fmla="*/ 13456645 w 166"/>
                <a:gd name="T27" fmla="*/ 118727537 h 456"/>
                <a:gd name="T28" fmla="*/ 18413891 w 166"/>
                <a:gd name="T29" fmla="*/ 124607637 h 456"/>
                <a:gd name="T30" fmla="*/ 21247023 w 166"/>
                <a:gd name="T31" fmla="*/ 124047779 h 456"/>
                <a:gd name="T32" fmla="*/ 21247023 w 166"/>
                <a:gd name="T33" fmla="*/ 118447079 h 456"/>
                <a:gd name="T34" fmla="*/ 23194829 w 166"/>
                <a:gd name="T35" fmla="*/ 115647258 h 456"/>
                <a:gd name="T36" fmla="*/ 25673662 w 166"/>
                <a:gd name="T37" fmla="*/ 113967154 h 456"/>
                <a:gd name="T38" fmla="*/ 27090018 w 166"/>
                <a:gd name="T39" fmla="*/ 112566979 h 456"/>
                <a:gd name="T40" fmla="*/ 28329224 w 166"/>
                <a:gd name="T41" fmla="*/ 110046558 h 456"/>
                <a:gd name="T42" fmla="*/ 29391702 w 166"/>
                <a:gd name="T43" fmla="*/ 105006775 h 456"/>
                <a:gd name="T44" fmla="*/ 29214552 w 166"/>
                <a:gd name="T45" fmla="*/ 98005900 h 456"/>
                <a:gd name="T46" fmla="*/ 27975346 w 166"/>
                <a:gd name="T47" fmla="*/ 91845871 h 456"/>
                <a:gd name="T48" fmla="*/ 26204690 w 166"/>
                <a:gd name="T49" fmla="*/ 85965242 h 456"/>
                <a:gd name="T50" fmla="*/ 24965063 w 166"/>
                <a:gd name="T51" fmla="*/ 79524754 h 456"/>
                <a:gd name="T52" fmla="*/ 23903007 w 166"/>
                <a:gd name="T53" fmla="*/ 75324758 h 456"/>
                <a:gd name="T54" fmla="*/ 20892724 w 166"/>
                <a:gd name="T55" fmla="*/ 70284446 h 456"/>
                <a:gd name="T56" fmla="*/ 17174684 w 166"/>
                <a:gd name="T57" fmla="*/ 62723712 h 456"/>
                <a:gd name="T58" fmla="*/ 15050150 w 166"/>
                <a:gd name="T59" fmla="*/ 57683400 h 456"/>
                <a:gd name="T60" fmla="*/ 14164823 w 166"/>
                <a:gd name="T61" fmla="*/ 54603121 h 456"/>
                <a:gd name="T62" fmla="*/ 14341552 w 166"/>
                <a:gd name="T63" fmla="*/ 49563338 h 456"/>
                <a:gd name="T64" fmla="*/ 15581179 w 166"/>
                <a:gd name="T65" fmla="*/ 41162817 h 456"/>
                <a:gd name="T66" fmla="*/ 16997535 w 166"/>
                <a:gd name="T67" fmla="*/ 36122504 h 456"/>
                <a:gd name="T68" fmla="*/ 17351834 w 166"/>
                <a:gd name="T69" fmla="*/ 31642050 h 456"/>
                <a:gd name="T70" fmla="*/ 16820385 w 166"/>
                <a:gd name="T71" fmla="*/ 22961600 h 456"/>
                <a:gd name="T72" fmla="*/ 16289357 w 166"/>
                <a:gd name="T73" fmla="*/ 12601046 h 456"/>
                <a:gd name="T74" fmla="*/ 15758328 w 166"/>
                <a:gd name="T75" fmla="*/ 5040313 h 456"/>
                <a:gd name="T76" fmla="*/ 12571317 w 166"/>
                <a:gd name="T77" fmla="*/ 2239963 h 456"/>
                <a:gd name="T78" fmla="*/ 5842995 w 166"/>
                <a:gd name="T79" fmla="*/ 1120246 h 456"/>
                <a:gd name="T80" fmla="*/ 2124534 w 166"/>
                <a:gd name="T81" fmla="*/ 2800350 h 456"/>
                <a:gd name="T82" fmla="*/ 3895189 w 166"/>
                <a:gd name="T83" fmla="*/ 7000346 h 456"/>
                <a:gd name="T84" fmla="*/ 5842995 w 166"/>
                <a:gd name="T85" fmla="*/ 8400521 h 456"/>
                <a:gd name="T86" fmla="*/ 7082201 w 166"/>
                <a:gd name="T87" fmla="*/ 12320588 h 456"/>
                <a:gd name="T88" fmla="*/ 7082201 w 166"/>
                <a:gd name="T89" fmla="*/ 17921288 h 456"/>
                <a:gd name="T90" fmla="*/ 7082201 w 166"/>
                <a:gd name="T91" fmla="*/ 21841354 h 456"/>
                <a:gd name="T92" fmla="*/ 6374023 w 166"/>
                <a:gd name="T93" fmla="*/ 23801388 h 456"/>
                <a:gd name="T94" fmla="*/ 5134817 w 166"/>
                <a:gd name="T95" fmla="*/ 26601737 h 456"/>
                <a:gd name="T96" fmla="*/ 2655983 w 166"/>
                <a:gd name="T97" fmla="*/ 30521804 h 456"/>
                <a:gd name="T98" fmla="*/ 531028 w 166"/>
                <a:gd name="T99" fmla="*/ 34161942 h 456"/>
                <a:gd name="T100" fmla="*/ 1239206 w 166"/>
                <a:gd name="T101" fmla="*/ 77564721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US"/>
            </a:p>
          </p:txBody>
        </p:sp>
        <p:sp>
          <p:nvSpPr>
            <p:cNvPr id="325" name="Freeform 475">
              <a:extLst>
                <a:ext uri="{FF2B5EF4-FFF2-40B4-BE49-F238E27FC236}">
                  <a16:creationId xmlns:a16="http://schemas.microsoft.com/office/drawing/2014/main" id="{D2DDDFE7-1CB7-4CBE-B67A-26CD80FB3A93}"/>
                </a:ext>
              </a:extLst>
            </p:cNvPr>
            <p:cNvSpPr>
              <a:spLocks/>
            </p:cNvSpPr>
            <p:nvPr>
              <p:custDataLst>
                <p:tags r:id="rId313"/>
              </p:custDataLst>
            </p:nvPr>
          </p:nvSpPr>
          <p:spPr bwMode="auto">
            <a:xfrm>
              <a:off x="4329113" y="2881313"/>
              <a:ext cx="14287" cy="57150"/>
            </a:xfrm>
            <a:custGeom>
              <a:avLst/>
              <a:gdLst>
                <a:gd name="T0" fmla="*/ 7559940 w 27"/>
                <a:gd name="T1" fmla="*/ 0 h 19"/>
                <a:gd name="T2" fmla="*/ 7559940 w 27"/>
                <a:gd name="T3" fmla="*/ 108569961 h 19"/>
                <a:gd name="T4" fmla="*/ 7559940 w 27"/>
                <a:gd name="T5" fmla="*/ 171901184 h 19"/>
                <a:gd name="T6" fmla="*/ 2519803 w 27"/>
                <a:gd name="T7" fmla="*/ 171901184 h 19"/>
                <a:gd name="T8" fmla="*/ 0 w 27"/>
                <a:gd name="T9" fmla="*/ 171901184 h 19"/>
                <a:gd name="T10" fmla="*/ 2519803 w 27"/>
                <a:gd name="T11" fmla="*/ 108569961 h 19"/>
                <a:gd name="T12" fmla="*/ 7559940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326" name="Freeform 476">
              <a:extLst>
                <a:ext uri="{FF2B5EF4-FFF2-40B4-BE49-F238E27FC236}">
                  <a16:creationId xmlns:a16="http://schemas.microsoft.com/office/drawing/2014/main" id="{2A53B5EE-A9AB-44DF-B3B9-94F393C351BD}"/>
                </a:ext>
              </a:extLst>
            </p:cNvPr>
            <p:cNvSpPr>
              <a:spLocks/>
            </p:cNvSpPr>
            <p:nvPr>
              <p:custDataLst>
                <p:tags r:id="rId314"/>
              </p:custDataLst>
            </p:nvPr>
          </p:nvSpPr>
          <p:spPr bwMode="auto">
            <a:xfrm>
              <a:off x="4648200" y="4502150"/>
              <a:ext cx="188913" cy="217488"/>
            </a:xfrm>
            <a:custGeom>
              <a:avLst/>
              <a:gdLst>
                <a:gd name="T0" fmla="*/ 52831806 w 438"/>
                <a:gd name="T1" fmla="*/ 2295399 h 406"/>
                <a:gd name="T2" fmla="*/ 59528729 w 438"/>
                <a:gd name="T3" fmla="*/ 7747573 h 406"/>
                <a:gd name="T4" fmla="*/ 67527771 w 438"/>
                <a:gd name="T5" fmla="*/ 13486872 h 406"/>
                <a:gd name="T6" fmla="*/ 73480687 w 438"/>
                <a:gd name="T7" fmla="*/ 16643648 h 406"/>
                <a:gd name="T8" fmla="*/ 77387046 w 438"/>
                <a:gd name="T9" fmla="*/ 17504489 h 406"/>
                <a:gd name="T10" fmla="*/ 79061384 w 438"/>
                <a:gd name="T11" fmla="*/ 23243254 h 406"/>
                <a:gd name="T12" fmla="*/ 79805391 w 438"/>
                <a:gd name="T13" fmla="*/ 34434727 h 406"/>
                <a:gd name="T14" fmla="*/ 80735723 w 438"/>
                <a:gd name="T15" fmla="*/ 45051950 h 406"/>
                <a:gd name="T16" fmla="*/ 81479730 w 438"/>
                <a:gd name="T17" fmla="*/ 55956298 h 406"/>
                <a:gd name="T18" fmla="*/ 81479730 w 438"/>
                <a:gd name="T19" fmla="*/ 63990996 h 406"/>
                <a:gd name="T20" fmla="*/ 80921617 w 438"/>
                <a:gd name="T21" fmla="*/ 68008613 h 406"/>
                <a:gd name="T22" fmla="*/ 79061384 w 438"/>
                <a:gd name="T23" fmla="*/ 74321629 h 406"/>
                <a:gd name="T24" fmla="*/ 75712707 w 438"/>
                <a:gd name="T25" fmla="*/ 82356327 h 406"/>
                <a:gd name="T26" fmla="*/ 72736681 w 438"/>
                <a:gd name="T27" fmla="*/ 88095091 h 406"/>
                <a:gd name="T28" fmla="*/ 70876017 w 438"/>
                <a:gd name="T29" fmla="*/ 91825583 h 406"/>
                <a:gd name="T30" fmla="*/ 69573898 w 438"/>
                <a:gd name="T31" fmla="*/ 95269484 h 406"/>
                <a:gd name="T32" fmla="*/ 69202110 w 438"/>
                <a:gd name="T33" fmla="*/ 101008248 h 406"/>
                <a:gd name="T34" fmla="*/ 66783765 w 438"/>
                <a:gd name="T35" fmla="*/ 106747548 h 406"/>
                <a:gd name="T36" fmla="*/ 59714623 w 438"/>
                <a:gd name="T37" fmla="*/ 115069372 h 406"/>
                <a:gd name="T38" fmla="*/ 38135410 w 438"/>
                <a:gd name="T39" fmla="*/ 111338881 h 406"/>
                <a:gd name="T40" fmla="*/ 33856833 w 438"/>
                <a:gd name="T41" fmla="*/ 108756356 h 406"/>
                <a:gd name="T42" fmla="*/ 30694481 w 438"/>
                <a:gd name="T43" fmla="*/ 106173296 h 406"/>
                <a:gd name="T44" fmla="*/ 27903917 w 438"/>
                <a:gd name="T45" fmla="*/ 103017057 h 406"/>
                <a:gd name="T46" fmla="*/ 25857790 w 438"/>
                <a:gd name="T47" fmla="*/ 99286565 h 406"/>
                <a:gd name="T48" fmla="*/ 23067226 w 438"/>
                <a:gd name="T49" fmla="*/ 92399834 h 406"/>
                <a:gd name="T50" fmla="*/ 20090768 w 438"/>
                <a:gd name="T51" fmla="*/ 84938851 h 406"/>
                <a:gd name="T52" fmla="*/ 17486529 w 438"/>
                <a:gd name="T53" fmla="*/ 80060393 h 406"/>
                <a:gd name="T54" fmla="*/ 13393845 w 438"/>
                <a:gd name="T55" fmla="*/ 74321629 h 406"/>
                <a:gd name="T56" fmla="*/ 8185367 w 438"/>
                <a:gd name="T57" fmla="*/ 67147772 h 406"/>
                <a:gd name="T58" fmla="*/ 4464471 w 438"/>
                <a:gd name="T59" fmla="*/ 61121347 h 406"/>
                <a:gd name="T60" fmla="*/ 2418345 w 438"/>
                <a:gd name="T61" fmla="*/ 55956298 h 406"/>
                <a:gd name="T62" fmla="*/ 744007 w 438"/>
                <a:gd name="T63" fmla="*/ 50504124 h 406"/>
                <a:gd name="T64" fmla="*/ 0 w 438"/>
                <a:gd name="T65" fmla="*/ 44191109 h 406"/>
                <a:gd name="T66" fmla="*/ 3348677 w 438"/>
                <a:gd name="T67" fmla="*/ 40460617 h 406"/>
                <a:gd name="T68" fmla="*/ 7440929 w 438"/>
                <a:gd name="T69" fmla="*/ 40460617 h 406"/>
                <a:gd name="T70" fmla="*/ 9859275 w 438"/>
                <a:gd name="T71" fmla="*/ 40460617 h 406"/>
                <a:gd name="T72" fmla="*/ 11719507 w 438"/>
                <a:gd name="T73" fmla="*/ 39599776 h 406"/>
                <a:gd name="T74" fmla="*/ 14324177 w 438"/>
                <a:gd name="T75" fmla="*/ 37590967 h 406"/>
                <a:gd name="T76" fmla="*/ 18416861 w 438"/>
                <a:gd name="T77" fmla="*/ 30991362 h 406"/>
                <a:gd name="T78" fmla="*/ 21765107 w 438"/>
                <a:gd name="T79" fmla="*/ 24964936 h 406"/>
                <a:gd name="T80" fmla="*/ 24183452 w 438"/>
                <a:gd name="T81" fmla="*/ 22956664 h 406"/>
                <a:gd name="T82" fmla="*/ 27903917 w 438"/>
                <a:gd name="T83" fmla="*/ 20373604 h 406"/>
                <a:gd name="T84" fmla="*/ 33298720 w 438"/>
                <a:gd name="T85" fmla="*/ 17217364 h 406"/>
                <a:gd name="T86" fmla="*/ 37763622 w 438"/>
                <a:gd name="T87" fmla="*/ 14347714 h 406"/>
                <a:gd name="T88" fmla="*/ 39251636 w 438"/>
                <a:gd name="T89" fmla="*/ 12338905 h 406"/>
                <a:gd name="T90" fmla="*/ 39065742 w 438"/>
                <a:gd name="T91" fmla="*/ 10904348 h 406"/>
                <a:gd name="T92" fmla="*/ 39251636 w 438"/>
                <a:gd name="T93" fmla="*/ 8608414 h 406"/>
                <a:gd name="T94" fmla="*/ 39623855 w 438"/>
                <a:gd name="T95" fmla="*/ 4878458 h 406"/>
                <a:gd name="T96" fmla="*/ 40367861 w 438"/>
                <a:gd name="T97" fmla="*/ 3443366 h 406"/>
                <a:gd name="T98" fmla="*/ 41855875 w 438"/>
                <a:gd name="T99" fmla="*/ 3443366 h 406"/>
                <a:gd name="T100" fmla="*/ 43158426 w 438"/>
                <a:gd name="T101" fmla="*/ 2582524 h 406"/>
                <a:gd name="T102" fmla="*/ 43902432 w 438"/>
                <a:gd name="T103" fmla="*/ 1147967 h 406"/>
                <a:gd name="T104" fmla="*/ 45390446 w 438"/>
                <a:gd name="T105" fmla="*/ 573716 h 406"/>
                <a:gd name="T106" fmla="*/ 46692565 w 438"/>
                <a:gd name="T107" fmla="*/ 860841 h 406"/>
                <a:gd name="T108" fmla="*/ 49110910 w 438"/>
                <a:gd name="T109" fmla="*/ 28712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US"/>
            </a:p>
          </p:txBody>
        </p:sp>
        <p:sp>
          <p:nvSpPr>
            <p:cNvPr id="327" name="Freeform 477">
              <a:extLst>
                <a:ext uri="{FF2B5EF4-FFF2-40B4-BE49-F238E27FC236}">
                  <a16:creationId xmlns:a16="http://schemas.microsoft.com/office/drawing/2014/main" id="{D6FF3843-2E2E-402E-8939-457DE360BB67}"/>
                </a:ext>
              </a:extLst>
            </p:cNvPr>
            <p:cNvSpPr>
              <a:spLocks/>
            </p:cNvSpPr>
            <p:nvPr>
              <p:custDataLst>
                <p:tags r:id="rId315"/>
              </p:custDataLst>
            </p:nvPr>
          </p:nvSpPr>
          <p:spPr bwMode="auto">
            <a:xfrm>
              <a:off x="4560888" y="4278313"/>
              <a:ext cx="293687" cy="300037"/>
            </a:xfrm>
            <a:custGeom>
              <a:avLst/>
              <a:gdLst>
                <a:gd name="T0" fmla="*/ 96256131 w 678"/>
                <a:gd name="T1" fmla="*/ 2185991 h 574"/>
                <a:gd name="T2" fmla="*/ 103573615 w 678"/>
                <a:gd name="T3" fmla="*/ 7104210 h 574"/>
                <a:gd name="T4" fmla="*/ 121023735 w 678"/>
                <a:gd name="T5" fmla="*/ 17213504 h 574"/>
                <a:gd name="T6" fmla="*/ 123838018 w 678"/>
                <a:gd name="T7" fmla="*/ 24044334 h 574"/>
                <a:gd name="T8" fmla="*/ 127215419 w 678"/>
                <a:gd name="T9" fmla="*/ 25683566 h 574"/>
                <a:gd name="T10" fmla="*/ 127215419 w 678"/>
                <a:gd name="T11" fmla="*/ 34700388 h 574"/>
                <a:gd name="T12" fmla="*/ 127027858 w 678"/>
                <a:gd name="T13" fmla="*/ 39345227 h 574"/>
                <a:gd name="T14" fmla="*/ 125151380 w 678"/>
                <a:gd name="T15" fmla="*/ 43170450 h 574"/>
                <a:gd name="T16" fmla="*/ 121398857 w 678"/>
                <a:gd name="T17" fmla="*/ 48634905 h 574"/>
                <a:gd name="T18" fmla="*/ 119709940 w 678"/>
                <a:gd name="T19" fmla="*/ 94537583 h 574"/>
                <a:gd name="T20" fmla="*/ 86499052 w 678"/>
                <a:gd name="T21" fmla="*/ 106013252 h 574"/>
                <a:gd name="T22" fmla="*/ 86499052 w 678"/>
                <a:gd name="T23" fmla="*/ 113390319 h 574"/>
                <a:gd name="T24" fmla="*/ 85373252 w 678"/>
                <a:gd name="T25" fmla="*/ 118855297 h 574"/>
                <a:gd name="T26" fmla="*/ 83309212 w 678"/>
                <a:gd name="T27" fmla="*/ 118855297 h 574"/>
                <a:gd name="T28" fmla="*/ 81432734 w 678"/>
                <a:gd name="T29" fmla="*/ 120221149 h 574"/>
                <a:gd name="T30" fmla="*/ 79744251 w 678"/>
                <a:gd name="T31" fmla="*/ 121587525 h 574"/>
                <a:gd name="T32" fmla="*/ 77680212 w 678"/>
                <a:gd name="T33" fmla="*/ 122133761 h 574"/>
                <a:gd name="T34" fmla="*/ 77117528 w 678"/>
                <a:gd name="T35" fmla="*/ 126505743 h 574"/>
                <a:gd name="T36" fmla="*/ 76929534 w 678"/>
                <a:gd name="T37" fmla="*/ 129511350 h 574"/>
                <a:gd name="T38" fmla="*/ 75616172 w 678"/>
                <a:gd name="T39" fmla="*/ 131970198 h 574"/>
                <a:gd name="T40" fmla="*/ 68486249 w 678"/>
                <a:gd name="T41" fmla="*/ 136068801 h 574"/>
                <a:gd name="T42" fmla="*/ 61919009 w 678"/>
                <a:gd name="T43" fmla="*/ 140166881 h 574"/>
                <a:gd name="T44" fmla="*/ 58729170 w 678"/>
                <a:gd name="T45" fmla="*/ 143445868 h 574"/>
                <a:gd name="T46" fmla="*/ 51974369 w 678"/>
                <a:gd name="T47" fmla="*/ 154101921 h 574"/>
                <a:gd name="T48" fmla="*/ 48409407 w 678"/>
                <a:gd name="T49" fmla="*/ 156560769 h 574"/>
                <a:gd name="T50" fmla="*/ 44656884 w 678"/>
                <a:gd name="T51" fmla="*/ 156834149 h 574"/>
                <a:gd name="T52" fmla="*/ 36213167 w 678"/>
                <a:gd name="T53" fmla="*/ 156834149 h 574"/>
                <a:gd name="T54" fmla="*/ 34899805 w 678"/>
                <a:gd name="T55" fmla="*/ 152735546 h 574"/>
                <a:gd name="T56" fmla="*/ 30959721 w 678"/>
                <a:gd name="T57" fmla="*/ 149457082 h 574"/>
                <a:gd name="T58" fmla="*/ 24955165 w 678"/>
                <a:gd name="T59" fmla="*/ 148910323 h 574"/>
                <a:gd name="T60" fmla="*/ 17450119 w 678"/>
                <a:gd name="T61" fmla="*/ 151915930 h 574"/>
                <a:gd name="T62" fmla="*/ 6192118 w 678"/>
                <a:gd name="T63" fmla="*/ 143992104 h 574"/>
                <a:gd name="T64" fmla="*/ 0 w 678"/>
                <a:gd name="T65" fmla="*/ 77870838 h 574"/>
                <a:gd name="T66" fmla="*/ 13697163 w 678"/>
                <a:gd name="T67" fmla="*/ 78143695 h 574"/>
                <a:gd name="T68" fmla="*/ 19326164 w 678"/>
                <a:gd name="T69" fmla="*/ 77050699 h 574"/>
                <a:gd name="T70" fmla="*/ 22328442 w 678"/>
                <a:gd name="T71" fmla="*/ 75138088 h 574"/>
                <a:gd name="T72" fmla="*/ 24204920 w 678"/>
                <a:gd name="T73" fmla="*/ 69947012 h 574"/>
                <a:gd name="T74" fmla="*/ 24580043 w 678"/>
                <a:gd name="T75" fmla="*/ 62569945 h 574"/>
                <a:gd name="T76" fmla="*/ 23641804 w 678"/>
                <a:gd name="T77" fmla="*/ 50547517 h 574"/>
                <a:gd name="T78" fmla="*/ 24392481 w 678"/>
                <a:gd name="T79" fmla="*/ 45083062 h 574"/>
                <a:gd name="T80" fmla="*/ 26268526 w 678"/>
                <a:gd name="T81" fmla="*/ 46722294 h 574"/>
                <a:gd name="T82" fmla="*/ 32648205 w 678"/>
                <a:gd name="T83" fmla="*/ 47815289 h 574"/>
                <a:gd name="T84" fmla="*/ 35274928 w 678"/>
                <a:gd name="T85" fmla="*/ 50820896 h 574"/>
                <a:gd name="T86" fmla="*/ 36588722 w 678"/>
                <a:gd name="T87" fmla="*/ 54919499 h 574"/>
                <a:gd name="T88" fmla="*/ 39027884 w 678"/>
                <a:gd name="T89" fmla="*/ 57378347 h 574"/>
                <a:gd name="T90" fmla="*/ 45219568 w 678"/>
                <a:gd name="T91" fmla="*/ 59290959 h 574"/>
                <a:gd name="T92" fmla="*/ 50473446 w 678"/>
                <a:gd name="T93" fmla="*/ 58471343 h 574"/>
                <a:gd name="T94" fmla="*/ 56477570 w 678"/>
                <a:gd name="T95" fmla="*/ 54372740 h 574"/>
                <a:gd name="T96" fmla="*/ 59854970 w 678"/>
                <a:gd name="T97" fmla="*/ 53553124 h 574"/>
                <a:gd name="T98" fmla="*/ 62106570 w 678"/>
                <a:gd name="T99" fmla="*/ 52733508 h 574"/>
                <a:gd name="T100" fmla="*/ 64358171 w 678"/>
                <a:gd name="T101" fmla="*/ 51913892 h 574"/>
                <a:gd name="T102" fmla="*/ 66985327 w 678"/>
                <a:gd name="T103" fmla="*/ 49727901 h 574"/>
                <a:gd name="T104" fmla="*/ 69048933 w 678"/>
                <a:gd name="T105" fmla="*/ 45902678 h 574"/>
                <a:gd name="T106" fmla="*/ 71863650 w 678"/>
                <a:gd name="T107" fmla="*/ 34427008 h 574"/>
                <a:gd name="T108" fmla="*/ 75616172 w 678"/>
                <a:gd name="T109" fmla="*/ 12842045 h 574"/>
                <a:gd name="T110" fmla="*/ 77680212 w 678"/>
                <a:gd name="T111" fmla="*/ 2732228 h 574"/>
                <a:gd name="T112" fmla="*/ 80870051 w 678"/>
                <a:gd name="T113" fmla="*/ 1639232 h 574"/>
                <a:gd name="T114" fmla="*/ 84998129 w 678"/>
                <a:gd name="T115" fmla="*/ 2185991 h 574"/>
                <a:gd name="T116" fmla="*/ 90439136 w 678"/>
                <a:gd name="T117" fmla="*/ 273380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US"/>
            </a:p>
          </p:txBody>
        </p:sp>
        <p:sp>
          <p:nvSpPr>
            <p:cNvPr id="328" name="Freeform 478">
              <a:extLst>
                <a:ext uri="{FF2B5EF4-FFF2-40B4-BE49-F238E27FC236}">
                  <a16:creationId xmlns:a16="http://schemas.microsoft.com/office/drawing/2014/main" id="{49BCA4D2-5F06-4ADD-BB0E-7DC8A1ACD6C0}"/>
                </a:ext>
              </a:extLst>
            </p:cNvPr>
            <p:cNvSpPr>
              <a:spLocks/>
            </p:cNvSpPr>
            <p:nvPr>
              <p:custDataLst>
                <p:tags r:id="rId316"/>
              </p:custDataLst>
            </p:nvPr>
          </p:nvSpPr>
          <p:spPr bwMode="auto">
            <a:xfrm>
              <a:off x="4297363" y="4551363"/>
              <a:ext cx="350837" cy="381000"/>
            </a:xfrm>
            <a:custGeom>
              <a:avLst/>
              <a:gdLst>
                <a:gd name="T0" fmla="*/ 149519799 w 810"/>
                <a:gd name="T1" fmla="*/ 11535338 h 727"/>
                <a:gd name="T2" fmla="*/ 143704135 w 810"/>
                <a:gd name="T3" fmla="*/ 7140999 h 727"/>
                <a:gd name="T4" fmla="*/ 134699318 w 810"/>
                <a:gd name="T5" fmla="*/ 9063293 h 727"/>
                <a:gd name="T6" fmla="*/ 118940673 w 810"/>
                <a:gd name="T7" fmla="*/ 12084565 h 727"/>
                <a:gd name="T8" fmla="*/ 113312555 w 810"/>
                <a:gd name="T9" fmla="*/ 15105838 h 727"/>
                <a:gd name="T10" fmla="*/ 52528962 w 810"/>
                <a:gd name="T11" fmla="*/ 10986111 h 727"/>
                <a:gd name="T12" fmla="*/ 43524145 w 810"/>
                <a:gd name="T13" fmla="*/ 10162271 h 727"/>
                <a:gd name="T14" fmla="*/ 32267908 w 810"/>
                <a:gd name="T15" fmla="*/ 4668953 h 727"/>
                <a:gd name="T16" fmla="*/ 21761856 w 810"/>
                <a:gd name="T17" fmla="*/ 0 h 727"/>
                <a:gd name="T18" fmla="*/ 15571099 w 810"/>
                <a:gd name="T19" fmla="*/ 1373067 h 727"/>
                <a:gd name="T20" fmla="*/ 9942980 w 810"/>
                <a:gd name="T21" fmla="*/ 6591772 h 727"/>
                <a:gd name="T22" fmla="*/ 0 w 810"/>
                <a:gd name="T23" fmla="*/ 15105838 h 727"/>
                <a:gd name="T24" fmla="*/ 1313257 w 810"/>
                <a:gd name="T25" fmla="*/ 18676337 h 727"/>
                <a:gd name="T26" fmla="*/ 4877501 w 810"/>
                <a:gd name="T27" fmla="*/ 20324018 h 727"/>
                <a:gd name="T28" fmla="*/ 6753829 w 810"/>
                <a:gd name="T29" fmla="*/ 35429856 h 727"/>
                <a:gd name="T30" fmla="*/ 11256237 w 810"/>
                <a:gd name="T31" fmla="*/ 52733125 h 727"/>
                <a:gd name="T32" fmla="*/ 20448600 w 810"/>
                <a:gd name="T33" fmla="*/ 75803802 h 727"/>
                <a:gd name="T34" fmla="*/ 24951441 w 810"/>
                <a:gd name="T35" fmla="*/ 82395050 h 727"/>
                <a:gd name="T36" fmla="*/ 29828941 w 810"/>
                <a:gd name="T37" fmla="*/ 82944801 h 727"/>
                <a:gd name="T38" fmla="*/ 29828941 w 810"/>
                <a:gd name="T39" fmla="*/ 91184253 h 727"/>
                <a:gd name="T40" fmla="*/ 28515685 w 810"/>
                <a:gd name="T41" fmla="*/ 98599865 h 727"/>
                <a:gd name="T42" fmla="*/ 27389975 w 810"/>
                <a:gd name="T43" fmla="*/ 108212385 h 727"/>
                <a:gd name="T44" fmla="*/ 28140592 w 810"/>
                <a:gd name="T45" fmla="*/ 116726451 h 727"/>
                <a:gd name="T46" fmla="*/ 32455454 w 810"/>
                <a:gd name="T47" fmla="*/ 132931267 h 727"/>
                <a:gd name="T48" fmla="*/ 33581165 w 810"/>
                <a:gd name="T49" fmla="*/ 142269173 h 727"/>
                <a:gd name="T50" fmla="*/ 35081967 w 810"/>
                <a:gd name="T51" fmla="*/ 166438304 h 727"/>
                <a:gd name="T52" fmla="*/ 38271119 w 810"/>
                <a:gd name="T53" fmla="*/ 177699029 h 727"/>
                <a:gd name="T54" fmla="*/ 43336599 w 810"/>
                <a:gd name="T55" fmla="*/ 189508981 h 727"/>
                <a:gd name="T56" fmla="*/ 45962679 w 810"/>
                <a:gd name="T57" fmla="*/ 192255640 h 727"/>
                <a:gd name="T58" fmla="*/ 48589192 w 810"/>
                <a:gd name="T59" fmla="*/ 196375366 h 727"/>
                <a:gd name="T60" fmla="*/ 49714902 w 810"/>
                <a:gd name="T61" fmla="*/ 186213095 h 727"/>
                <a:gd name="T62" fmla="*/ 57781988 w 810"/>
                <a:gd name="T63" fmla="*/ 191157186 h 727"/>
                <a:gd name="T64" fmla="*/ 61533778 w 810"/>
                <a:gd name="T65" fmla="*/ 195826139 h 727"/>
                <a:gd name="T66" fmla="*/ 69788409 w 810"/>
                <a:gd name="T67" fmla="*/ 199396638 h 727"/>
                <a:gd name="T68" fmla="*/ 76354692 w 810"/>
                <a:gd name="T69" fmla="*/ 198572798 h 727"/>
                <a:gd name="T70" fmla="*/ 80482008 w 810"/>
                <a:gd name="T71" fmla="*/ 195002298 h 727"/>
                <a:gd name="T72" fmla="*/ 84796870 w 810"/>
                <a:gd name="T73" fmla="*/ 185389254 h 727"/>
                <a:gd name="T74" fmla="*/ 86860311 w 810"/>
                <a:gd name="T75" fmla="*/ 145290446 h 727"/>
                <a:gd name="T76" fmla="*/ 87235403 w 810"/>
                <a:gd name="T77" fmla="*/ 131832289 h 727"/>
                <a:gd name="T78" fmla="*/ 88361114 w 810"/>
                <a:gd name="T79" fmla="*/ 128811541 h 727"/>
                <a:gd name="T80" fmla="*/ 86860311 w 810"/>
                <a:gd name="T81" fmla="*/ 117001065 h 727"/>
                <a:gd name="T82" fmla="*/ 87986021 w 810"/>
                <a:gd name="T83" fmla="*/ 101071387 h 727"/>
                <a:gd name="T84" fmla="*/ 93801686 w 810"/>
                <a:gd name="T85" fmla="*/ 90635026 h 727"/>
                <a:gd name="T86" fmla="*/ 98491640 w 810"/>
                <a:gd name="T87" fmla="*/ 87888367 h 727"/>
                <a:gd name="T88" fmla="*/ 100930607 w 810"/>
                <a:gd name="T89" fmla="*/ 63719237 h 727"/>
                <a:gd name="T90" fmla="*/ 103369574 w 810"/>
                <a:gd name="T91" fmla="*/ 40648560 h 727"/>
                <a:gd name="T92" fmla="*/ 101493246 w 810"/>
                <a:gd name="T93" fmla="*/ 34056788 h 727"/>
                <a:gd name="T94" fmla="*/ 99617351 w 810"/>
                <a:gd name="T95" fmla="*/ 27190403 h 727"/>
                <a:gd name="T96" fmla="*/ 101118154 w 810"/>
                <a:gd name="T97" fmla="*/ 23619904 h 727"/>
                <a:gd name="T98" fmla="*/ 115751521 w 810"/>
                <a:gd name="T99" fmla="*/ 21972223 h 727"/>
                <a:gd name="T100" fmla="*/ 132823423 w 810"/>
                <a:gd name="T101" fmla="*/ 17303270 h 727"/>
                <a:gd name="T102" fmla="*/ 150645510 w 810"/>
                <a:gd name="T103" fmla="*/ 16753519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US"/>
            </a:p>
          </p:txBody>
        </p:sp>
        <p:sp>
          <p:nvSpPr>
            <p:cNvPr id="329" name="Freeform 479">
              <a:extLst>
                <a:ext uri="{FF2B5EF4-FFF2-40B4-BE49-F238E27FC236}">
                  <a16:creationId xmlns:a16="http://schemas.microsoft.com/office/drawing/2014/main" id="{3C04DD24-2B32-4AD6-B334-8BD177B5F38A}"/>
                </a:ext>
              </a:extLst>
            </p:cNvPr>
            <p:cNvSpPr>
              <a:spLocks/>
            </p:cNvSpPr>
            <p:nvPr>
              <p:custDataLst>
                <p:tags r:id="rId317"/>
              </p:custDataLst>
            </p:nvPr>
          </p:nvSpPr>
          <p:spPr bwMode="auto">
            <a:xfrm>
              <a:off x="3576638" y="3481388"/>
              <a:ext cx="161925" cy="141287"/>
            </a:xfrm>
            <a:custGeom>
              <a:avLst/>
              <a:gdLst>
                <a:gd name="T0" fmla="*/ 39951999 w 365"/>
                <a:gd name="T1" fmla="*/ 67953272 h 271"/>
                <a:gd name="T2" fmla="*/ 32079782 w 365"/>
                <a:gd name="T3" fmla="*/ 66866240 h 271"/>
                <a:gd name="T4" fmla="*/ 23813622 w 365"/>
                <a:gd name="T5" fmla="*/ 67137868 h 271"/>
                <a:gd name="T6" fmla="*/ 18106320 w 365"/>
                <a:gd name="T7" fmla="*/ 67953272 h 271"/>
                <a:gd name="T8" fmla="*/ 14563934 w 365"/>
                <a:gd name="T9" fmla="*/ 69312452 h 271"/>
                <a:gd name="T10" fmla="*/ 5116830 w 365"/>
                <a:gd name="T11" fmla="*/ 73661620 h 271"/>
                <a:gd name="T12" fmla="*/ 3936330 w 365"/>
                <a:gd name="T13" fmla="*/ 73389992 h 271"/>
                <a:gd name="T14" fmla="*/ 3345858 w 365"/>
                <a:gd name="T15" fmla="*/ 72302440 h 271"/>
                <a:gd name="T16" fmla="*/ 3542387 w 365"/>
                <a:gd name="T17" fmla="*/ 69040824 h 271"/>
                <a:gd name="T18" fmla="*/ 5116830 w 365"/>
                <a:gd name="T19" fmla="*/ 61973818 h 271"/>
                <a:gd name="T20" fmla="*/ 12005075 w 365"/>
                <a:gd name="T21" fmla="*/ 61430041 h 271"/>
                <a:gd name="T22" fmla="*/ 17515849 w 365"/>
                <a:gd name="T23" fmla="*/ 60342489 h 271"/>
                <a:gd name="T24" fmla="*/ 22632679 w 365"/>
                <a:gd name="T25" fmla="*/ 59255457 h 271"/>
                <a:gd name="T26" fmla="*/ 28733924 w 365"/>
                <a:gd name="T27" fmla="*/ 58711681 h 271"/>
                <a:gd name="T28" fmla="*/ 35819141 w 365"/>
                <a:gd name="T29" fmla="*/ 59255457 h 271"/>
                <a:gd name="T30" fmla="*/ 39164556 w 365"/>
                <a:gd name="T31" fmla="*/ 59255457 h 271"/>
                <a:gd name="T32" fmla="*/ 43100886 w 365"/>
                <a:gd name="T33" fmla="*/ 58711681 h 271"/>
                <a:gd name="T34" fmla="*/ 42313442 w 365"/>
                <a:gd name="T35" fmla="*/ 56537097 h 271"/>
                <a:gd name="T36" fmla="*/ 41329471 w 365"/>
                <a:gd name="T37" fmla="*/ 54634662 h 271"/>
                <a:gd name="T38" fmla="*/ 38377556 w 365"/>
                <a:gd name="T39" fmla="*/ 52731705 h 271"/>
                <a:gd name="T40" fmla="*/ 34441226 w 365"/>
                <a:gd name="T41" fmla="*/ 51916302 h 271"/>
                <a:gd name="T42" fmla="*/ 29914867 w 365"/>
                <a:gd name="T43" fmla="*/ 51644674 h 271"/>
                <a:gd name="T44" fmla="*/ 18303292 w 365"/>
                <a:gd name="T45" fmla="*/ 52188451 h 271"/>
                <a:gd name="T46" fmla="*/ 12595547 w 365"/>
                <a:gd name="T47" fmla="*/ 53275482 h 271"/>
                <a:gd name="T48" fmla="*/ 6494745 w 365"/>
                <a:gd name="T49" fmla="*/ 55178438 h 271"/>
                <a:gd name="T50" fmla="*/ 7478717 w 365"/>
                <a:gd name="T51" fmla="*/ 49742239 h 271"/>
                <a:gd name="T52" fmla="*/ 7675689 w 365"/>
                <a:gd name="T53" fmla="*/ 46752251 h 271"/>
                <a:gd name="T54" fmla="*/ 5116830 w 365"/>
                <a:gd name="T55" fmla="*/ 44577667 h 271"/>
                <a:gd name="T56" fmla="*/ 2558415 w 365"/>
                <a:gd name="T57" fmla="*/ 43490115 h 271"/>
                <a:gd name="T58" fmla="*/ 2164915 w 365"/>
                <a:gd name="T59" fmla="*/ 39956872 h 271"/>
                <a:gd name="T60" fmla="*/ 1180943 w 365"/>
                <a:gd name="T61" fmla="*/ 38869319 h 271"/>
                <a:gd name="T62" fmla="*/ 393500 w 365"/>
                <a:gd name="T63" fmla="*/ 38325543 h 271"/>
                <a:gd name="T64" fmla="*/ 0 w 365"/>
                <a:gd name="T65" fmla="*/ 36694735 h 271"/>
                <a:gd name="T66" fmla="*/ 983972 w 365"/>
                <a:gd name="T67" fmla="*/ 31258536 h 271"/>
                <a:gd name="T68" fmla="*/ 3345858 w 365"/>
                <a:gd name="T69" fmla="*/ 25006933 h 271"/>
                <a:gd name="T70" fmla="*/ 5904273 w 365"/>
                <a:gd name="T71" fmla="*/ 18755330 h 271"/>
                <a:gd name="T72" fmla="*/ 7675689 w 365"/>
                <a:gd name="T73" fmla="*/ 13319131 h 271"/>
                <a:gd name="T74" fmla="*/ 9446660 w 365"/>
                <a:gd name="T75" fmla="*/ 11416175 h 271"/>
                <a:gd name="T76" fmla="*/ 9643632 w 365"/>
                <a:gd name="T77" fmla="*/ 13046982 h 271"/>
                <a:gd name="T78" fmla="*/ 10234104 w 365"/>
                <a:gd name="T79" fmla="*/ 9785367 h 271"/>
                <a:gd name="T80" fmla="*/ 14760462 w 365"/>
                <a:gd name="T81" fmla="*/ 8426187 h 271"/>
                <a:gd name="T82" fmla="*/ 22436151 w 365"/>
                <a:gd name="T83" fmla="*/ 4892423 h 271"/>
                <a:gd name="T84" fmla="*/ 32473282 w 365"/>
                <a:gd name="T85" fmla="*/ 0 h 271"/>
                <a:gd name="T86" fmla="*/ 36212641 w 365"/>
                <a:gd name="T87" fmla="*/ 4077019 h 271"/>
                <a:gd name="T88" fmla="*/ 39755027 w 365"/>
                <a:gd name="T89" fmla="*/ 6523752 h 271"/>
                <a:gd name="T90" fmla="*/ 43297858 w 365"/>
                <a:gd name="T91" fmla="*/ 7882411 h 271"/>
                <a:gd name="T92" fmla="*/ 47037216 w 365"/>
                <a:gd name="T93" fmla="*/ 8154559 h 271"/>
                <a:gd name="T94" fmla="*/ 47430716 w 365"/>
                <a:gd name="T95" fmla="*/ 14134535 h 271"/>
                <a:gd name="T96" fmla="*/ 48611660 w 365"/>
                <a:gd name="T97" fmla="*/ 18755330 h 271"/>
                <a:gd name="T98" fmla="*/ 49989131 w 365"/>
                <a:gd name="T99" fmla="*/ 22832349 h 271"/>
                <a:gd name="T100" fmla="*/ 51957074 w 365"/>
                <a:gd name="T101" fmla="*/ 25822337 h 271"/>
                <a:gd name="T102" fmla="*/ 60026263 w 365"/>
                <a:gd name="T103" fmla="*/ 35063928 h 271"/>
                <a:gd name="T104" fmla="*/ 69276395 w 365"/>
                <a:gd name="T105" fmla="*/ 63604625 h 271"/>
                <a:gd name="T106" fmla="*/ 70653867 w 365"/>
                <a:gd name="T107" fmla="*/ 69856228 h 271"/>
                <a:gd name="T108" fmla="*/ 71834810 w 365"/>
                <a:gd name="T109" fmla="*/ 73661620 h 271"/>
                <a:gd name="T110" fmla="*/ 63175150 w 365"/>
                <a:gd name="T111" fmla="*/ 70400004 h 271"/>
                <a:gd name="T112" fmla="*/ 54121989 w 365"/>
                <a:gd name="T113" fmla="*/ 68497048 h 271"/>
                <a:gd name="T114" fmla="*/ 48808188 w 365"/>
                <a:gd name="T115" fmla="*/ 68225421 h 271"/>
                <a:gd name="T116" fmla="*/ 43100886 w 365"/>
                <a:gd name="T117" fmla="*/ 68497048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US"/>
            </a:p>
          </p:txBody>
        </p:sp>
        <p:sp>
          <p:nvSpPr>
            <p:cNvPr id="330" name="Freeform 480">
              <a:extLst>
                <a:ext uri="{FF2B5EF4-FFF2-40B4-BE49-F238E27FC236}">
                  <a16:creationId xmlns:a16="http://schemas.microsoft.com/office/drawing/2014/main" id="{B69615D0-AF1A-4D2A-97A2-6A77A868ECF5}"/>
                </a:ext>
              </a:extLst>
            </p:cNvPr>
            <p:cNvSpPr>
              <a:spLocks/>
            </p:cNvSpPr>
            <p:nvPr>
              <p:custDataLst>
                <p:tags r:id="rId318"/>
              </p:custDataLst>
            </p:nvPr>
          </p:nvSpPr>
          <p:spPr bwMode="auto">
            <a:xfrm>
              <a:off x="4749800" y="4043363"/>
              <a:ext cx="269875" cy="334962"/>
            </a:xfrm>
            <a:custGeom>
              <a:avLst/>
              <a:gdLst>
                <a:gd name="T0" fmla="*/ 27309274 w 624"/>
                <a:gd name="T1" fmla="*/ 3287348 h 640"/>
                <a:gd name="T2" fmla="*/ 44704967 w 624"/>
                <a:gd name="T3" fmla="*/ 3287348 h 640"/>
                <a:gd name="T4" fmla="*/ 53683068 w 624"/>
                <a:gd name="T5" fmla="*/ 1369685 h 640"/>
                <a:gd name="T6" fmla="*/ 60977910 w 624"/>
                <a:gd name="T7" fmla="*/ 6026194 h 640"/>
                <a:gd name="T8" fmla="*/ 74071605 w 624"/>
                <a:gd name="T9" fmla="*/ 18079105 h 640"/>
                <a:gd name="T10" fmla="*/ 86978031 w 624"/>
                <a:gd name="T11" fmla="*/ 30405743 h 640"/>
                <a:gd name="T12" fmla="*/ 87726242 w 624"/>
                <a:gd name="T13" fmla="*/ 35884482 h 640"/>
                <a:gd name="T14" fmla="*/ 89783607 w 624"/>
                <a:gd name="T15" fmla="*/ 41910675 h 640"/>
                <a:gd name="T16" fmla="*/ 92963720 w 624"/>
                <a:gd name="T17" fmla="*/ 46567708 h 640"/>
                <a:gd name="T18" fmla="*/ 97078449 w 624"/>
                <a:gd name="T19" fmla="*/ 50128260 h 640"/>
                <a:gd name="T20" fmla="*/ 101567716 w 624"/>
                <a:gd name="T21" fmla="*/ 52045923 h 640"/>
                <a:gd name="T22" fmla="*/ 103625513 w 624"/>
                <a:gd name="T23" fmla="*/ 53415608 h 640"/>
                <a:gd name="T24" fmla="*/ 105682877 w 624"/>
                <a:gd name="T25" fmla="*/ 56154977 h 640"/>
                <a:gd name="T26" fmla="*/ 104934666 w 624"/>
                <a:gd name="T27" fmla="*/ 62181171 h 640"/>
                <a:gd name="T28" fmla="*/ 100445399 w 624"/>
                <a:gd name="T29" fmla="*/ 69029594 h 640"/>
                <a:gd name="T30" fmla="*/ 98200766 w 624"/>
                <a:gd name="T31" fmla="*/ 74234081 h 640"/>
                <a:gd name="T32" fmla="*/ 99697188 w 624"/>
                <a:gd name="T33" fmla="*/ 78616863 h 640"/>
                <a:gd name="T34" fmla="*/ 102315927 w 624"/>
                <a:gd name="T35" fmla="*/ 81904211 h 640"/>
                <a:gd name="T36" fmla="*/ 103251407 w 624"/>
                <a:gd name="T37" fmla="*/ 116418484 h 640"/>
                <a:gd name="T38" fmla="*/ 102877301 w 624"/>
                <a:gd name="T39" fmla="*/ 120253811 h 640"/>
                <a:gd name="T40" fmla="*/ 104373724 w 624"/>
                <a:gd name="T41" fmla="*/ 126553732 h 640"/>
                <a:gd name="T42" fmla="*/ 104373724 w 624"/>
                <a:gd name="T43" fmla="*/ 133950134 h 640"/>
                <a:gd name="T44" fmla="*/ 104934666 w 624"/>
                <a:gd name="T45" fmla="*/ 141072284 h 640"/>
                <a:gd name="T46" fmla="*/ 111107192 w 624"/>
                <a:gd name="T47" fmla="*/ 150385303 h 640"/>
                <a:gd name="T48" fmla="*/ 115222353 w 624"/>
                <a:gd name="T49" fmla="*/ 158603410 h 640"/>
                <a:gd name="T50" fmla="*/ 107553405 w 624"/>
                <a:gd name="T51" fmla="*/ 164355877 h 640"/>
                <a:gd name="T52" fmla="*/ 91841403 w 624"/>
                <a:gd name="T53" fmla="*/ 172847712 h 640"/>
                <a:gd name="T54" fmla="*/ 82862870 w 624"/>
                <a:gd name="T55" fmla="*/ 174764852 h 640"/>
                <a:gd name="T56" fmla="*/ 73323394 w 624"/>
                <a:gd name="T57" fmla="*/ 172025482 h 640"/>
                <a:gd name="T58" fmla="*/ 63409813 w 624"/>
                <a:gd name="T59" fmla="*/ 173395167 h 640"/>
                <a:gd name="T60" fmla="*/ 57237287 w 624"/>
                <a:gd name="T61" fmla="*/ 172025482 h 640"/>
                <a:gd name="T62" fmla="*/ 55927701 w 624"/>
                <a:gd name="T63" fmla="*/ 168190679 h 640"/>
                <a:gd name="T64" fmla="*/ 54992654 w 624"/>
                <a:gd name="T65" fmla="*/ 156959998 h 640"/>
                <a:gd name="T66" fmla="*/ 53870337 w 624"/>
                <a:gd name="T67" fmla="*/ 144907087 h 640"/>
                <a:gd name="T68" fmla="*/ 47323273 w 624"/>
                <a:gd name="T69" fmla="*/ 141619740 h 640"/>
                <a:gd name="T70" fmla="*/ 34604116 w 624"/>
                <a:gd name="T71" fmla="*/ 137511209 h 640"/>
                <a:gd name="T72" fmla="*/ 16834318 w 624"/>
                <a:gd name="T73" fmla="*/ 125732026 h 640"/>
                <a:gd name="T74" fmla="*/ 12719157 w 624"/>
                <a:gd name="T75" fmla="*/ 122170950 h 640"/>
                <a:gd name="T76" fmla="*/ 12345051 w 624"/>
                <a:gd name="T77" fmla="*/ 117240714 h 640"/>
                <a:gd name="T78" fmla="*/ 12158215 w 624"/>
                <a:gd name="T79" fmla="*/ 110118563 h 640"/>
                <a:gd name="T80" fmla="*/ 9913581 w 624"/>
                <a:gd name="T81" fmla="*/ 103270140 h 640"/>
                <a:gd name="T82" fmla="*/ 7668948 w 624"/>
                <a:gd name="T83" fmla="*/ 97791924 h 640"/>
                <a:gd name="T84" fmla="*/ 5050209 w 624"/>
                <a:gd name="T85" fmla="*/ 95052555 h 640"/>
                <a:gd name="T86" fmla="*/ 2244633 w 624"/>
                <a:gd name="T87" fmla="*/ 90943501 h 640"/>
                <a:gd name="T88" fmla="*/ 935048 w 624"/>
                <a:gd name="T89" fmla="*/ 84369329 h 640"/>
                <a:gd name="T90" fmla="*/ 0 w 624"/>
                <a:gd name="T91" fmla="*/ 71768440 h 640"/>
                <a:gd name="T92" fmla="*/ 0 w 624"/>
                <a:gd name="T93" fmla="*/ 64098834 h 640"/>
                <a:gd name="T94" fmla="*/ 1870528 w 624"/>
                <a:gd name="T95" fmla="*/ 58072117 h 640"/>
                <a:gd name="T96" fmla="*/ 7108006 w 624"/>
                <a:gd name="T97" fmla="*/ 53415608 h 640"/>
                <a:gd name="T98" fmla="*/ 11410004 w 624"/>
                <a:gd name="T99" fmla="*/ 47389414 h 640"/>
                <a:gd name="T100" fmla="*/ 14402848 w 624"/>
                <a:gd name="T101" fmla="*/ 21092201 h 640"/>
                <a:gd name="T102" fmla="*/ 15712001 w 624"/>
                <a:gd name="T103" fmla="*/ 11778660 h 640"/>
                <a:gd name="T104" fmla="*/ 15337896 w 624"/>
                <a:gd name="T105" fmla="*/ 2191391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US"/>
            </a:p>
          </p:txBody>
        </p:sp>
        <p:sp>
          <p:nvSpPr>
            <p:cNvPr id="331" name="Freeform 481">
              <a:extLst>
                <a:ext uri="{FF2B5EF4-FFF2-40B4-BE49-F238E27FC236}">
                  <a16:creationId xmlns:a16="http://schemas.microsoft.com/office/drawing/2014/main" id="{091DF067-55DB-4266-A0E1-414F3AFC5B9F}"/>
                </a:ext>
              </a:extLst>
            </p:cNvPr>
            <p:cNvSpPr>
              <a:spLocks/>
            </p:cNvSpPr>
            <p:nvPr>
              <p:custDataLst>
                <p:tags r:id="rId319"/>
              </p:custDataLst>
            </p:nvPr>
          </p:nvSpPr>
          <p:spPr bwMode="auto">
            <a:xfrm>
              <a:off x="7313613" y="2557463"/>
              <a:ext cx="19050" cy="57150"/>
            </a:xfrm>
            <a:custGeom>
              <a:avLst/>
              <a:gdLst>
                <a:gd name="T0" fmla="*/ 1744907 w 52"/>
                <a:gd name="T1" fmla="*/ 65322450 h 50"/>
                <a:gd name="T2" fmla="*/ 0 w 52"/>
                <a:gd name="T3" fmla="*/ 41806368 h 50"/>
                <a:gd name="T4" fmla="*/ 268532 w 52"/>
                <a:gd name="T5" fmla="*/ 32661225 h 50"/>
                <a:gd name="T6" fmla="*/ 805229 w 52"/>
                <a:gd name="T7" fmla="*/ 23516082 h 50"/>
                <a:gd name="T8" fmla="*/ 1610458 w 52"/>
                <a:gd name="T9" fmla="*/ 16983837 h 50"/>
                <a:gd name="T10" fmla="*/ 2415687 w 52"/>
                <a:gd name="T11" fmla="*/ 11758041 h 50"/>
                <a:gd name="T12" fmla="*/ 3489447 w 52"/>
                <a:gd name="T13" fmla="*/ 6532245 h 50"/>
                <a:gd name="T14" fmla="*/ 4563208 w 52"/>
                <a:gd name="T15" fmla="*/ 3919347 h 50"/>
                <a:gd name="T16" fmla="*/ 5771051 w 52"/>
                <a:gd name="T17" fmla="*/ 1306449 h 50"/>
                <a:gd name="T18" fmla="*/ 6978894 w 52"/>
                <a:gd name="T19" fmla="*/ 0 h 50"/>
                <a:gd name="T20" fmla="*/ 5368437 w 52"/>
                <a:gd name="T21" fmla="*/ 14370939 h 50"/>
                <a:gd name="T22" fmla="*/ 3623530 w 52"/>
                <a:gd name="T23" fmla="*/ 28741878 h 50"/>
                <a:gd name="T24" fmla="*/ 2952750 w 52"/>
                <a:gd name="T25" fmla="*/ 39193470 h 50"/>
                <a:gd name="T26" fmla="*/ 2281604 w 52"/>
                <a:gd name="T27" fmla="*/ 47032164 h 50"/>
                <a:gd name="T28" fmla="*/ 1878989 w 52"/>
                <a:gd name="T29" fmla="*/ 56177307 h 50"/>
                <a:gd name="T30" fmla="*/ 1744907 w 52"/>
                <a:gd name="T31" fmla="*/ 653224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2" name="Freeform 482">
              <a:extLst>
                <a:ext uri="{FF2B5EF4-FFF2-40B4-BE49-F238E27FC236}">
                  <a16:creationId xmlns:a16="http://schemas.microsoft.com/office/drawing/2014/main" id="{02CA9079-B3D0-4D96-9C3C-FEF34183A31E}"/>
                </a:ext>
              </a:extLst>
            </p:cNvPr>
            <p:cNvSpPr>
              <a:spLocks/>
            </p:cNvSpPr>
            <p:nvPr>
              <p:custDataLst>
                <p:tags r:id="rId320"/>
              </p:custDataLst>
            </p:nvPr>
          </p:nvSpPr>
          <p:spPr bwMode="auto">
            <a:xfrm>
              <a:off x="7172325" y="2559050"/>
              <a:ext cx="141288" cy="125413"/>
            </a:xfrm>
            <a:custGeom>
              <a:avLst/>
              <a:gdLst>
                <a:gd name="T0" fmla="*/ 14815813 w 320"/>
                <a:gd name="T1" fmla="*/ 66352595 h 234"/>
                <a:gd name="T2" fmla="*/ 11891593 w 320"/>
                <a:gd name="T3" fmla="*/ 64916253 h 234"/>
                <a:gd name="T4" fmla="*/ 12866480 w 320"/>
                <a:gd name="T5" fmla="*/ 63767714 h 234"/>
                <a:gd name="T6" fmla="*/ 15010525 w 320"/>
                <a:gd name="T7" fmla="*/ 62331372 h 234"/>
                <a:gd name="T8" fmla="*/ 12476613 w 320"/>
                <a:gd name="T9" fmla="*/ 58597417 h 234"/>
                <a:gd name="T10" fmla="*/ 8382794 w 320"/>
                <a:gd name="T11" fmla="*/ 54288389 h 234"/>
                <a:gd name="T12" fmla="*/ 7018040 w 320"/>
                <a:gd name="T13" fmla="*/ 51416240 h 234"/>
                <a:gd name="T14" fmla="*/ 6628173 w 320"/>
                <a:gd name="T15" fmla="*/ 49118092 h 234"/>
                <a:gd name="T16" fmla="*/ 6628173 w 320"/>
                <a:gd name="T17" fmla="*/ 47107749 h 234"/>
                <a:gd name="T18" fmla="*/ 7018040 w 320"/>
                <a:gd name="T19" fmla="*/ 45096869 h 234"/>
                <a:gd name="T20" fmla="*/ 8382794 w 320"/>
                <a:gd name="T21" fmla="*/ 42798721 h 234"/>
                <a:gd name="T22" fmla="*/ 10916706 w 320"/>
                <a:gd name="T23" fmla="*/ 40501109 h 234"/>
                <a:gd name="T24" fmla="*/ 14230792 w 320"/>
                <a:gd name="T25" fmla="*/ 39352035 h 234"/>
                <a:gd name="T26" fmla="*/ 15595546 w 320"/>
                <a:gd name="T27" fmla="*/ 36192617 h 234"/>
                <a:gd name="T28" fmla="*/ 13061193 w 320"/>
                <a:gd name="T29" fmla="*/ 31883589 h 234"/>
                <a:gd name="T30" fmla="*/ 11891593 w 320"/>
                <a:gd name="T31" fmla="*/ 29298709 h 234"/>
                <a:gd name="T32" fmla="*/ 11696880 w 320"/>
                <a:gd name="T33" fmla="*/ 24702948 h 234"/>
                <a:gd name="T34" fmla="*/ 10721993 w 320"/>
                <a:gd name="T35" fmla="*/ 20106652 h 234"/>
                <a:gd name="T36" fmla="*/ 8967373 w 320"/>
                <a:gd name="T37" fmla="*/ 13213280 h 234"/>
                <a:gd name="T38" fmla="*/ 6433019 w 320"/>
                <a:gd name="T39" fmla="*/ 8904252 h 234"/>
                <a:gd name="T40" fmla="*/ 3899107 w 320"/>
                <a:gd name="T41" fmla="*/ 7181177 h 234"/>
                <a:gd name="T42" fmla="*/ 1364754 w 320"/>
                <a:gd name="T43" fmla="*/ 2872149 h 234"/>
                <a:gd name="T44" fmla="*/ 1754620 w 320"/>
                <a:gd name="T45" fmla="*/ 0 h 234"/>
                <a:gd name="T46" fmla="*/ 4678840 w 320"/>
                <a:gd name="T47" fmla="*/ 0 h 234"/>
                <a:gd name="T48" fmla="*/ 7407906 w 320"/>
                <a:gd name="T49" fmla="*/ 861806 h 234"/>
                <a:gd name="T50" fmla="*/ 10916706 w 320"/>
                <a:gd name="T51" fmla="*/ 4595760 h 234"/>
                <a:gd name="T52" fmla="*/ 15205679 w 320"/>
                <a:gd name="T53" fmla="*/ 10053326 h 234"/>
                <a:gd name="T54" fmla="*/ 18714479 w 320"/>
                <a:gd name="T55" fmla="*/ 13787817 h 234"/>
                <a:gd name="T56" fmla="*/ 23198165 w 320"/>
                <a:gd name="T57" fmla="*/ 16659966 h 234"/>
                <a:gd name="T58" fmla="*/ 29631626 w 320"/>
                <a:gd name="T59" fmla="*/ 20106652 h 234"/>
                <a:gd name="T60" fmla="*/ 35284912 w 320"/>
                <a:gd name="T61" fmla="*/ 22692069 h 234"/>
                <a:gd name="T62" fmla="*/ 41717931 w 320"/>
                <a:gd name="T63" fmla="*/ 24415680 h 234"/>
                <a:gd name="T64" fmla="*/ 46006905 w 320"/>
                <a:gd name="T65" fmla="*/ 22117532 h 234"/>
                <a:gd name="T66" fmla="*/ 50100725 w 320"/>
                <a:gd name="T67" fmla="*/ 23841143 h 234"/>
                <a:gd name="T68" fmla="*/ 55364144 w 320"/>
                <a:gd name="T69" fmla="*/ 30735051 h 234"/>
                <a:gd name="T70" fmla="*/ 59457964 w 320"/>
                <a:gd name="T71" fmla="*/ 34181737 h 234"/>
                <a:gd name="T72" fmla="*/ 57898498 w 320"/>
                <a:gd name="T73" fmla="*/ 38202961 h 234"/>
                <a:gd name="T74" fmla="*/ 52245212 w 320"/>
                <a:gd name="T75" fmla="*/ 41362914 h 234"/>
                <a:gd name="T76" fmla="*/ 48541259 w 320"/>
                <a:gd name="T77" fmla="*/ 42511452 h 234"/>
                <a:gd name="T78" fmla="*/ 46201618 w 320"/>
                <a:gd name="T79" fmla="*/ 45671406 h 234"/>
                <a:gd name="T80" fmla="*/ 45227172 w 320"/>
                <a:gd name="T81" fmla="*/ 50554435 h 234"/>
                <a:gd name="T82" fmla="*/ 45032018 w 320"/>
                <a:gd name="T83" fmla="*/ 53713852 h 234"/>
                <a:gd name="T84" fmla="*/ 43277839 w 320"/>
                <a:gd name="T85" fmla="*/ 55150195 h 234"/>
                <a:gd name="T86" fmla="*/ 39768598 w 320"/>
                <a:gd name="T87" fmla="*/ 54288389 h 234"/>
                <a:gd name="T88" fmla="*/ 36259799 w 320"/>
                <a:gd name="T89" fmla="*/ 51990777 h 234"/>
                <a:gd name="T90" fmla="*/ 32750558 w 320"/>
                <a:gd name="T91" fmla="*/ 48830824 h 234"/>
                <a:gd name="T92" fmla="*/ 30216205 w 320"/>
                <a:gd name="T93" fmla="*/ 47107749 h 234"/>
                <a:gd name="T94" fmla="*/ 28266872 w 320"/>
                <a:gd name="T95" fmla="*/ 46245943 h 234"/>
                <a:gd name="T96" fmla="*/ 25537806 w 320"/>
                <a:gd name="T97" fmla="*/ 46533211 h 234"/>
                <a:gd name="T98" fmla="*/ 22223719 w 320"/>
                <a:gd name="T99" fmla="*/ 47969018 h 234"/>
                <a:gd name="T100" fmla="*/ 19494653 w 320"/>
                <a:gd name="T101" fmla="*/ 49692629 h 234"/>
                <a:gd name="T102" fmla="*/ 16960300 w 320"/>
                <a:gd name="T103" fmla="*/ 51128972 h 234"/>
                <a:gd name="T104" fmla="*/ 16570433 w 320"/>
                <a:gd name="T105" fmla="*/ 52565314 h 234"/>
                <a:gd name="T106" fmla="*/ 18714479 w 320"/>
                <a:gd name="T107" fmla="*/ 54862926 h 234"/>
                <a:gd name="T108" fmla="*/ 22613586 w 320"/>
                <a:gd name="T109" fmla="*/ 57448343 h 234"/>
                <a:gd name="T110" fmla="*/ 24562919 w 320"/>
                <a:gd name="T111" fmla="*/ 60895029 h 234"/>
                <a:gd name="T112" fmla="*/ 22028565 w 320"/>
                <a:gd name="T113" fmla="*/ 64342251 h 234"/>
                <a:gd name="T114" fmla="*/ 19884520 w 320"/>
                <a:gd name="T115" fmla="*/ 66352595 h 234"/>
                <a:gd name="T116" fmla="*/ 17740033 w 320"/>
                <a:gd name="T117" fmla="*/ 67214401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3" name="Freeform 483">
              <a:extLst>
                <a:ext uri="{FF2B5EF4-FFF2-40B4-BE49-F238E27FC236}">
                  <a16:creationId xmlns:a16="http://schemas.microsoft.com/office/drawing/2014/main" id="{B5B6F66C-6841-443F-B927-0D54FC864B7D}"/>
                </a:ext>
              </a:extLst>
            </p:cNvPr>
            <p:cNvSpPr>
              <a:spLocks/>
            </p:cNvSpPr>
            <p:nvPr>
              <p:custDataLst>
                <p:tags r:id="rId321"/>
              </p:custDataLst>
            </p:nvPr>
          </p:nvSpPr>
          <p:spPr bwMode="auto">
            <a:xfrm>
              <a:off x="7142163" y="2913063"/>
              <a:ext cx="52387" cy="57150"/>
            </a:xfrm>
            <a:custGeom>
              <a:avLst/>
              <a:gdLst>
                <a:gd name="T0" fmla="*/ 5796098 w 125"/>
                <a:gd name="T1" fmla="*/ 7175090 h 93"/>
                <a:gd name="T2" fmla="*/ 7552529 w 125"/>
                <a:gd name="T3" fmla="*/ 7175090 h 93"/>
                <a:gd name="T4" fmla="*/ 9133359 w 125"/>
                <a:gd name="T5" fmla="*/ 7175090 h 93"/>
                <a:gd name="T6" fmla="*/ 9660163 w 125"/>
                <a:gd name="T7" fmla="*/ 7175090 h 93"/>
                <a:gd name="T8" fmla="*/ 10187386 w 125"/>
                <a:gd name="T9" fmla="*/ 6419850 h 93"/>
                <a:gd name="T10" fmla="*/ 10714189 w 125"/>
                <a:gd name="T11" fmla="*/ 5664610 h 93"/>
                <a:gd name="T12" fmla="*/ 11416594 w 125"/>
                <a:gd name="T13" fmla="*/ 4154129 h 93"/>
                <a:gd name="T14" fmla="*/ 11943817 w 125"/>
                <a:gd name="T15" fmla="*/ 3020961 h 93"/>
                <a:gd name="T16" fmla="*/ 12295019 w 125"/>
                <a:gd name="T17" fmla="*/ 1888408 h 93"/>
                <a:gd name="T18" fmla="*/ 12646222 w 125"/>
                <a:gd name="T19" fmla="*/ 1133168 h 93"/>
                <a:gd name="T20" fmla="*/ 12646222 w 125"/>
                <a:gd name="T21" fmla="*/ 0 h 93"/>
                <a:gd name="T22" fmla="*/ 20725554 w 125"/>
                <a:gd name="T23" fmla="*/ 0 h 93"/>
                <a:gd name="T24" fmla="*/ 21428378 w 125"/>
                <a:gd name="T25" fmla="*/ 5664610 h 93"/>
                <a:gd name="T26" fmla="*/ 21955182 w 125"/>
                <a:gd name="T27" fmla="*/ 9440811 h 93"/>
                <a:gd name="T28" fmla="*/ 21779581 w 125"/>
                <a:gd name="T29" fmla="*/ 10951292 h 93"/>
                <a:gd name="T30" fmla="*/ 21428378 w 125"/>
                <a:gd name="T31" fmla="*/ 12461773 h 93"/>
                <a:gd name="T32" fmla="*/ 20901156 w 125"/>
                <a:gd name="T33" fmla="*/ 13217013 h 93"/>
                <a:gd name="T34" fmla="*/ 20549953 w 125"/>
                <a:gd name="T35" fmla="*/ 13972253 h 93"/>
                <a:gd name="T36" fmla="*/ 19496346 w 125"/>
                <a:gd name="T37" fmla="*/ 15105421 h 93"/>
                <a:gd name="T38" fmla="*/ 18266718 w 125"/>
                <a:gd name="T39" fmla="*/ 15482734 h 93"/>
                <a:gd name="T40" fmla="*/ 15456260 w 125"/>
                <a:gd name="T41" fmla="*/ 15482734 h 93"/>
                <a:gd name="T42" fmla="*/ 12646222 w 125"/>
                <a:gd name="T43" fmla="*/ 16237974 h 93"/>
                <a:gd name="T44" fmla="*/ 12295019 w 125"/>
                <a:gd name="T45" fmla="*/ 17748455 h 93"/>
                <a:gd name="T46" fmla="*/ 12119418 w 125"/>
                <a:gd name="T47" fmla="*/ 20014176 h 93"/>
                <a:gd name="T48" fmla="*/ 11767797 w 125"/>
                <a:gd name="T49" fmla="*/ 23035137 h 93"/>
                <a:gd name="T50" fmla="*/ 11767797 w 125"/>
                <a:gd name="T51" fmla="*/ 26811953 h 93"/>
                <a:gd name="T52" fmla="*/ 11592195 w 125"/>
                <a:gd name="T53" fmla="*/ 32475948 h 93"/>
                <a:gd name="T54" fmla="*/ 11592195 w 125"/>
                <a:gd name="T55" fmla="*/ 35119597 h 93"/>
                <a:gd name="T56" fmla="*/ 8606555 w 125"/>
                <a:gd name="T57" fmla="*/ 32098635 h 93"/>
                <a:gd name="T58" fmla="*/ 4742490 w 125"/>
                <a:gd name="T59" fmla="*/ 27567194 h 93"/>
                <a:gd name="T60" fmla="*/ 2810458 w 125"/>
                <a:gd name="T61" fmla="*/ 24546232 h 93"/>
                <a:gd name="T62" fmla="*/ 1229628 w 125"/>
                <a:gd name="T63" fmla="*/ 21902584 h 93"/>
                <a:gd name="T64" fmla="*/ 702405 w 125"/>
                <a:gd name="T65" fmla="*/ 20392103 h 93"/>
                <a:gd name="T66" fmla="*/ 351202 w 125"/>
                <a:gd name="T67" fmla="*/ 18881623 h 93"/>
                <a:gd name="T68" fmla="*/ 0 w 125"/>
                <a:gd name="T69" fmla="*/ 17748455 h 93"/>
                <a:gd name="T70" fmla="*/ 0 w 125"/>
                <a:gd name="T71" fmla="*/ 16237974 h 93"/>
                <a:gd name="T72" fmla="*/ 1229628 w 125"/>
                <a:gd name="T73" fmla="*/ 16237974 h 93"/>
                <a:gd name="T74" fmla="*/ 2634437 w 125"/>
                <a:gd name="T75" fmla="*/ 15482734 h 93"/>
                <a:gd name="T76" fmla="*/ 3512863 w 125"/>
                <a:gd name="T77" fmla="*/ 14727494 h 93"/>
                <a:gd name="T78" fmla="*/ 4039666 w 125"/>
                <a:gd name="T79" fmla="*/ 13594940 h 93"/>
                <a:gd name="T80" fmla="*/ 4918092 w 125"/>
                <a:gd name="T81" fmla="*/ 10573365 h 93"/>
                <a:gd name="T82" fmla="*/ 5796098 w 125"/>
                <a:gd name="T83" fmla="*/ 7175090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4" name="Freeform 484">
              <a:extLst>
                <a:ext uri="{FF2B5EF4-FFF2-40B4-BE49-F238E27FC236}">
                  <a16:creationId xmlns:a16="http://schemas.microsoft.com/office/drawing/2014/main" id="{94389E7A-86EF-4CAF-AFF3-E1176D9E53E2}"/>
                </a:ext>
              </a:extLst>
            </p:cNvPr>
            <p:cNvSpPr>
              <a:spLocks/>
            </p:cNvSpPr>
            <p:nvPr>
              <p:custDataLst>
                <p:tags r:id="rId322"/>
              </p:custDataLst>
            </p:nvPr>
          </p:nvSpPr>
          <p:spPr bwMode="auto">
            <a:xfrm>
              <a:off x="7088188" y="2927350"/>
              <a:ext cx="60325" cy="84138"/>
            </a:xfrm>
            <a:custGeom>
              <a:avLst/>
              <a:gdLst>
                <a:gd name="T0" fmla="*/ 4114346 w 133"/>
                <a:gd name="T1" fmla="*/ 3581832 h 154"/>
                <a:gd name="T2" fmla="*/ 4937579 w 133"/>
                <a:gd name="T3" fmla="*/ 2984678 h 154"/>
                <a:gd name="T4" fmla="*/ 6377668 w 133"/>
                <a:gd name="T5" fmla="*/ 1790916 h 154"/>
                <a:gd name="T6" fmla="*/ 6994525 w 133"/>
                <a:gd name="T7" fmla="*/ 1193762 h 154"/>
                <a:gd name="T8" fmla="*/ 7611836 w 133"/>
                <a:gd name="T9" fmla="*/ 597154 h 154"/>
                <a:gd name="T10" fmla="*/ 8640536 w 133"/>
                <a:gd name="T11" fmla="*/ 298304 h 154"/>
                <a:gd name="T12" fmla="*/ 9463314 w 133"/>
                <a:gd name="T13" fmla="*/ 0 h 154"/>
                <a:gd name="T14" fmla="*/ 12138025 w 133"/>
                <a:gd name="T15" fmla="*/ 298304 h 154"/>
                <a:gd name="T16" fmla="*/ 14400893 w 133"/>
                <a:gd name="T17" fmla="*/ 1193762 h 154"/>
                <a:gd name="T18" fmla="*/ 16663761 w 133"/>
                <a:gd name="T19" fmla="*/ 2388070 h 154"/>
                <a:gd name="T20" fmla="*/ 18515239 w 133"/>
                <a:gd name="T21" fmla="*/ 4178986 h 154"/>
                <a:gd name="T22" fmla="*/ 20367171 w 133"/>
                <a:gd name="T23" fmla="*/ 6268207 h 154"/>
                <a:gd name="T24" fmla="*/ 21601339 w 133"/>
                <a:gd name="T25" fmla="*/ 8954581 h 154"/>
                <a:gd name="T26" fmla="*/ 23041429 w 133"/>
                <a:gd name="T27" fmla="*/ 11939805 h 154"/>
                <a:gd name="T28" fmla="*/ 23864207 w 133"/>
                <a:gd name="T29" fmla="*/ 14924483 h 154"/>
                <a:gd name="T30" fmla="*/ 24892907 w 133"/>
                <a:gd name="T31" fmla="*/ 17909708 h 154"/>
                <a:gd name="T32" fmla="*/ 25510218 w 133"/>
                <a:gd name="T33" fmla="*/ 21192690 h 154"/>
                <a:gd name="T34" fmla="*/ 26127529 w 133"/>
                <a:gd name="T35" fmla="*/ 24476218 h 154"/>
                <a:gd name="T36" fmla="*/ 26744386 w 133"/>
                <a:gd name="T37" fmla="*/ 28058050 h 154"/>
                <a:gd name="T38" fmla="*/ 27155775 w 133"/>
                <a:gd name="T39" fmla="*/ 34625107 h 154"/>
                <a:gd name="T40" fmla="*/ 27361696 w 133"/>
                <a:gd name="T41" fmla="*/ 40296160 h 154"/>
                <a:gd name="T42" fmla="*/ 27155775 w 133"/>
                <a:gd name="T43" fmla="*/ 41191618 h 154"/>
                <a:gd name="T44" fmla="*/ 26744386 w 133"/>
                <a:gd name="T45" fmla="*/ 42087622 h 154"/>
                <a:gd name="T46" fmla="*/ 25715686 w 133"/>
                <a:gd name="T47" fmla="*/ 42983080 h 154"/>
                <a:gd name="T48" fmla="*/ 24892907 w 133"/>
                <a:gd name="T49" fmla="*/ 43878538 h 154"/>
                <a:gd name="T50" fmla="*/ 23658739 w 133"/>
                <a:gd name="T51" fmla="*/ 44773996 h 154"/>
                <a:gd name="T52" fmla="*/ 22630039 w 133"/>
                <a:gd name="T53" fmla="*/ 45669454 h 154"/>
                <a:gd name="T54" fmla="*/ 21395418 w 133"/>
                <a:gd name="T55" fmla="*/ 45967758 h 154"/>
                <a:gd name="T56" fmla="*/ 20367171 w 133"/>
                <a:gd name="T57" fmla="*/ 45967758 h 154"/>
                <a:gd name="T58" fmla="*/ 19132550 w 133"/>
                <a:gd name="T59" fmla="*/ 45669454 h 154"/>
                <a:gd name="T60" fmla="*/ 17898382 w 133"/>
                <a:gd name="T61" fmla="*/ 44475146 h 154"/>
                <a:gd name="T62" fmla="*/ 16252371 w 133"/>
                <a:gd name="T63" fmla="*/ 42087622 h 154"/>
                <a:gd name="T64" fmla="*/ 14606814 w 133"/>
                <a:gd name="T65" fmla="*/ 39997856 h 154"/>
                <a:gd name="T66" fmla="*/ 13166725 w 133"/>
                <a:gd name="T67" fmla="*/ 37609785 h 154"/>
                <a:gd name="T68" fmla="*/ 11932104 w 133"/>
                <a:gd name="T69" fmla="*/ 35222261 h 154"/>
                <a:gd name="T70" fmla="*/ 11109325 w 133"/>
                <a:gd name="T71" fmla="*/ 33132495 h 154"/>
                <a:gd name="T72" fmla="*/ 10903404 w 133"/>
                <a:gd name="T73" fmla="*/ 31341579 h 154"/>
                <a:gd name="T74" fmla="*/ 11109325 w 133"/>
                <a:gd name="T75" fmla="*/ 29252359 h 154"/>
                <a:gd name="T76" fmla="*/ 11520714 w 133"/>
                <a:gd name="T77" fmla="*/ 24775068 h 154"/>
                <a:gd name="T78" fmla="*/ 11932104 w 133"/>
                <a:gd name="T79" fmla="*/ 20297232 h 154"/>
                <a:gd name="T80" fmla="*/ 12138025 w 133"/>
                <a:gd name="T81" fmla="*/ 18506316 h 154"/>
                <a:gd name="T82" fmla="*/ 9669236 w 133"/>
                <a:gd name="T83" fmla="*/ 18208012 h 154"/>
                <a:gd name="T84" fmla="*/ 7406368 w 133"/>
                <a:gd name="T85" fmla="*/ 17610858 h 154"/>
                <a:gd name="T86" fmla="*/ 5143046 w 133"/>
                <a:gd name="T87" fmla="*/ 16715399 h 154"/>
                <a:gd name="T88" fmla="*/ 3497489 w 133"/>
                <a:gd name="T89" fmla="*/ 15521637 h 154"/>
                <a:gd name="T90" fmla="*/ 2674257 w 133"/>
                <a:gd name="T91" fmla="*/ 14626179 h 154"/>
                <a:gd name="T92" fmla="*/ 2057400 w 133"/>
                <a:gd name="T93" fmla="*/ 13730721 h 154"/>
                <a:gd name="T94" fmla="*/ 1440089 w 133"/>
                <a:gd name="T95" fmla="*/ 12835263 h 154"/>
                <a:gd name="T96" fmla="*/ 822779 w 133"/>
                <a:gd name="T97" fmla="*/ 11640955 h 154"/>
                <a:gd name="T98" fmla="*/ 411389 w 133"/>
                <a:gd name="T99" fmla="*/ 10148889 h 154"/>
                <a:gd name="T100" fmla="*/ 205921 w 133"/>
                <a:gd name="T101" fmla="*/ 8656277 h 154"/>
                <a:gd name="T102" fmla="*/ 0 w 133"/>
                <a:gd name="T103" fmla="*/ 7163665 h 154"/>
                <a:gd name="T104" fmla="*/ 0 w 133"/>
                <a:gd name="T105" fmla="*/ 5372748 h 154"/>
                <a:gd name="T106" fmla="*/ 1440089 w 133"/>
                <a:gd name="T107" fmla="*/ 4477290 h 154"/>
                <a:gd name="T108" fmla="*/ 4114346 w 133"/>
                <a:gd name="T109" fmla="*/ 3581832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5" name="Freeform 485">
              <a:extLst>
                <a:ext uri="{FF2B5EF4-FFF2-40B4-BE49-F238E27FC236}">
                  <a16:creationId xmlns:a16="http://schemas.microsoft.com/office/drawing/2014/main" id="{7BE33712-1463-4A52-8BD4-B4788C95132A}"/>
                </a:ext>
              </a:extLst>
            </p:cNvPr>
            <p:cNvSpPr>
              <a:spLocks/>
            </p:cNvSpPr>
            <p:nvPr>
              <p:custDataLst>
                <p:tags r:id="rId323"/>
              </p:custDataLst>
            </p:nvPr>
          </p:nvSpPr>
          <p:spPr bwMode="auto">
            <a:xfrm>
              <a:off x="7104063" y="2689225"/>
              <a:ext cx="209550" cy="244475"/>
            </a:xfrm>
            <a:custGeom>
              <a:avLst/>
              <a:gdLst>
                <a:gd name="T0" fmla="*/ 25014653 w 485"/>
                <a:gd name="T1" fmla="*/ 95781962 h 468"/>
                <a:gd name="T2" fmla="*/ 31174991 w 485"/>
                <a:gd name="T3" fmla="*/ 92507668 h 468"/>
                <a:gd name="T4" fmla="*/ 37335329 w 485"/>
                <a:gd name="T5" fmla="*/ 92507668 h 468"/>
                <a:gd name="T6" fmla="*/ 42189112 w 485"/>
                <a:gd name="T7" fmla="*/ 94963388 h 468"/>
                <a:gd name="T8" fmla="*/ 41815811 w 485"/>
                <a:gd name="T9" fmla="*/ 89232853 h 468"/>
                <a:gd name="T10" fmla="*/ 41069208 w 485"/>
                <a:gd name="T11" fmla="*/ 86231243 h 468"/>
                <a:gd name="T12" fmla="*/ 43495667 w 485"/>
                <a:gd name="T13" fmla="*/ 82683743 h 468"/>
                <a:gd name="T14" fmla="*/ 44616003 w 485"/>
                <a:gd name="T15" fmla="*/ 75316061 h 468"/>
                <a:gd name="T16" fmla="*/ 45175956 w 485"/>
                <a:gd name="T17" fmla="*/ 67129283 h 468"/>
                <a:gd name="T18" fmla="*/ 50029738 w 485"/>
                <a:gd name="T19" fmla="*/ 69585525 h 468"/>
                <a:gd name="T20" fmla="*/ 56003426 w 485"/>
                <a:gd name="T21" fmla="*/ 64946246 h 468"/>
                <a:gd name="T22" fmla="*/ 58990269 w 485"/>
                <a:gd name="T23" fmla="*/ 59215711 h 468"/>
                <a:gd name="T24" fmla="*/ 54696439 w 485"/>
                <a:gd name="T25" fmla="*/ 52939285 h 468"/>
                <a:gd name="T26" fmla="*/ 59363571 w 485"/>
                <a:gd name="T27" fmla="*/ 54303748 h 468"/>
                <a:gd name="T28" fmla="*/ 64030271 w 485"/>
                <a:gd name="T29" fmla="*/ 55122322 h 468"/>
                <a:gd name="T30" fmla="*/ 64590223 w 485"/>
                <a:gd name="T31" fmla="*/ 50483565 h 468"/>
                <a:gd name="T32" fmla="*/ 55069740 w 485"/>
                <a:gd name="T33" fmla="*/ 26196959 h 468"/>
                <a:gd name="T34" fmla="*/ 53203233 w 485"/>
                <a:gd name="T35" fmla="*/ 14462681 h 468"/>
                <a:gd name="T36" fmla="*/ 54323137 w 485"/>
                <a:gd name="T37" fmla="*/ 5184646 h 468"/>
                <a:gd name="T38" fmla="*/ 58990269 w 485"/>
                <a:gd name="T39" fmla="*/ 272684 h 468"/>
                <a:gd name="T40" fmla="*/ 62723716 w 485"/>
                <a:gd name="T41" fmla="*/ 4911962 h 468"/>
                <a:gd name="T42" fmla="*/ 70377259 w 485"/>
                <a:gd name="T43" fmla="*/ 12279645 h 468"/>
                <a:gd name="T44" fmla="*/ 77471283 w 485"/>
                <a:gd name="T45" fmla="*/ 19647850 h 468"/>
                <a:gd name="T46" fmla="*/ 79524441 w 485"/>
                <a:gd name="T47" fmla="*/ 26742326 h 468"/>
                <a:gd name="T48" fmla="*/ 81391380 w 485"/>
                <a:gd name="T49" fmla="*/ 37384824 h 468"/>
                <a:gd name="T50" fmla="*/ 83071669 w 485"/>
                <a:gd name="T51" fmla="*/ 47208749 h 468"/>
                <a:gd name="T52" fmla="*/ 79897742 w 485"/>
                <a:gd name="T53" fmla="*/ 48845896 h 468"/>
                <a:gd name="T54" fmla="*/ 76910899 w 485"/>
                <a:gd name="T55" fmla="*/ 50483565 h 468"/>
                <a:gd name="T56" fmla="*/ 79524441 w 485"/>
                <a:gd name="T57" fmla="*/ 54303748 h 468"/>
                <a:gd name="T58" fmla="*/ 83071669 w 485"/>
                <a:gd name="T59" fmla="*/ 55395528 h 468"/>
                <a:gd name="T60" fmla="*/ 84938176 w 485"/>
                <a:gd name="T61" fmla="*/ 71495356 h 468"/>
                <a:gd name="T62" fmla="*/ 88671623 w 485"/>
                <a:gd name="T63" fmla="*/ 85139464 h 468"/>
                <a:gd name="T64" fmla="*/ 89605308 w 485"/>
                <a:gd name="T65" fmla="*/ 103968740 h 468"/>
                <a:gd name="T66" fmla="*/ 86431814 w 485"/>
                <a:gd name="T67" fmla="*/ 99329461 h 468"/>
                <a:gd name="T68" fmla="*/ 84564875 w 485"/>
                <a:gd name="T69" fmla="*/ 97146425 h 468"/>
                <a:gd name="T70" fmla="*/ 81391380 w 485"/>
                <a:gd name="T71" fmla="*/ 99056778 h 468"/>
                <a:gd name="T72" fmla="*/ 80084825 w 485"/>
                <a:gd name="T73" fmla="*/ 108880702 h 468"/>
                <a:gd name="T74" fmla="*/ 76164296 w 485"/>
                <a:gd name="T75" fmla="*/ 106151776 h 468"/>
                <a:gd name="T76" fmla="*/ 72617500 w 485"/>
                <a:gd name="T77" fmla="*/ 104241424 h 468"/>
                <a:gd name="T78" fmla="*/ 70190609 w 485"/>
                <a:gd name="T79" fmla="*/ 109699276 h 468"/>
                <a:gd name="T80" fmla="*/ 64403572 w 485"/>
                <a:gd name="T81" fmla="*/ 112700885 h 468"/>
                <a:gd name="T82" fmla="*/ 62350414 w 485"/>
                <a:gd name="T83" fmla="*/ 109153386 h 468"/>
                <a:gd name="T84" fmla="*/ 58243234 w 485"/>
                <a:gd name="T85" fmla="*/ 107788923 h 468"/>
                <a:gd name="T86" fmla="*/ 56563378 w 485"/>
                <a:gd name="T87" fmla="*/ 116248385 h 468"/>
                <a:gd name="T88" fmla="*/ 55816343 w 485"/>
                <a:gd name="T89" fmla="*/ 122797494 h 468"/>
                <a:gd name="T90" fmla="*/ 57309981 w 485"/>
                <a:gd name="T91" fmla="*/ 127163567 h 468"/>
                <a:gd name="T92" fmla="*/ 50776341 w 485"/>
                <a:gd name="T93" fmla="*/ 127709456 h 468"/>
                <a:gd name="T94" fmla="*/ 48162799 w 485"/>
                <a:gd name="T95" fmla="*/ 126890883 h 468"/>
                <a:gd name="T96" fmla="*/ 45549257 w 485"/>
                <a:gd name="T97" fmla="*/ 120068568 h 468"/>
                <a:gd name="T98" fmla="*/ 42749064 w 485"/>
                <a:gd name="T99" fmla="*/ 114065349 h 468"/>
                <a:gd name="T100" fmla="*/ 38082364 w 485"/>
                <a:gd name="T101" fmla="*/ 110790533 h 468"/>
                <a:gd name="T102" fmla="*/ 35468822 w 485"/>
                <a:gd name="T103" fmla="*/ 107516239 h 468"/>
                <a:gd name="T104" fmla="*/ 25387955 w 485"/>
                <a:gd name="T105" fmla="*/ 113792142 h 468"/>
                <a:gd name="T106" fmla="*/ 16801157 w 485"/>
                <a:gd name="T107" fmla="*/ 118704105 h 468"/>
                <a:gd name="T108" fmla="*/ 12134025 w 485"/>
                <a:gd name="T109" fmla="*/ 125253736 h 468"/>
                <a:gd name="T110" fmla="*/ 5040434 w 485"/>
                <a:gd name="T111" fmla="*/ 125799104 h 468"/>
                <a:gd name="T112" fmla="*/ 1306555 w 485"/>
                <a:gd name="T113" fmla="*/ 119523201 h 468"/>
                <a:gd name="T114" fmla="*/ 0 w 485"/>
                <a:gd name="T115" fmla="*/ 113792142 h 468"/>
                <a:gd name="T116" fmla="*/ 1306555 w 485"/>
                <a:gd name="T117" fmla="*/ 112700885 h 468"/>
                <a:gd name="T118" fmla="*/ 5040434 w 485"/>
                <a:gd name="T119" fmla="*/ 112973569 h 468"/>
                <a:gd name="T120" fmla="*/ 8960531 w 485"/>
                <a:gd name="T121" fmla="*/ 110517849 h 468"/>
                <a:gd name="T122" fmla="*/ 13440580 w 485"/>
                <a:gd name="T123" fmla="*/ 100693924 h 468"/>
                <a:gd name="T124" fmla="*/ 17361109 w 485"/>
                <a:gd name="T125" fmla="*/ 96055168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6" name="Freeform 486">
              <a:extLst>
                <a:ext uri="{FF2B5EF4-FFF2-40B4-BE49-F238E27FC236}">
                  <a16:creationId xmlns:a16="http://schemas.microsoft.com/office/drawing/2014/main" id="{F31B37C8-4DE8-48D2-AA8A-8F11CD58C52A}"/>
                </a:ext>
              </a:extLst>
            </p:cNvPr>
            <p:cNvSpPr>
              <a:spLocks/>
            </p:cNvSpPr>
            <p:nvPr>
              <p:custDataLst>
                <p:tags r:id="rId324"/>
              </p:custDataLst>
            </p:nvPr>
          </p:nvSpPr>
          <p:spPr bwMode="auto">
            <a:xfrm>
              <a:off x="4687888" y="1579563"/>
              <a:ext cx="107950" cy="60325"/>
            </a:xfrm>
            <a:custGeom>
              <a:avLst/>
              <a:gdLst>
                <a:gd name="T0" fmla="*/ 5199153 w 246"/>
                <a:gd name="T1" fmla="*/ 74267257 h 42"/>
                <a:gd name="T2" fmla="*/ 6932496 w 246"/>
                <a:gd name="T3" fmla="*/ 74267257 h 42"/>
                <a:gd name="T4" fmla="*/ 8665401 w 246"/>
                <a:gd name="T5" fmla="*/ 72204716 h 42"/>
                <a:gd name="T6" fmla="*/ 10206102 w 246"/>
                <a:gd name="T7" fmla="*/ 68078199 h 42"/>
                <a:gd name="T8" fmla="*/ 11361079 w 246"/>
                <a:gd name="T9" fmla="*/ 63953118 h 42"/>
                <a:gd name="T10" fmla="*/ 12709138 w 246"/>
                <a:gd name="T11" fmla="*/ 61889141 h 42"/>
                <a:gd name="T12" fmla="*/ 13864554 w 246"/>
                <a:gd name="T13" fmla="*/ 59826601 h 42"/>
                <a:gd name="T14" fmla="*/ 15405255 w 246"/>
                <a:gd name="T15" fmla="*/ 59826601 h 42"/>
                <a:gd name="T16" fmla="*/ 16752875 w 246"/>
                <a:gd name="T17" fmla="*/ 61889141 h 42"/>
                <a:gd name="T18" fmla="*/ 16752875 w 246"/>
                <a:gd name="T19" fmla="*/ 86645372 h 42"/>
                <a:gd name="T20" fmla="*/ 29654655 w 246"/>
                <a:gd name="T21" fmla="*/ 86645372 h 42"/>
                <a:gd name="T22" fmla="*/ 29654655 w 246"/>
                <a:gd name="T23" fmla="*/ 80456314 h 42"/>
                <a:gd name="T24" fmla="*/ 30039940 w 246"/>
                <a:gd name="T25" fmla="*/ 74267257 h 42"/>
                <a:gd name="T26" fmla="*/ 30617867 w 246"/>
                <a:gd name="T27" fmla="*/ 68078199 h 42"/>
                <a:gd name="T28" fmla="*/ 31387998 w 246"/>
                <a:gd name="T29" fmla="*/ 63953118 h 42"/>
                <a:gd name="T30" fmla="*/ 33698830 w 246"/>
                <a:gd name="T31" fmla="*/ 53637543 h 42"/>
                <a:gd name="T32" fmla="*/ 36587151 w 246"/>
                <a:gd name="T33" fmla="*/ 47448485 h 42"/>
                <a:gd name="T34" fmla="*/ 42556435 w 246"/>
                <a:gd name="T35" fmla="*/ 35070370 h 42"/>
                <a:gd name="T36" fmla="*/ 47370742 w 246"/>
                <a:gd name="T37" fmla="*/ 24756231 h 42"/>
                <a:gd name="T38" fmla="*/ 40823530 w 246"/>
                <a:gd name="T39" fmla="*/ 26818771 h 42"/>
                <a:gd name="T40" fmla="*/ 35817020 w 246"/>
                <a:gd name="T41" fmla="*/ 28881312 h 42"/>
                <a:gd name="T42" fmla="*/ 34276319 w 246"/>
                <a:gd name="T43" fmla="*/ 30945289 h 42"/>
                <a:gd name="T44" fmla="*/ 32928261 w 246"/>
                <a:gd name="T45" fmla="*/ 30945289 h 42"/>
                <a:gd name="T46" fmla="*/ 32350772 w 246"/>
                <a:gd name="T47" fmla="*/ 28881312 h 42"/>
                <a:gd name="T48" fmla="*/ 32158129 w 246"/>
                <a:gd name="T49" fmla="*/ 24756231 h 42"/>
                <a:gd name="T50" fmla="*/ 30617867 w 246"/>
                <a:gd name="T51" fmla="*/ 33007829 h 42"/>
                <a:gd name="T52" fmla="*/ 29269809 w 246"/>
                <a:gd name="T53" fmla="*/ 35070370 h 42"/>
                <a:gd name="T54" fmla="*/ 28307035 w 246"/>
                <a:gd name="T55" fmla="*/ 35070370 h 42"/>
                <a:gd name="T56" fmla="*/ 27151619 w 246"/>
                <a:gd name="T57" fmla="*/ 30945289 h 42"/>
                <a:gd name="T58" fmla="*/ 26381049 w 246"/>
                <a:gd name="T59" fmla="*/ 24756231 h 42"/>
                <a:gd name="T60" fmla="*/ 25610918 w 246"/>
                <a:gd name="T61" fmla="*/ 18567173 h 42"/>
                <a:gd name="T62" fmla="*/ 24840787 w 246"/>
                <a:gd name="T63" fmla="*/ 10315575 h 42"/>
                <a:gd name="T64" fmla="*/ 24262860 w 246"/>
                <a:gd name="T65" fmla="*/ 0 h 42"/>
                <a:gd name="T66" fmla="*/ 23300086 w 246"/>
                <a:gd name="T67" fmla="*/ 4126517 h 42"/>
                <a:gd name="T68" fmla="*/ 21759824 w 246"/>
                <a:gd name="T69" fmla="*/ 8251598 h 42"/>
                <a:gd name="T70" fmla="*/ 19834277 w 246"/>
                <a:gd name="T71" fmla="*/ 10315575 h 42"/>
                <a:gd name="T72" fmla="*/ 17908291 w 246"/>
                <a:gd name="T73" fmla="*/ 10315575 h 42"/>
                <a:gd name="T74" fmla="*/ 14249839 w 246"/>
                <a:gd name="T75" fmla="*/ 12378115 h 42"/>
                <a:gd name="T76" fmla="*/ 11553722 w 246"/>
                <a:gd name="T77" fmla="*/ 12378115 h 42"/>
                <a:gd name="T78" fmla="*/ 11168876 w 246"/>
                <a:gd name="T79" fmla="*/ 18567173 h 42"/>
                <a:gd name="T80" fmla="*/ 10783591 w 246"/>
                <a:gd name="T81" fmla="*/ 24756231 h 42"/>
                <a:gd name="T82" fmla="*/ 10398306 w 246"/>
                <a:gd name="T83" fmla="*/ 30945289 h 42"/>
                <a:gd name="T84" fmla="*/ 9628175 w 246"/>
                <a:gd name="T85" fmla="*/ 35070370 h 42"/>
                <a:gd name="T86" fmla="*/ 8087474 w 246"/>
                <a:gd name="T87" fmla="*/ 41259427 h 42"/>
                <a:gd name="T88" fmla="*/ 6354569 w 246"/>
                <a:gd name="T89" fmla="*/ 45385945 h 42"/>
                <a:gd name="T90" fmla="*/ 2695678 w 246"/>
                <a:gd name="T91" fmla="*/ 49511026 h 42"/>
                <a:gd name="T92" fmla="*/ 0 w 246"/>
                <a:gd name="T93" fmla="*/ 49511026 h 42"/>
                <a:gd name="T94" fmla="*/ 192642 w 246"/>
                <a:gd name="T95" fmla="*/ 55700083 h 42"/>
                <a:gd name="T96" fmla="*/ 577489 w 246"/>
                <a:gd name="T97" fmla="*/ 59826601 h 42"/>
                <a:gd name="T98" fmla="*/ 962774 w 246"/>
                <a:gd name="T99" fmla="*/ 63953118 h 42"/>
                <a:gd name="T100" fmla="*/ 1732905 w 246"/>
                <a:gd name="T101" fmla="*/ 68078199 h 42"/>
                <a:gd name="T102" fmla="*/ 3273606 w 246"/>
                <a:gd name="T103" fmla="*/ 72204716 h 42"/>
                <a:gd name="T104" fmla="*/ 5199153 w 246"/>
                <a:gd name="T105" fmla="*/ 7426725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7" name="Freeform 487">
              <a:extLst>
                <a:ext uri="{FF2B5EF4-FFF2-40B4-BE49-F238E27FC236}">
                  <a16:creationId xmlns:a16="http://schemas.microsoft.com/office/drawing/2014/main" id="{54E7CC4D-D306-4797-AD38-6E83259031A3}"/>
                </a:ext>
              </a:extLst>
            </p:cNvPr>
            <p:cNvSpPr>
              <a:spLocks/>
            </p:cNvSpPr>
            <p:nvPr>
              <p:custDataLst>
                <p:tags r:id="rId325"/>
              </p:custDataLst>
            </p:nvPr>
          </p:nvSpPr>
          <p:spPr bwMode="auto">
            <a:xfrm>
              <a:off x="4830763" y="1562100"/>
              <a:ext cx="63500" cy="57150"/>
            </a:xfrm>
            <a:custGeom>
              <a:avLst/>
              <a:gdLst>
                <a:gd name="T0" fmla="*/ 18707356 w 149"/>
                <a:gd name="T1" fmla="*/ 0 h 61"/>
                <a:gd name="T2" fmla="*/ 21431889 w 149"/>
                <a:gd name="T3" fmla="*/ 877861 h 61"/>
                <a:gd name="T4" fmla="*/ 24337547 w 149"/>
                <a:gd name="T5" fmla="*/ 2633584 h 61"/>
                <a:gd name="T6" fmla="*/ 26335453 w 149"/>
                <a:gd name="T7" fmla="*/ 4388370 h 61"/>
                <a:gd name="T8" fmla="*/ 27062081 w 149"/>
                <a:gd name="T9" fmla="*/ 5266232 h 61"/>
                <a:gd name="T10" fmla="*/ 27062081 w 149"/>
                <a:gd name="T11" fmla="*/ 7021955 h 61"/>
                <a:gd name="T12" fmla="*/ 26698980 w 149"/>
                <a:gd name="T13" fmla="*/ 8777678 h 61"/>
                <a:gd name="T14" fmla="*/ 26335453 w 149"/>
                <a:gd name="T15" fmla="*/ 10533401 h 61"/>
                <a:gd name="T16" fmla="*/ 25609252 w 149"/>
                <a:gd name="T17" fmla="*/ 11411262 h 61"/>
                <a:gd name="T18" fmla="*/ 24882624 w 149"/>
                <a:gd name="T19" fmla="*/ 12288187 h 61"/>
                <a:gd name="T20" fmla="*/ 23974446 w 149"/>
                <a:gd name="T21" fmla="*/ 12288187 h 61"/>
                <a:gd name="T22" fmla="*/ 23066268 w 149"/>
                <a:gd name="T23" fmla="*/ 12288187 h 61"/>
                <a:gd name="T24" fmla="*/ 22339641 w 149"/>
                <a:gd name="T25" fmla="*/ 10533401 h 61"/>
                <a:gd name="T26" fmla="*/ 22339641 w 149"/>
                <a:gd name="T27" fmla="*/ 20188003 h 61"/>
                <a:gd name="T28" fmla="*/ 22339641 w 149"/>
                <a:gd name="T29" fmla="*/ 28965681 h 61"/>
                <a:gd name="T30" fmla="*/ 22339641 w 149"/>
                <a:gd name="T31" fmla="*/ 35987636 h 61"/>
                <a:gd name="T32" fmla="*/ 22339641 w 149"/>
                <a:gd name="T33" fmla="*/ 43009591 h 61"/>
                <a:gd name="T34" fmla="*/ 21068362 w 149"/>
                <a:gd name="T35" fmla="*/ 43887452 h 61"/>
                <a:gd name="T36" fmla="*/ 19797084 w 149"/>
                <a:gd name="T37" fmla="*/ 44765314 h 61"/>
                <a:gd name="T38" fmla="*/ 18888906 w 149"/>
                <a:gd name="T39" fmla="*/ 46521037 h 61"/>
                <a:gd name="T40" fmla="*/ 18162279 w 149"/>
                <a:gd name="T41" fmla="*/ 48276760 h 61"/>
                <a:gd name="T42" fmla="*/ 17072550 w 149"/>
                <a:gd name="T43" fmla="*/ 50031546 h 61"/>
                <a:gd name="T44" fmla="*/ 16164799 w 149"/>
                <a:gd name="T45" fmla="*/ 51787269 h 61"/>
                <a:gd name="T46" fmla="*/ 15074644 w 149"/>
                <a:gd name="T47" fmla="*/ 53542992 h 61"/>
                <a:gd name="T48" fmla="*/ 13803366 w 149"/>
                <a:gd name="T49" fmla="*/ 53542992 h 61"/>
                <a:gd name="T50" fmla="*/ 12168987 w 149"/>
                <a:gd name="T51" fmla="*/ 52665130 h 61"/>
                <a:gd name="T52" fmla="*/ 9626003 w 149"/>
                <a:gd name="T53" fmla="*/ 50031546 h 61"/>
                <a:gd name="T54" fmla="*/ 7083446 w 149"/>
                <a:gd name="T55" fmla="*/ 47398898 h 61"/>
                <a:gd name="T56" fmla="*/ 4540463 w 149"/>
                <a:gd name="T57" fmla="*/ 43009591 h 61"/>
                <a:gd name="T58" fmla="*/ 2179456 w 149"/>
                <a:gd name="T59" fmla="*/ 39499082 h 61"/>
                <a:gd name="T60" fmla="*/ 545077 w 149"/>
                <a:gd name="T61" fmla="*/ 35987636 h 61"/>
                <a:gd name="T62" fmla="*/ 181550 w 149"/>
                <a:gd name="T63" fmla="*/ 34232850 h 61"/>
                <a:gd name="T64" fmla="*/ 0 w 149"/>
                <a:gd name="T65" fmla="*/ 33354989 h 61"/>
                <a:gd name="T66" fmla="*/ 0 w 149"/>
                <a:gd name="T67" fmla="*/ 32477127 h 61"/>
                <a:gd name="T68" fmla="*/ 545077 w 149"/>
                <a:gd name="T69" fmla="*/ 32477127 h 61"/>
                <a:gd name="T70" fmla="*/ 3450735 w 149"/>
                <a:gd name="T71" fmla="*/ 31599266 h 61"/>
                <a:gd name="T72" fmla="*/ 6356819 w 149"/>
                <a:gd name="T73" fmla="*/ 30721404 h 61"/>
                <a:gd name="T74" fmla="*/ 8717826 w 149"/>
                <a:gd name="T75" fmla="*/ 28087820 h 61"/>
                <a:gd name="T76" fmla="*/ 10897282 w 149"/>
                <a:gd name="T77" fmla="*/ 23699449 h 61"/>
                <a:gd name="T78" fmla="*/ 13077164 w 149"/>
                <a:gd name="T79" fmla="*/ 19310142 h 61"/>
                <a:gd name="T80" fmla="*/ 14893094 w 149"/>
                <a:gd name="T81" fmla="*/ 14043910 h 61"/>
                <a:gd name="T82" fmla="*/ 16891000 w 149"/>
                <a:gd name="T83" fmla="*/ 7021955 h 61"/>
                <a:gd name="T84" fmla="*/ 1870735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8" name="Freeform 488">
              <a:extLst>
                <a:ext uri="{FF2B5EF4-FFF2-40B4-BE49-F238E27FC236}">
                  <a16:creationId xmlns:a16="http://schemas.microsoft.com/office/drawing/2014/main" id="{FC1D1905-D1B3-4EC5-A70B-373F249451F7}"/>
                </a:ext>
              </a:extLst>
            </p:cNvPr>
            <p:cNvSpPr>
              <a:spLocks/>
            </p:cNvSpPr>
            <p:nvPr>
              <p:custDataLst>
                <p:tags r:id="rId326"/>
              </p:custDataLst>
            </p:nvPr>
          </p:nvSpPr>
          <p:spPr bwMode="auto">
            <a:xfrm>
              <a:off x="4867275" y="1570038"/>
              <a:ext cx="130175" cy="57150"/>
            </a:xfrm>
            <a:custGeom>
              <a:avLst/>
              <a:gdLst>
                <a:gd name="T0" fmla="*/ 25209542 w 299"/>
                <a:gd name="T1" fmla="*/ 42943591 h 74"/>
                <a:gd name="T2" fmla="*/ 29190111 w 299"/>
                <a:gd name="T3" fmla="*/ 38768552 h 74"/>
                <a:gd name="T4" fmla="*/ 33738835 w 299"/>
                <a:gd name="T5" fmla="*/ 32207886 h 74"/>
                <a:gd name="T6" fmla="*/ 37719404 w 299"/>
                <a:gd name="T7" fmla="*/ 25050235 h 74"/>
                <a:gd name="T8" fmla="*/ 39235790 w 299"/>
                <a:gd name="T9" fmla="*/ 23857808 h 74"/>
                <a:gd name="T10" fmla="*/ 39994201 w 299"/>
                <a:gd name="T11" fmla="*/ 27436634 h 74"/>
                <a:gd name="T12" fmla="*/ 41699972 w 299"/>
                <a:gd name="T13" fmla="*/ 30418474 h 74"/>
                <a:gd name="T14" fmla="*/ 46059311 w 299"/>
                <a:gd name="T15" fmla="*/ 32804100 h 74"/>
                <a:gd name="T16" fmla="*/ 50987675 w 299"/>
                <a:gd name="T17" fmla="*/ 32804100 h 74"/>
                <a:gd name="T18" fmla="*/ 54209833 w 299"/>
                <a:gd name="T19" fmla="*/ 32804100 h 74"/>
                <a:gd name="T20" fmla="*/ 55536835 w 299"/>
                <a:gd name="T21" fmla="*/ 27436634 h 74"/>
                <a:gd name="T22" fmla="*/ 56484630 w 299"/>
                <a:gd name="T23" fmla="*/ 18489570 h 74"/>
                <a:gd name="T24" fmla="*/ 52883267 w 299"/>
                <a:gd name="T25" fmla="*/ 14910744 h 74"/>
                <a:gd name="T26" fmla="*/ 46249131 w 299"/>
                <a:gd name="T27" fmla="*/ 14910744 h 74"/>
                <a:gd name="T28" fmla="*/ 42647768 w 299"/>
                <a:gd name="T29" fmla="*/ 14910744 h 74"/>
                <a:gd name="T30" fmla="*/ 40562791 w 299"/>
                <a:gd name="T31" fmla="*/ 16103943 h 74"/>
                <a:gd name="T32" fmla="*/ 38667199 w 299"/>
                <a:gd name="T33" fmla="*/ 19682769 h 74"/>
                <a:gd name="T34" fmla="*/ 32601654 w 299"/>
                <a:gd name="T35" fmla="*/ 22068395 h 74"/>
                <a:gd name="T36" fmla="*/ 33360065 w 299"/>
                <a:gd name="T37" fmla="*/ 16700157 h 74"/>
                <a:gd name="T38" fmla="*/ 34118040 w 299"/>
                <a:gd name="T39" fmla="*/ 12525118 h 74"/>
                <a:gd name="T40" fmla="*/ 36771608 w 299"/>
                <a:gd name="T41" fmla="*/ 7753865 h 74"/>
                <a:gd name="T42" fmla="*/ 39804380 w 299"/>
                <a:gd name="T43" fmla="*/ 5368239 h 74"/>
                <a:gd name="T44" fmla="*/ 42647768 w 299"/>
                <a:gd name="T45" fmla="*/ 0 h 74"/>
                <a:gd name="T46" fmla="*/ 35065836 w 299"/>
                <a:gd name="T47" fmla="*/ 1789413 h 74"/>
                <a:gd name="T48" fmla="*/ 29758702 w 299"/>
                <a:gd name="T49" fmla="*/ 6560666 h 74"/>
                <a:gd name="T50" fmla="*/ 25398928 w 299"/>
                <a:gd name="T51" fmla="*/ 14910744 h 74"/>
                <a:gd name="T52" fmla="*/ 21608179 w 299"/>
                <a:gd name="T53" fmla="*/ 23857808 h 74"/>
                <a:gd name="T54" fmla="*/ 18954612 w 299"/>
                <a:gd name="T55" fmla="*/ 31611673 h 74"/>
                <a:gd name="T56" fmla="*/ 16490430 w 299"/>
                <a:gd name="T57" fmla="*/ 35190499 h 74"/>
                <a:gd name="T58" fmla="*/ 12131091 w 299"/>
                <a:gd name="T59" fmla="*/ 37576125 h 74"/>
                <a:gd name="T60" fmla="*/ 6065545 w 299"/>
                <a:gd name="T61" fmla="*/ 38172339 h 74"/>
                <a:gd name="T62" fmla="*/ 2274362 w 299"/>
                <a:gd name="T63" fmla="*/ 39961751 h 74"/>
                <a:gd name="T64" fmla="*/ 379205 w 299"/>
                <a:gd name="T65" fmla="*/ 41751164 h 74"/>
                <a:gd name="T66" fmla="*/ 7392111 w 299"/>
                <a:gd name="T67" fmla="*/ 44136791 h 74"/>
                <a:gd name="T68" fmla="*/ 19333817 w 299"/>
                <a:gd name="T69" fmla="*/ 44136791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9" name="Freeform 489">
              <a:extLst>
                <a:ext uri="{FF2B5EF4-FFF2-40B4-BE49-F238E27FC236}">
                  <a16:creationId xmlns:a16="http://schemas.microsoft.com/office/drawing/2014/main" id="{31DC4536-55F7-4980-99BD-F5CCB77D3882}"/>
                </a:ext>
              </a:extLst>
            </p:cNvPr>
            <p:cNvSpPr>
              <a:spLocks/>
            </p:cNvSpPr>
            <p:nvPr>
              <p:custDataLst>
                <p:tags r:id="rId327"/>
              </p:custDataLst>
            </p:nvPr>
          </p:nvSpPr>
          <p:spPr bwMode="auto">
            <a:xfrm>
              <a:off x="5400675" y="1755775"/>
              <a:ext cx="41275" cy="57150"/>
            </a:xfrm>
            <a:custGeom>
              <a:avLst/>
              <a:gdLst>
                <a:gd name="T0" fmla="*/ 15843822 w 100"/>
                <a:gd name="T1" fmla="*/ 0 h 42"/>
                <a:gd name="T2" fmla="*/ 16525272 w 100"/>
                <a:gd name="T3" fmla="*/ 12960804 h 42"/>
                <a:gd name="T4" fmla="*/ 17036256 w 100"/>
                <a:gd name="T5" fmla="*/ 33327975 h 42"/>
                <a:gd name="T6" fmla="*/ 15673356 w 100"/>
                <a:gd name="T7" fmla="*/ 44436846 h 42"/>
                <a:gd name="T8" fmla="*/ 14651387 w 100"/>
                <a:gd name="T9" fmla="*/ 53695146 h 42"/>
                <a:gd name="T10" fmla="*/ 13458539 w 100"/>
                <a:gd name="T11" fmla="*/ 62952086 h 42"/>
                <a:gd name="T12" fmla="*/ 12266105 w 100"/>
                <a:gd name="T13" fmla="*/ 68506521 h 42"/>
                <a:gd name="T14" fmla="*/ 11073670 w 100"/>
                <a:gd name="T15" fmla="*/ 72210386 h 42"/>
                <a:gd name="T16" fmla="*/ 9710769 w 100"/>
                <a:gd name="T17" fmla="*/ 75912889 h 42"/>
                <a:gd name="T18" fmla="*/ 8347869 w 100"/>
                <a:gd name="T19" fmla="*/ 77764821 h 42"/>
                <a:gd name="T20" fmla="*/ 6814503 w 100"/>
                <a:gd name="T21" fmla="*/ 77764821 h 42"/>
                <a:gd name="T22" fmla="*/ 4599686 w 100"/>
                <a:gd name="T23" fmla="*/ 75912889 h 42"/>
                <a:gd name="T24" fmla="*/ 2044351 w 100"/>
                <a:gd name="T25" fmla="*/ 72210386 h 42"/>
                <a:gd name="T26" fmla="*/ 170466 w 100"/>
                <a:gd name="T27" fmla="*/ 68506521 h 42"/>
                <a:gd name="T28" fmla="*/ 0 w 100"/>
                <a:gd name="T29" fmla="*/ 66655950 h 42"/>
                <a:gd name="T30" fmla="*/ 1022382 w 100"/>
                <a:gd name="T31" fmla="*/ 66655950 h 42"/>
                <a:gd name="T32" fmla="*/ 2044351 w 100"/>
                <a:gd name="T33" fmla="*/ 64804018 h 42"/>
                <a:gd name="T34" fmla="*/ 3066733 w 100"/>
                <a:gd name="T35" fmla="*/ 61101514 h 42"/>
                <a:gd name="T36" fmla="*/ 3918236 w 100"/>
                <a:gd name="T37" fmla="*/ 55545718 h 42"/>
                <a:gd name="T38" fmla="*/ 5622068 w 100"/>
                <a:gd name="T39" fmla="*/ 46288779 h 42"/>
                <a:gd name="T40" fmla="*/ 7495953 w 100"/>
                <a:gd name="T41" fmla="*/ 33327975 h 42"/>
                <a:gd name="T42" fmla="*/ 9369838 w 100"/>
                <a:gd name="T43" fmla="*/ 20367171 h 42"/>
                <a:gd name="T44" fmla="*/ 11244136 w 100"/>
                <a:gd name="T45" fmla="*/ 9258300 h 42"/>
                <a:gd name="T46" fmla="*/ 12266105 w 100"/>
                <a:gd name="T47" fmla="*/ 5554436 h 42"/>
                <a:gd name="T48" fmla="*/ 13458539 w 100"/>
                <a:gd name="T49" fmla="*/ 1851932 h 42"/>
                <a:gd name="T50" fmla="*/ 14651387 w 100"/>
                <a:gd name="T51" fmla="*/ 0 h 42"/>
                <a:gd name="T52" fmla="*/ 15843822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0" name="Freeform 490">
              <a:extLst>
                <a:ext uri="{FF2B5EF4-FFF2-40B4-BE49-F238E27FC236}">
                  <a16:creationId xmlns:a16="http://schemas.microsoft.com/office/drawing/2014/main" id="{F053167E-4DFD-468E-9E95-5D8F8463BF34}"/>
                </a:ext>
              </a:extLst>
            </p:cNvPr>
            <p:cNvSpPr>
              <a:spLocks/>
            </p:cNvSpPr>
            <p:nvPr>
              <p:custDataLst>
                <p:tags r:id="rId328"/>
              </p:custDataLst>
            </p:nvPr>
          </p:nvSpPr>
          <p:spPr bwMode="auto">
            <a:xfrm>
              <a:off x="5310188" y="1614488"/>
              <a:ext cx="15875" cy="58737"/>
            </a:xfrm>
            <a:custGeom>
              <a:avLst/>
              <a:gdLst>
                <a:gd name="T0" fmla="*/ 6300391 w 40"/>
                <a:gd name="T1" fmla="*/ 690030529 h 5"/>
                <a:gd name="T2" fmla="*/ 0 w 40"/>
                <a:gd name="T3" fmla="*/ 690030529 h 5"/>
                <a:gd name="T4" fmla="*/ 787400 w 40"/>
                <a:gd name="T5" fmla="*/ 414020667 h 5"/>
                <a:gd name="T6" fmla="*/ 1417638 w 40"/>
                <a:gd name="T7" fmla="*/ 138010805 h 5"/>
                <a:gd name="T8" fmla="*/ 2362597 w 40"/>
                <a:gd name="T9" fmla="*/ 0 h 5"/>
                <a:gd name="T10" fmla="*/ 3150394 w 40"/>
                <a:gd name="T11" fmla="*/ 0 h 5"/>
                <a:gd name="T12" fmla="*/ 3937794 w 40"/>
                <a:gd name="T13" fmla="*/ 0 h 5"/>
                <a:gd name="T14" fmla="*/ 4725194 w 40"/>
                <a:gd name="T15" fmla="*/ 138010805 h 5"/>
                <a:gd name="T16" fmla="*/ 5512991 w 40"/>
                <a:gd name="T17" fmla="*/ 414020667 h 5"/>
                <a:gd name="T18" fmla="*/ 6300391 w 40"/>
                <a:gd name="T19" fmla="*/ 690030529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1" name="Freeform 491">
              <a:extLst>
                <a:ext uri="{FF2B5EF4-FFF2-40B4-BE49-F238E27FC236}">
                  <a16:creationId xmlns:a16="http://schemas.microsoft.com/office/drawing/2014/main" id="{5E15C815-442F-470C-B17B-9D8F3121FF5A}"/>
                </a:ext>
              </a:extLst>
            </p:cNvPr>
            <p:cNvSpPr>
              <a:spLocks/>
            </p:cNvSpPr>
            <p:nvPr>
              <p:custDataLst>
                <p:tags r:id="rId329"/>
              </p:custDataLst>
            </p:nvPr>
          </p:nvSpPr>
          <p:spPr bwMode="auto">
            <a:xfrm>
              <a:off x="5332413" y="1573213"/>
              <a:ext cx="14287" cy="60325"/>
            </a:xfrm>
            <a:custGeom>
              <a:avLst/>
              <a:gdLst>
                <a:gd name="T0" fmla="*/ 0 w 33"/>
                <a:gd name="T1" fmla="*/ 71948265 h 31"/>
                <a:gd name="T2" fmla="*/ 3748822 w 33"/>
                <a:gd name="T3" fmla="*/ 0 h 31"/>
                <a:gd name="T4" fmla="*/ 3748822 w 33"/>
                <a:gd name="T5" fmla="*/ 15147413 h 31"/>
                <a:gd name="T6" fmla="*/ 4123748 w 33"/>
                <a:gd name="T7" fmla="*/ 37868532 h 31"/>
                <a:gd name="T8" fmla="*/ 4685703 w 33"/>
                <a:gd name="T9" fmla="*/ 53015945 h 31"/>
                <a:gd name="T10" fmla="*/ 5060629 w 33"/>
                <a:gd name="T11" fmla="*/ 68161412 h 31"/>
                <a:gd name="T12" fmla="*/ 5810480 w 33"/>
                <a:gd name="T13" fmla="*/ 98456238 h 31"/>
                <a:gd name="T14" fmla="*/ 6185405 w 33"/>
                <a:gd name="T15" fmla="*/ 117390504 h 31"/>
                <a:gd name="T16" fmla="*/ 0 w 33"/>
                <a:gd name="T17" fmla="*/ 117390504 h 31"/>
                <a:gd name="T18" fmla="*/ 0 w 33"/>
                <a:gd name="T19" fmla="*/ 94669385 h 31"/>
                <a:gd name="T20" fmla="*/ 0 w 33"/>
                <a:gd name="T21" fmla="*/ 71948265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2" name="Freeform 492">
              <a:extLst>
                <a:ext uri="{FF2B5EF4-FFF2-40B4-BE49-F238E27FC236}">
                  <a16:creationId xmlns:a16="http://schemas.microsoft.com/office/drawing/2014/main" id="{FCADFAC2-7B90-4A1C-A03F-731F1CF2BE9A}"/>
                </a:ext>
              </a:extLst>
            </p:cNvPr>
            <p:cNvSpPr>
              <a:spLocks/>
            </p:cNvSpPr>
            <p:nvPr>
              <p:custDataLst>
                <p:tags r:id="rId330"/>
              </p:custDataLst>
            </p:nvPr>
          </p:nvSpPr>
          <p:spPr bwMode="auto">
            <a:xfrm>
              <a:off x="5476875" y="1689100"/>
              <a:ext cx="17463" cy="57150"/>
            </a:xfrm>
            <a:custGeom>
              <a:avLst/>
              <a:gdLst>
                <a:gd name="T0" fmla="*/ 7437960 w 41"/>
                <a:gd name="T1" fmla="*/ 0 h 43"/>
                <a:gd name="T2" fmla="*/ 7437960 w 41"/>
                <a:gd name="T3" fmla="*/ 75956337 h 43"/>
                <a:gd name="T4" fmla="*/ 5623938 w 41"/>
                <a:gd name="T5" fmla="*/ 74190003 h 43"/>
                <a:gd name="T6" fmla="*/ 4353824 w 41"/>
                <a:gd name="T7" fmla="*/ 70657336 h 43"/>
                <a:gd name="T8" fmla="*/ 3265581 w 41"/>
                <a:gd name="T9" fmla="*/ 65358335 h 43"/>
                <a:gd name="T10" fmla="*/ 2358357 w 41"/>
                <a:gd name="T11" fmla="*/ 58291671 h 43"/>
                <a:gd name="T12" fmla="*/ 907224 w 41"/>
                <a:gd name="T13" fmla="*/ 44161001 h 43"/>
                <a:gd name="T14" fmla="*/ 0 w 41"/>
                <a:gd name="T15" fmla="*/ 33561670 h 43"/>
                <a:gd name="T16" fmla="*/ 2176912 w 41"/>
                <a:gd name="T17" fmla="*/ 22963667 h 43"/>
                <a:gd name="T18" fmla="*/ 4535269 w 41"/>
                <a:gd name="T19" fmla="*/ 12364336 h 43"/>
                <a:gd name="T20" fmla="*/ 6530736 w 41"/>
                <a:gd name="T21" fmla="*/ 3532667 h 43"/>
                <a:gd name="T22" fmla="*/ 7437960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3" name="Freeform 493">
              <a:extLst>
                <a:ext uri="{FF2B5EF4-FFF2-40B4-BE49-F238E27FC236}">
                  <a16:creationId xmlns:a16="http://schemas.microsoft.com/office/drawing/2014/main" id="{65384006-D6FD-4A38-99E8-F78E6443F26C}"/>
                </a:ext>
              </a:extLst>
            </p:cNvPr>
            <p:cNvSpPr>
              <a:spLocks/>
            </p:cNvSpPr>
            <p:nvPr>
              <p:custDataLst>
                <p:tags r:id="rId331"/>
              </p:custDataLst>
            </p:nvPr>
          </p:nvSpPr>
          <p:spPr bwMode="auto">
            <a:xfrm>
              <a:off x="5530850" y="1573213"/>
              <a:ext cx="93663" cy="60325"/>
            </a:xfrm>
            <a:custGeom>
              <a:avLst/>
              <a:gdLst>
                <a:gd name="T0" fmla="*/ 11795382 w 213"/>
                <a:gd name="T1" fmla="*/ 0 h 62"/>
                <a:gd name="T2" fmla="*/ 16049353 w 213"/>
                <a:gd name="T3" fmla="*/ 0 h 62"/>
                <a:gd name="T4" fmla="*/ 20303324 w 213"/>
                <a:gd name="T5" fmla="*/ 946713 h 62"/>
                <a:gd name="T6" fmla="*/ 24557295 w 213"/>
                <a:gd name="T7" fmla="*/ 2840140 h 62"/>
                <a:gd name="T8" fmla="*/ 28231259 w 213"/>
                <a:gd name="T9" fmla="*/ 6626993 h 62"/>
                <a:gd name="T10" fmla="*/ 32098706 w 213"/>
                <a:gd name="T11" fmla="*/ 10413846 h 62"/>
                <a:gd name="T12" fmla="*/ 35579188 w 213"/>
                <a:gd name="T13" fmla="*/ 15147413 h 62"/>
                <a:gd name="T14" fmla="*/ 36932684 w 213"/>
                <a:gd name="T15" fmla="*/ 17987553 h 62"/>
                <a:gd name="T16" fmla="*/ 38479663 w 213"/>
                <a:gd name="T17" fmla="*/ 21774406 h 62"/>
                <a:gd name="T18" fmla="*/ 40026641 w 213"/>
                <a:gd name="T19" fmla="*/ 25561259 h 62"/>
                <a:gd name="T20" fmla="*/ 41186655 w 213"/>
                <a:gd name="T21" fmla="*/ 29348113 h 62"/>
                <a:gd name="T22" fmla="*/ 40800130 w 213"/>
                <a:gd name="T23" fmla="*/ 33133993 h 62"/>
                <a:gd name="T24" fmla="*/ 40026641 w 213"/>
                <a:gd name="T25" fmla="*/ 35974133 h 62"/>
                <a:gd name="T26" fmla="*/ 38866187 w 213"/>
                <a:gd name="T27" fmla="*/ 38814273 h 62"/>
                <a:gd name="T28" fmla="*/ 37706173 w 213"/>
                <a:gd name="T29" fmla="*/ 41654413 h 62"/>
                <a:gd name="T30" fmla="*/ 34225691 w 213"/>
                <a:gd name="T31" fmla="*/ 46387979 h 62"/>
                <a:gd name="T32" fmla="*/ 30164763 w 213"/>
                <a:gd name="T33" fmla="*/ 50174832 h 62"/>
                <a:gd name="T34" fmla="*/ 26104274 w 213"/>
                <a:gd name="T35" fmla="*/ 53961685 h 62"/>
                <a:gd name="T36" fmla="*/ 22043345 w 213"/>
                <a:gd name="T37" fmla="*/ 55855112 h 62"/>
                <a:gd name="T38" fmla="*/ 18369821 w 213"/>
                <a:gd name="T39" fmla="*/ 58695252 h 62"/>
                <a:gd name="T40" fmla="*/ 15469346 w 213"/>
                <a:gd name="T41" fmla="*/ 58695252 h 62"/>
                <a:gd name="T42" fmla="*/ 11988424 w 213"/>
                <a:gd name="T43" fmla="*/ 58695252 h 62"/>
                <a:gd name="T44" fmla="*/ 8314460 w 213"/>
                <a:gd name="T45" fmla="*/ 55855112 h 62"/>
                <a:gd name="T46" fmla="*/ 6380957 w 213"/>
                <a:gd name="T47" fmla="*/ 55855112 h 62"/>
                <a:gd name="T48" fmla="*/ 4447453 w 213"/>
                <a:gd name="T49" fmla="*/ 55855112 h 62"/>
                <a:gd name="T50" fmla="*/ 2320468 w 213"/>
                <a:gd name="T51" fmla="*/ 56801825 h 62"/>
                <a:gd name="T52" fmla="*/ 0 w 213"/>
                <a:gd name="T53" fmla="*/ 58695252 h 62"/>
                <a:gd name="T54" fmla="*/ 1160014 w 213"/>
                <a:gd name="T55" fmla="*/ 47334692 h 62"/>
                <a:gd name="T56" fmla="*/ 2126986 w 213"/>
                <a:gd name="T57" fmla="*/ 36920846 h 62"/>
                <a:gd name="T58" fmla="*/ 3287000 w 213"/>
                <a:gd name="T59" fmla="*/ 27454686 h 62"/>
                <a:gd name="T60" fmla="*/ 4447453 w 213"/>
                <a:gd name="T61" fmla="*/ 18934266 h 62"/>
                <a:gd name="T62" fmla="*/ 5220943 w 213"/>
                <a:gd name="T63" fmla="*/ 15147413 h 62"/>
                <a:gd name="T64" fmla="*/ 5800950 w 213"/>
                <a:gd name="T65" fmla="*/ 11360560 h 62"/>
                <a:gd name="T66" fmla="*/ 6574439 w 213"/>
                <a:gd name="T67" fmla="*/ 8520420 h 62"/>
                <a:gd name="T68" fmla="*/ 7541411 w 213"/>
                <a:gd name="T69" fmla="*/ 5680280 h 62"/>
                <a:gd name="T70" fmla="*/ 8314460 w 213"/>
                <a:gd name="T71" fmla="*/ 2840140 h 62"/>
                <a:gd name="T72" fmla="*/ 9474914 w 213"/>
                <a:gd name="T73" fmla="*/ 946713 h 62"/>
                <a:gd name="T74" fmla="*/ 10441885 w 213"/>
                <a:gd name="T75" fmla="*/ 0 h 62"/>
                <a:gd name="T76" fmla="*/ 11795382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4" name="Freeform 494">
              <a:extLst>
                <a:ext uri="{FF2B5EF4-FFF2-40B4-BE49-F238E27FC236}">
                  <a16:creationId xmlns:a16="http://schemas.microsoft.com/office/drawing/2014/main" id="{8C93F1D8-9543-4F66-91B1-6BAE1EA94AC3}"/>
                </a:ext>
              </a:extLst>
            </p:cNvPr>
            <p:cNvSpPr>
              <a:spLocks/>
            </p:cNvSpPr>
            <p:nvPr>
              <p:custDataLst>
                <p:tags r:id="rId332"/>
              </p:custDataLst>
            </p:nvPr>
          </p:nvSpPr>
          <p:spPr bwMode="auto">
            <a:xfrm>
              <a:off x="5591175" y="1598613"/>
              <a:ext cx="103188" cy="60325"/>
            </a:xfrm>
            <a:custGeom>
              <a:avLst/>
              <a:gdLst>
                <a:gd name="T0" fmla="*/ 7642820 w 239"/>
                <a:gd name="T1" fmla="*/ 0 h 56"/>
                <a:gd name="T2" fmla="*/ 5592012 w 239"/>
                <a:gd name="T3" fmla="*/ 3481614 h 56"/>
                <a:gd name="T4" fmla="*/ 4287267 w 239"/>
                <a:gd name="T5" fmla="*/ 5801972 h 56"/>
                <a:gd name="T6" fmla="*/ 3541637 w 239"/>
                <a:gd name="T7" fmla="*/ 8123408 h 56"/>
                <a:gd name="T8" fmla="*/ 2796006 w 239"/>
                <a:gd name="T9" fmla="*/ 10443766 h 56"/>
                <a:gd name="T10" fmla="*/ 2423407 w 239"/>
                <a:gd name="T11" fmla="*/ 15085559 h 56"/>
                <a:gd name="T12" fmla="*/ 1863860 w 239"/>
                <a:gd name="T13" fmla="*/ 17405917 h 56"/>
                <a:gd name="T14" fmla="*/ 1304745 w 239"/>
                <a:gd name="T15" fmla="*/ 19727352 h 56"/>
                <a:gd name="T16" fmla="*/ 0 w 239"/>
                <a:gd name="T17" fmla="*/ 22047710 h 56"/>
                <a:gd name="T18" fmla="*/ 372599 w 239"/>
                <a:gd name="T19" fmla="*/ 27850760 h 56"/>
                <a:gd name="T20" fmla="*/ 932146 w 239"/>
                <a:gd name="T21" fmla="*/ 31331297 h 56"/>
                <a:gd name="T22" fmla="*/ 1304745 w 239"/>
                <a:gd name="T23" fmla="*/ 34812911 h 56"/>
                <a:gd name="T24" fmla="*/ 1863860 w 239"/>
                <a:gd name="T25" fmla="*/ 38294525 h 56"/>
                <a:gd name="T26" fmla="*/ 3169037 w 239"/>
                <a:gd name="T27" fmla="*/ 41775063 h 56"/>
                <a:gd name="T28" fmla="*/ 4473783 w 239"/>
                <a:gd name="T29" fmla="*/ 44096498 h 56"/>
                <a:gd name="T30" fmla="*/ 7642820 w 239"/>
                <a:gd name="T31" fmla="*/ 44096498 h 56"/>
                <a:gd name="T32" fmla="*/ 10065795 w 239"/>
                <a:gd name="T33" fmla="*/ 44096498 h 56"/>
                <a:gd name="T34" fmla="*/ 28520472 w 239"/>
                <a:gd name="T35" fmla="*/ 44096498 h 56"/>
                <a:gd name="T36" fmla="*/ 28893072 w 239"/>
                <a:gd name="T37" fmla="*/ 47578112 h 56"/>
                <a:gd name="T38" fmla="*/ 29079587 w 239"/>
                <a:gd name="T39" fmla="*/ 51058649 h 56"/>
                <a:gd name="T40" fmla="*/ 29638702 w 239"/>
                <a:gd name="T41" fmla="*/ 53380084 h 56"/>
                <a:gd name="T42" fmla="*/ 30197817 w 239"/>
                <a:gd name="T43" fmla="*/ 55700442 h 56"/>
                <a:gd name="T44" fmla="*/ 31129963 w 239"/>
                <a:gd name="T45" fmla="*/ 59182057 h 56"/>
                <a:gd name="T46" fmla="*/ 32434708 w 239"/>
                <a:gd name="T47" fmla="*/ 62663671 h 56"/>
                <a:gd name="T48" fmla="*/ 35044631 w 239"/>
                <a:gd name="T49" fmla="*/ 64984029 h 56"/>
                <a:gd name="T50" fmla="*/ 37281522 w 239"/>
                <a:gd name="T51" fmla="*/ 64984029 h 56"/>
                <a:gd name="T52" fmla="*/ 38027153 w 239"/>
                <a:gd name="T53" fmla="*/ 63823850 h 56"/>
                <a:gd name="T54" fmla="*/ 39145382 w 239"/>
                <a:gd name="T55" fmla="*/ 62663671 h 56"/>
                <a:gd name="T56" fmla="*/ 39891013 w 239"/>
                <a:gd name="T57" fmla="*/ 60342236 h 56"/>
                <a:gd name="T58" fmla="*/ 41009674 w 239"/>
                <a:gd name="T59" fmla="*/ 56860621 h 56"/>
                <a:gd name="T60" fmla="*/ 42873535 w 239"/>
                <a:gd name="T61" fmla="*/ 49898470 h 56"/>
                <a:gd name="T62" fmla="*/ 44551311 w 239"/>
                <a:gd name="T63" fmla="*/ 44096498 h 56"/>
                <a:gd name="T64" fmla="*/ 43246566 w 239"/>
                <a:gd name="T65" fmla="*/ 42936319 h 56"/>
                <a:gd name="T66" fmla="*/ 41941820 w 239"/>
                <a:gd name="T67" fmla="*/ 41775063 h 56"/>
                <a:gd name="T68" fmla="*/ 40823159 w 239"/>
                <a:gd name="T69" fmla="*/ 39454704 h 56"/>
                <a:gd name="T70" fmla="*/ 39704929 w 239"/>
                <a:gd name="T71" fmla="*/ 37133269 h 56"/>
                <a:gd name="T72" fmla="*/ 37468038 w 239"/>
                <a:gd name="T73" fmla="*/ 30171118 h 56"/>
                <a:gd name="T74" fmla="*/ 35417230 w 239"/>
                <a:gd name="T75" fmla="*/ 22047710 h 56"/>
                <a:gd name="T76" fmla="*/ 33180339 w 239"/>
                <a:gd name="T77" fmla="*/ 15085559 h 56"/>
                <a:gd name="T78" fmla="*/ 31129963 w 239"/>
                <a:gd name="T79" fmla="*/ 6962151 h 56"/>
                <a:gd name="T80" fmla="*/ 29825218 w 239"/>
                <a:gd name="T81" fmla="*/ 4641793 h 56"/>
                <a:gd name="T82" fmla="*/ 28706556 w 239"/>
                <a:gd name="T83" fmla="*/ 2320358 h 56"/>
                <a:gd name="T84" fmla="*/ 27401811 w 239"/>
                <a:gd name="T85" fmla="*/ 1160179 h 56"/>
                <a:gd name="T86" fmla="*/ 26097066 w 239"/>
                <a:gd name="T87" fmla="*/ 0 h 56"/>
                <a:gd name="T88" fmla="*/ 24978404 w 239"/>
                <a:gd name="T89" fmla="*/ 1160179 h 56"/>
                <a:gd name="T90" fmla="*/ 23673659 w 239"/>
                <a:gd name="T91" fmla="*/ 4641793 h 56"/>
                <a:gd name="T92" fmla="*/ 23114544 w 239"/>
                <a:gd name="T93" fmla="*/ 6962151 h 56"/>
                <a:gd name="T94" fmla="*/ 22741513 w 239"/>
                <a:gd name="T95" fmla="*/ 9283587 h 56"/>
                <a:gd name="T96" fmla="*/ 22555429 w 239"/>
                <a:gd name="T97" fmla="*/ 11603945 h 56"/>
                <a:gd name="T98" fmla="*/ 22368913 w 239"/>
                <a:gd name="T99" fmla="*/ 15085559 h 56"/>
                <a:gd name="T100" fmla="*/ 18640761 w 239"/>
                <a:gd name="T101" fmla="*/ 9283587 h 56"/>
                <a:gd name="T102" fmla="*/ 14912609 w 239"/>
                <a:gd name="T103" fmla="*/ 4641793 h 56"/>
                <a:gd name="T104" fmla="*/ 11370972 w 239"/>
                <a:gd name="T105" fmla="*/ 1160179 h 56"/>
                <a:gd name="T106" fmla="*/ 7642820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5" name="Freeform 495">
              <a:extLst>
                <a:ext uri="{FF2B5EF4-FFF2-40B4-BE49-F238E27FC236}">
                  <a16:creationId xmlns:a16="http://schemas.microsoft.com/office/drawing/2014/main" id="{372002B3-B5AC-44C7-B568-9B40B64A88E5}"/>
                </a:ext>
              </a:extLst>
            </p:cNvPr>
            <p:cNvSpPr>
              <a:spLocks/>
            </p:cNvSpPr>
            <p:nvPr>
              <p:custDataLst>
                <p:tags r:id="rId333"/>
              </p:custDataLst>
            </p:nvPr>
          </p:nvSpPr>
          <p:spPr bwMode="auto">
            <a:xfrm>
              <a:off x="5708650" y="1612900"/>
              <a:ext cx="82550" cy="57150"/>
            </a:xfrm>
            <a:custGeom>
              <a:avLst/>
              <a:gdLst>
                <a:gd name="T0" fmla="*/ 2728123 w 187"/>
                <a:gd name="T1" fmla="*/ 9696212 h 80"/>
                <a:gd name="T2" fmla="*/ 7989692 w 187"/>
                <a:gd name="T3" fmla="*/ 0 h 80"/>
                <a:gd name="T4" fmla="*/ 8574605 w 187"/>
                <a:gd name="T5" fmla="*/ 1530906 h 80"/>
                <a:gd name="T6" fmla="*/ 9743549 w 187"/>
                <a:gd name="T7" fmla="*/ 3061811 h 80"/>
                <a:gd name="T8" fmla="*/ 11302728 w 187"/>
                <a:gd name="T9" fmla="*/ 4592717 h 80"/>
                <a:gd name="T10" fmla="*/ 13056585 w 187"/>
                <a:gd name="T11" fmla="*/ 6124337 h 80"/>
                <a:gd name="T12" fmla="*/ 17343887 w 187"/>
                <a:gd name="T13" fmla="*/ 9696212 h 80"/>
                <a:gd name="T14" fmla="*/ 22215662 w 187"/>
                <a:gd name="T15" fmla="*/ 13268801 h 80"/>
                <a:gd name="T16" fmla="*/ 27087436 w 187"/>
                <a:gd name="T17" fmla="*/ 16840676 h 80"/>
                <a:gd name="T18" fmla="*/ 31374297 w 187"/>
                <a:gd name="T19" fmla="*/ 19392424 h 80"/>
                <a:gd name="T20" fmla="*/ 34492657 w 187"/>
                <a:gd name="T21" fmla="*/ 21434108 h 80"/>
                <a:gd name="T22" fmla="*/ 36441190 w 187"/>
                <a:gd name="T23" fmla="*/ 21944171 h 80"/>
                <a:gd name="T24" fmla="*/ 36441190 w 187"/>
                <a:gd name="T25" fmla="*/ 28578572 h 80"/>
                <a:gd name="T26" fmla="*/ 36441190 w 187"/>
                <a:gd name="T27" fmla="*/ 34702909 h 80"/>
                <a:gd name="T28" fmla="*/ 33128154 w 187"/>
                <a:gd name="T29" fmla="*/ 35723036 h 80"/>
                <a:gd name="T30" fmla="*/ 29425764 w 187"/>
                <a:gd name="T31" fmla="*/ 36233814 h 80"/>
                <a:gd name="T32" fmla="*/ 25918051 w 187"/>
                <a:gd name="T33" fmla="*/ 36233814 h 80"/>
                <a:gd name="T34" fmla="*/ 22605015 w 187"/>
                <a:gd name="T35" fmla="*/ 35723036 h 80"/>
                <a:gd name="T36" fmla="*/ 16564298 w 187"/>
                <a:gd name="T37" fmla="*/ 35212973 h 80"/>
                <a:gd name="T38" fmla="*/ 11887200 w 187"/>
                <a:gd name="T39" fmla="*/ 34702909 h 80"/>
                <a:gd name="T40" fmla="*/ 10717815 w 187"/>
                <a:gd name="T41" fmla="*/ 35212973 h 80"/>
                <a:gd name="T42" fmla="*/ 9938667 w 187"/>
                <a:gd name="T43" fmla="*/ 35723036 h 80"/>
                <a:gd name="T44" fmla="*/ 8769282 w 187"/>
                <a:gd name="T45" fmla="*/ 36743878 h 80"/>
                <a:gd name="T46" fmla="*/ 7989692 w 187"/>
                <a:gd name="T47" fmla="*/ 37764720 h 80"/>
                <a:gd name="T48" fmla="*/ 6430954 w 187"/>
                <a:gd name="T49" fmla="*/ 39805689 h 80"/>
                <a:gd name="T50" fmla="*/ 5456246 w 187"/>
                <a:gd name="T51" fmla="*/ 40826531 h 80"/>
                <a:gd name="T52" fmla="*/ 4287303 w 187"/>
                <a:gd name="T53" fmla="*/ 40316468 h 80"/>
                <a:gd name="T54" fmla="*/ 3507713 w 187"/>
                <a:gd name="T55" fmla="*/ 38785562 h 80"/>
                <a:gd name="T56" fmla="*/ 2728123 w 187"/>
                <a:gd name="T57" fmla="*/ 36743878 h 80"/>
                <a:gd name="T58" fmla="*/ 1753856 w 187"/>
                <a:gd name="T59" fmla="*/ 34192131 h 80"/>
                <a:gd name="T60" fmla="*/ 1169385 w 187"/>
                <a:gd name="T61" fmla="*/ 31640383 h 80"/>
                <a:gd name="T62" fmla="*/ 584472 w 187"/>
                <a:gd name="T63" fmla="*/ 29088636 h 80"/>
                <a:gd name="T64" fmla="*/ 389795 w 187"/>
                <a:gd name="T65" fmla="*/ 27047666 h 80"/>
                <a:gd name="T66" fmla="*/ 0 w 187"/>
                <a:gd name="T67" fmla="*/ 25516761 h 80"/>
                <a:gd name="T68" fmla="*/ 389795 w 187"/>
                <a:gd name="T69" fmla="*/ 22454949 h 80"/>
                <a:gd name="T70" fmla="*/ 584472 w 187"/>
                <a:gd name="T71" fmla="*/ 20413266 h 80"/>
                <a:gd name="T72" fmla="*/ 974267 w 187"/>
                <a:gd name="T73" fmla="*/ 18372296 h 80"/>
                <a:gd name="T74" fmla="*/ 1364061 w 187"/>
                <a:gd name="T75" fmla="*/ 15820549 h 80"/>
                <a:gd name="T76" fmla="*/ 2533446 w 187"/>
                <a:gd name="T77" fmla="*/ 12247959 h 80"/>
                <a:gd name="T78" fmla="*/ 2728123 w 187"/>
                <a:gd name="T79" fmla="*/ 9696212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6" name="Freeform 496">
              <a:extLst>
                <a:ext uri="{FF2B5EF4-FFF2-40B4-BE49-F238E27FC236}">
                  <a16:creationId xmlns:a16="http://schemas.microsoft.com/office/drawing/2014/main" id="{B935AFA1-19CB-4C7C-AE29-76AAD742DCE7}"/>
                </a:ext>
              </a:extLst>
            </p:cNvPr>
            <p:cNvSpPr>
              <a:spLocks/>
            </p:cNvSpPr>
            <p:nvPr>
              <p:custDataLst>
                <p:tags r:id="rId334"/>
              </p:custDataLst>
            </p:nvPr>
          </p:nvSpPr>
          <p:spPr bwMode="auto">
            <a:xfrm>
              <a:off x="6235700" y="1738313"/>
              <a:ext cx="79375" cy="58737"/>
            </a:xfrm>
            <a:custGeom>
              <a:avLst/>
              <a:gdLst>
                <a:gd name="T0" fmla="*/ 9406588 w 183"/>
                <a:gd name="T1" fmla="*/ 0 h 73"/>
                <a:gd name="T2" fmla="*/ 11852466 w 183"/>
                <a:gd name="T3" fmla="*/ 0 h 73"/>
                <a:gd name="T4" fmla="*/ 14110099 w 183"/>
                <a:gd name="T5" fmla="*/ 647727 h 73"/>
                <a:gd name="T6" fmla="*/ 16179488 w 183"/>
                <a:gd name="T7" fmla="*/ 2590104 h 73"/>
                <a:gd name="T8" fmla="*/ 18248876 w 183"/>
                <a:gd name="T9" fmla="*/ 4531677 h 73"/>
                <a:gd name="T10" fmla="*/ 19942210 w 183"/>
                <a:gd name="T11" fmla="*/ 6474054 h 73"/>
                <a:gd name="T12" fmla="*/ 21823354 w 183"/>
                <a:gd name="T13" fmla="*/ 9711081 h 73"/>
                <a:gd name="T14" fmla="*/ 23328443 w 183"/>
                <a:gd name="T15" fmla="*/ 12301186 h 73"/>
                <a:gd name="T16" fmla="*/ 24645287 w 183"/>
                <a:gd name="T17" fmla="*/ 16185940 h 73"/>
                <a:gd name="T18" fmla="*/ 29913098 w 183"/>
                <a:gd name="T19" fmla="*/ 31724152 h 73"/>
                <a:gd name="T20" fmla="*/ 34428364 w 183"/>
                <a:gd name="T21" fmla="*/ 47262365 h 73"/>
                <a:gd name="T22" fmla="*/ 25774320 w 183"/>
                <a:gd name="T23" fmla="*/ 47262365 h 73"/>
                <a:gd name="T24" fmla="*/ 24080987 w 183"/>
                <a:gd name="T25" fmla="*/ 46614638 h 73"/>
                <a:gd name="T26" fmla="*/ 22011598 w 183"/>
                <a:gd name="T27" fmla="*/ 45319988 h 73"/>
                <a:gd name="T28" fmla="*/ 19565721 w 183"/>
                <a:gd name="T29" fmla="*/ 42730688 h 73"/>
                <a:gd name="T30" fmla="*/ 16932032 w 183"/>
                <a:gd name="T31" fmla="*/ 40140584 h 73"/>
                <a:gd name="T32" fmla="*/ 13733610 w 183"/>
                <a:gd name="T33" fmla="*/ 36255829 h 73"/>
                <a:gd name="T34" fmla="*/ 10911677 w 183"/>
                <a:gd name="T35" fmla="*/ 32371880 h 73"/>
                <a:gd name="T36" fmla="*/ 7901499 w 183"/>
                <a:gd name="T37" fmla="*/ 28487125 h 73"/>
                <a:gd name="T38" fmla="*/ 5267811 w 183"/>
                <a:gd name="T39" fmla="*/ 23954644 h 73"/>
                <a:gd name="T40" fmla="*/ 3010178 w 183"/>
                <a:gd name="T41" fmla="*/ 19422967 h 73"/>
                <a:gd name="T42" fmla="*/ 1316844 w 183"/>
                <a:gd name="T43" fmla="*/ 14890485 h 73"/>
                <a:gd name="T44" fmla="*/ 752544 w 183"/>
                <a:gd name="T45" fmla="*/ 12301186 h 73"/>
                <a:gd name="T46" fmla="*/ 376055 w 183"/>
                <a:gd name="T47" fmla="*/ 10358808 h 73"/>
                <a:gd name="T48" fmla="*/ 188245 w 183"/>
                <a:gd name="T49" fmla="*/ 9064158 h 73"/>
                <a:gd name="T50" fmla="*/ 0 w 183"/>
                <a:gd name="T51" fmla="*/ 7121781 h 73"/>
                <a:gd name="T52" fmla="*/ 188245 w 183"/>
                <a:gd name="T53" fmla="*/ 5179404 h 73"/>
                <a:gd name="T54" fmla="*/ 564300 w 183"/>
                <a:gd name="T55" fmla="*/ 3884754 h 73"/>
                <a:gd name="T56" fmla="*/ 1316844 w 183"/>
                <a:gd name="T57" fmla="*/ 2590104 h 73"/>
                <a:gd name="T58" fmla="*/ 2445878 w 183"/>
                <a:gd name="T59" fmla="*/ 1942377 h 73"/>
                <a:gd name="T60" fmla="*/ 3574477 w 183"/>
                <a:gd name="T61" fmla="*/ 647727 h 73"/>
                <a:gd name="T62" fmla="*/ 5267811 w 183"/>
                <a:gd name="T63" fmla="*/ 0 h 73"/>
                <a:gd name="T64" fmla="*/ 7148955 w 183"/>
                <a:gd name="T65" fmla="*/ 0 h 73"/>
                <a:gd name="T66" fmla="*/ 9406588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7" name="Freeform 497">
              <a:extLst>
                <a:ext uri="{FF2B5EF4-FFF2-40B4-BE49-F238E27FC236}">
                  <a16:creationId xmlns:a16="http://schemas.microsoft.com/office/drawing/2014/main" id="{1EB4AFA8-4958-401E-A467-AB4A85AB3F9F}"/>
                </a:ext>
              </a:extLst>
            </p:cNvPr>
            <p:cNvSpPr>
              <a:spLocks/>
            </p:cNvSpPr>
            <p:nvPr>
              <p:custDataLst>
                <p:tags r:id="rId335"/>
              </p:custDataLst>
            </p:nvPr>
          </p:nvSpPr>
          <p:spPr bwMode="auto">
            <a:xfrm>
              <a:off x="6302375" y="1755775"/>
              <a:ext cx="33338" cy="57150"/>
            </a:xfrm>
            <a:custGeom>
              <a:avLst/>
              <a:gdLst>
                <a:gd name="T0" fmla="*/ 0 w 79"/>
                <a:gd name="T1" fmla="*/ 11108871 h 42"/>
                <a:gd name="T2" fmla="*/ 4095932 w 79"/>
                <a:gd name="T3" fmla="*/ 3702504 h 42"/>
                <a:gd name="T4" fmla="*/ 7301444 w 79"/>
                <a:gd name="T5" fmla="*/ 1851932 h 42"/>
                <a:gd name="T6" fmla="*/ 10685040 w 79"/>
                <a:gd name="T7" fmla="*/ 0 h 42"/>
                <a:gd name="T8" fmla="*/ 14068636 w 79"/>
                <a:gd name="T9" fmla="*/ 0 h 42"/>
                <a:gd name="T10" fmla="*/ 14068636 w 79"/>
                <a:gd name="T11" fmla="*/ 16663307 h 42"/>
                <a:gd name="T12" fmla="*/ 14068636 w 79"/>
                <a:gd name="T13" fmla="*/ 33327975 h 42"/>
                <a:gd name="T14" fmla="*/ 14068636 w 79"/>
                <a:gd name="T15" fmla="*/ 40734343 h 42"/>
                <a:gd name="T16" fmla="*/ 13356300 w 79"/>
                <a:gd name="T17" fmla="*/ 49991282 h 42"/>
                <a:gd name="T18" fmla="*/ 12822048 w 79"/>
                <a:gd name="T19" fmla="*/ 57397650 h 42"/>
                <a:gd name="T20" fmla="*/ 12109712 w 79"/>
                <a:gd name="T21" fmla="*/ 64804018 h 42"/>
                <a:gd name="T22" fmla="*/ 11041208 w 79"/>
                <a:gd name="T23" fmla="*/ 70358454 h 42"/>
                <a:gd name="T24" fmla="*/ 10150788 w 79"/>
                <a:gd name="T25" fmla="*/ 74062318 h 42"/>
                <a:gd name="T26" fmla="*/ 9082284 w 79"/>
                <a:gd name="T27" fmla="*/ 77764821 h 42"/>
                <a:gd name="T28" fmla="*/ 8191864 w 79"/>
                <a:gd name="T29" fmla="*/ 77764821 h 42"/>
                <a:gd name="T30" fmla="*/ 7123360 w 79"/>
                <a:gd name="T31" fmla="*/ 77764821 h 42"/>
                <a:gd name="T32" fmla="*/ 6232940 w 79"/>
                <a:gd name="T33" fmla="*/ 75912889 h 42"/>
                <a:gd name="T34" fmla="*/ 5164436 w 79"/>
                <a:gd name="T35" fmla="*/ 72210386 h 42"/>
                <a:gd name="T36" fmla="*/ 4452100 w 79"/>
                <a:gd name="T37" fmla="*/ 68506521 h 42"/>
                <a:gd name="T38" fmla="*/ 2849344 w 79"/>
                <a:gd name="T39" fmla="*/ 59249582 h 42"/>
                <a:gd name="T40" fmla="*/ 1958924 w 79"/>
                <a:gd name="T41" fmla="*/ 48140711 h 42"/>
                <a:gd name="T42" fmla="*/ 890420 w 79"/>
                <a:gd name="T43" fmla="*/ 37030479 h 42"/>
                <a:gd name="T44" fmla="*/ 356168 w 79"/>
                <a:gd name="T45" fmla="*/ 25921607 h 42"/>
                <a:gd name="T46" fmla="*/ 0 w 79"/>
                <a:gd name="T47" fmla="*/ 16663307 h 42"/>
                <a:gd name="T48" fmla="*/ 0 w 79"/>
                <a:gd name="T49" fmla="*/ 1110887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8" name="Freeform 498">
              <a:extLst>
                <a:ext uri="{FF2B5EF4-FFF2-40B4-BE49-F238E27FC236}">
                  <a16:creationId xmlns:a16="http://schemas.microsoft.com/office/drawing/2014/main" id="{972550F7-2F63-407B-99A9-4457BDA58D5E}"/>
                </a:ext>
              </a:extLst>
            </p:cNvPr>
            <p:cNvSpPr>
              <a:spLocks/>
            </p:cNvSpPr>
            <p:nvPr>
              <p:custDataLst>
                <p:tags r:id="rId336"/>
              </p:custDataLst>
            </p:nvPr>
          </p:nvSpPr>
          <p:spPr bwMode="auto">
            <a:xfrm>
              <a:off x="6332538" y="1766888"/>
              <a:ext cx="52387" cy="58737"/>
            </a:xfrm>
            <a:custGeom>
              <a:avLst/>
              <a:gdLst>
                <a:gd name="T0" fmla="*/ 24286706 w 113"/>
                <a:gd name="T1" fmla="*/ 49762382 h 52"/>
                <a:gd name="T2" fmla="*/ 24071595 w 113"/>
                <a:gd name="T3" fmla="*/ 53589388 h 52"/>
                <a:gd name="T4" fmla="*/ 23427188 w 113"/>
                <a:gd name="T5" fmla="*/ 57417525 h 52"/>
                <a:gd name="T6" fmla="*/ 22782318 w 113"/>
                <a:gd name="T7" fmla="*/ 59969239 h 52"/>
                <a:gd name="T8" fmla="*/ 22137448 w 113"/>
                <a:gd name="T9" fmla="*/ 62520953 h 52"/>
                <a:gd name="T10" fmla="*/ 20203302 w 113"/>
                <a:gd name="T11" fmla="*/ 65072667 h 52"/>
                <a:gd name="T12" fmla="*/ 18268691 w 113"/>
                <a:gd name="T13" fmla="*/ 66349089 h 52"/>
                <a:gd name="T14" fmla="*/ 14185287 w 113"/>
                <a:gd name="T15" fmla="*/ 66349089 h 52"/>
                <a:gd name="T16" fmla="*/ 11391159 w 113"/>
                <a:gd name="T17" fmla="*/ 65072667 h 52"/>
                <a:gd name="T18" fmla="*/ 10101419 w 113"/>
                <a:gd name="T19" fmla="*/ 65072667 h 52"/>
                <a:gd name="T20" fmla="*/ 8381920 w 113"/>
                <a:gd name="T21" fmla="*/ 61245661 h 52"/>
                <a:gd name="T22" fmla="*/ 6447773 w 113"/>
                <a:gd name="T23" fmla="*/ 57417525 h 52"/>
                <a:gd name="T24" fmla="*/ 4513627 w 113"/>
                <a:gd name="T25" fmla="*/ 52314096 h 52"/>
                <a:gd name="T26" fmla="*/ 2794128 w 113"/>
                <a:gd name="T27" fmla="*/ 45934246 h 52"/>
                <a:gd name="T28" fmla="*/ 1289740 w 113"/>
                <a:gd name="T29" fmla="*/ 39554395 h 52"/>
                <a:gd name="T30" fmla="*/ 859518 w 113"/>
                <a:gd name="T31" fmla="*/ 35726259 h 52"/>
                <a:gd name="T32" fmla="*/ 429759 w 113"/>
                <a:gd name="T33" fmla="*/ 31898123 h 52"/>
                <a:gd name="T34" fmla="*/ 215111 w 113"/>
                <a:gd name="T35" fmla="*/ 28071116 h 52"/>
                <a:gd name="T36" fmla="*/ 0 w 113"/>
                <a:gd name="T37" fmla="*/ 25519402 h 52"/>
                <a:gd name="T38" fmla="*/ 215111 w 113"/>
                <a:gd name="T39" fmla="*/ 19139551 h 52"/>
                <a:gd name="T40" fmla="*/ 215111 w 113"/>
                <a:gd name="T41" fmla="*/ 14034993 h 52"/>
                <a:gd name="T42" fmla="*/ 644870 w 113"/>
                <a:gd name="T43" fmla="*/ 10207987 h 52"/>
                <a:gd name="T44" fmla="*/ 1074629 w 113"/>
                <a:gd name="T45" fmla="*/ 6379850 h 52"/>
                <a:gd name="T46" fmla="*/ 1504388 w 113"/>
                <a:gd name="T47" fmla="*/ 3828136 h 52"/>
                <a:gd name="T48" fmla="*/ 2149258 w 113"/>
                <a:gd name="T49" fmla="*/ 2551714 h 52"/>
                <a:gd name="T50" fmla="*/ 3008775 w 113"/>
                <a:gd name="T51" fmla="*/ 1276422 h 52"/>
                <a:gd name="T52" fmla="*/ 3653646 w 113"/>
                <a:gd name="T53" fmla="*/ 0 h 52"/>
                <a:gd name="T54" fmla="*/ 5588256 w 113"/>
                <a:gd name="T55" fmla="*/ 0 h 52"/>
                <a:gd name="T56" fmla="*/ 7737514 w 113"/>
                <a:gd name="T57" fmla="*/ 2551714 h 52"/>
                <a:gd name="T58" fmla="*/ 9886771 w 113"/>
                <a:gd name="T59" fmla="*/ 6379850 h 52"/>
                <a:gd name="T60" fmla="*/ 12250677 w 113"/>
                <a:gd name="T61" fmla="*/ 11483279 h 52"/>
                <a:gd name="T62" fmla="*/ 16549192 w 113"/>
                <a:gd name="T63" fmla="*/ 22966558 h 52"/>
                <a:gd name="T64" fmla="*/ 20417949 w 113"/>
                <a:gd name="T65" fmla="*/ 37002681 h 52"/>
                <a:gd name="T66" fmla="*/ 23212077 w 113"/>
                <a:gd name="T67" fmla="*/ 45934246 h 52"/>
                <a:gd name="T68" fmla="*/ 24286706 w 113"/>
                <a:gd name="T69" fmla="*/ 49762382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9" name="Freeform 499">
              <a:extLst>
                <a:ext uri="{FF2B5EF4-FFF2-40B4-BE49-F238E27FC236}">
                  <a16:creationId xmlns:a16="http://schemas.microsoft.com/office/drawing/2014/main" id="{EDD4A5EB-683D-4103-BB8A-267DD48D88F7}"/>
                </a:ext>
              </a:extLst>
            </p:cNvPr>
            <p:cNvSpPr>
              <a:spLocks/>
            </p:cNvSpPr>
            <p:nvPr>
              <p:custDataLst>
                <p:tags r:id="rId337"/>
              </p:custDataLst>
            </p:nvPr>
          </p:nvSpPr>
          <p:spPr bwMode="auto">
            <a:xfrm>
              <a:off x="6103938" y="1739900"/>
              <a:ext cx="61912" cy="58738"/>
            </a:xfrm>
            <a:custGeom>
              <a:avLst/>
              <a:gdLst>
                <a:gd name="T0" fmla="*/ 0 w 139"/>
                <a:gd name="T1" fmla="*/ 17249588 h 40"/>
                <a:gd name="T2" fmla="*/ 1586996 w 139"/>
                <a:gd name="T3" fmla="*/ 19406705 h 40"/>
                <a:gd name="T4" fmla="*/ 3769505 w 139"/>
                <a:gd name="T5" fmla="*/ 17249588 h 40"/>
                <a:gd name="T6" fmla="*/ 5951569 w 139"/>
                <a:gd name="T7" fmla="*/ 15093941 h 40"/>
                <a:gd name="T8" fmla="*/ 8332286 w 139"/>
                <a:gd name="T9" fmla="*/ 10781176 h 40"/>
                <a:gd name="T10" fmla="*/ 10514796 w 139"/>
                <a:gd name="T11" fmla="*/ 4312764 h 40"/>
                <a:gd name="T12" fmla="*/ 12696860 w 139"/>
                <a:gd name="T13" fmla="*/ 2155648 h 40"/>
                <a:gd name="T14" fmla="*/ 14482508 w 139"/>
                <a:gd name="T15" fmla="*/ 0 h 40"/>
                <a:gd name="T16" fmla="*/ 15871297 w 139"/>
                <a:gd name="T17" fmla="*/ 4312764 h 40"/>
                <a:gd name="T18" fmla="*/ 27576228 w 139"/>
                <a:gd name="T19" fmla="*/ 84095231 h 40"/>
                <a:gd name="T20" fmla="*/ 26386093 w 139"/>
                <a:gd name="T21" fmla="*/ 86250879 h 40"/>
                <a:gd name="T22" fmla="*/ 24798651 w 139"/>
                <a:gd name="T23" fmla="*/ 84095231 h 40"/>
                <a:gd name="T24" fmla="*/ 23013448 w 139"/>
                <a:gd name="T25" fmla="*/ 81938115 h 40"/>
                <a:gd name="T26" fmla="*/ 21029146 w 139"/>
                <a:gd name="T27" fmla="*/ 77625351 h 40"/>
                <a:gd name="T28" fmla="*/ 17061433 w 139"/>
                <a:gd name="T29" fmla="*/ 64688527 h 40"/>
                <a:gd name="T30" fmla="*/ 12696860 w 139"/>
                <a:gd name="T31" fmla="*/ 51750234 h 40"/>
                <a:gd name="T32" fmla="*/ 8729147 w 139"/>
                <a:gd name="T33" fmla="*/ 34500645 h 40"/>
                <a:gd name="T34" fmla="*/ 5158294 w 139"/>
                <a:gd name="T35" fmla="*/ 23719469 h 40"/>
                <a:gd name="T36" fmla="*/ 3372645 w 139"/>
                <a:gd name="T37" fmla="*/ 19406705 h 40"/>
                <a:gd name="T38" fmla="*/ 2182509 w 139"/>
                <a:gd name="T39" fmla="*/ 15093941 h 40"/>
                <a:gd name="T40" fmla="*/ 793721 w 139"/>
                <a:gd name="T41" fmla="*/ 15093941 h 40"/>
                <a:gd name="T42" fmla="*/ 0 w 139"/>
                <a:gd name="T43" fmla="*/ 17249588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0" name="Freeform 500">
              <a:extLst>
                <a:ext uri="{FF2B5EF4-FFF2-40B4-BE49-F238E27FC236}">
                  <a16:creationId xmlns:a16="http://schemas.microsoft.com/office/drawing/2014/main" id="{397A4733-BA08-423A-82B9-4CC14C04F90D}"/>
                </a:ext>
              </a:extLst>
            </p:cNvPr>
            <p:cNvSpPr>
              <a:spLocks/>
            </p:cNvSpPr>
            <p:nvPr>
              <p:custDataLst>
                <p:tags r:id="rId338"/>
              </p:custDataLst>
            </p:nvPr>
          </p:nvSpPr>
          <p:spPr bwMode="auto">
            <a:xfrm>
              <a:off x="6403975" y="1681163"/>
              <a:ext cx="139700" cy="57150"/>
            </a:xfrm>
            <a:custGeom>
              <a:avLst/>
              <a:gdLst>
                <a:gd name="T0" fmla="*/ 1847479 w 325"/>
                <a:gd name="T1" fmla="*/ 4535778 h 71"/>
                <a:gd name="T2" fmla="*/ 5727700 w 325"/>
                <a:gd name="T3" fmla="*/ 647968 h 71"/>
                <a:gd name="T4" fmla="*/ 9792755 w 325"/>
                <a:gd name="T5" fmla="*/ 0 h 71"/>
                <a:gd name="T6" fmla="*/ 13488142 w 325"/>
                <a:gd name="T7" fmla="*/ 2591873 h 71"/>
                <a:gd name="T8" fmla="*/ 16998696 w 325"/>
                <a:gd name="T9" fmla="*/ 6478878 h 71"/>
                <a:gd name="T10" fmla="*/ 20324416 w 325"/>
                <a:gd name="T11" fmla="*/ 11662625 h 71"/>
                <a:gd name="T12" fmla="*/ 22541562 w 325"/>
                <a:gd name="T13" fmla="*/ 18789471 h 71"/>
                <a:gd name="T14" fmla="*/ 24019803 w 325"/>
                <a:gd name="T15" fmla="*/ 24620381 h 71"/>
                <a:gd name="T16" fmla="*/ 25128376 w 325"/>
                <a:gd name="T17" fmla="*/ 22029313 h 71"/>
                <a:gd name="T18" fmla="*/ 25682878 w 325"/>
                <a:gd name="T19" fmla="*/ 9718720 h 71"/>
                <a:gd name="T20" fmla="*/ 29747503 w 325"/>
                <a:gd name="T21" fmla="*/ 4535778 h 71"/>
                <a:gd name="T22" fmla="*/ 39909926 w 325"/>
                <a:gd name="T23" fmla="*/ 8422783 h 71"/>
                <a:gd name="T24" fmla="*/ 47669938 w 325"/>
                <a:gd name="T25" fmla="*/ 14901661 h 71"/>
                <a:gd name="T26" fmla="*/ 52289065 w 325"/>
                <a:gd name="T27" fmla="*/ 20733376 h 71"/>
                <a:gd name="T28" fmla="*/ 56354120 w 325"/>
                <a:gd name="T29" fmla="*/ 27860223 h 71"/>
                <a:gd name="T30" fmla="*/ 59125768 w 325"/>
                <a:gd name="T31" fmla="*/ 35635037 h 71"/>
                <a:gd name="T32" fmla="*/ 58386433 w 325"/>
                <a:gd name="T33" fmla="*/ 41465947 h 71"/>
                <a:gd name="T34" fmla="*/ 54321808 w 325"/>
                <a:gd name="T35" fmla="*/ 44057820 h 71"/>
                <a:gd name="T36" fmla="*/ 47854772 w 325"/>
                <a:gd name="T37" fmla="*/ 46001725 h 71"/>
                <a:gd name="T38" fmla="*/ 38801353 w 325"/>
                <a:gd name="T39" fmla="*/ 45353757 h 71"/>
                <a:gd name="T40" fmla="*/ 30856076 w 325"/>
                <a:gd name="T41" fmla="*/ 44057820 h 71"/>
                <a:gd name="T42" fmla="*/ 24574305 w 325"/>
                <a:gd name="T43" fmla="*/ 44705789 h 71"/>
                <a:gd name="T44" fmla="*/ 16629028 w 325"/>
                <a:gd name="T45" fmla="*/ 46001725 h 71"/>
                <a:gd name="T46" fmla="*/ 13303309 w 325"/>
                <a:gd name="T47" fmla="*/ 44057820 h 71"/>
                <a:gd name="T48" fmla="*/ 12379569 w 325"/>
                <a:gd name="T49" fmla="*/ 41465947 h 71"/>
                <a:gd name="T50" fmla="*/ 10716494 w 325"/>
                <a:gd name="T51" fmla="*/ 39522847 h 71"/>
                <a:gd name="T52" fmla="*/ 8499348 w 325"/>
                <a:gd name="T53" fmla="*/ 38226911 h 71"/>
                <a:gd name="T54" fmla="*/ 6467035 w 325"/>
                <a:gd name="T55" fmla="*/ 34339101 h 71"/>
                <a:gd name="T56" fmla="*/ 4619127 w 325"/>
                <a:gd name="T57" fmla="*/ 29156159 h 71"/>
                <a:gd name="T58" fmla="*/ 2956482 w 325"/>
                <a:gd name="T59" fmla="*/ 25268349 h 71"/>
                <a:gd name="T60" fmla="*/ 1108573 w 325"/>
                <a:gd name="T61" fmla="*/ 23972413 h 71"/>
                <a:gd name="T62" fmla="*/ 0 w 325"/>
                <a:gd name="T63" fmla="*/ 14253693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1" name="Freeform 501">
              <a:extLst>
                <a:ext uri="{FF2B5EF4-FFF2-40B4-BE49-F238E27FC236}">
                  <a16:creationId xmlns:a16="http://schemas.microsoft.com/office/drawing/2014/main" id="{3BE3D8E2-CD1F-4AE2-BDEC-D722ABC12CAF}"/>
                </a:ext>
              </a:extLst>
            </p:cNvPr>
            <p:cNvSpPr>
              <a:spLocks/>
            </p:cNvSpPr>
            <p:nvPr>
              <p:custDataLst>
                <p:tags r:id="rId339"/>
              </p:custDataLst>
            </p:nvPr>
          </p:nvSpPr>
          <p:spPr bwMode="auto">
            <a:xfrm>
              <a:off x="6564313" y="1689100"/>
              <a:ext cx="95250" cy="57150"/>
            </a:xfrm>
            <a:custGeom>
              <a:avLst/>
              <a:gdLst>
                <a:gd name="T0" fmla="*/ 16308099 w 220"/>
                <a:gd name="T1" fmla="*/ 15751175 h 72"/>
                <a:gd name="T2" fmla="*/ 17245445 w 220"/>
                <a:gd name="T3" fmla="*/ 16381413 h 72"/>
                <a:gd name="T4" fmla="*/ 18370261 w 220"/>
                <a:gd name="T5" fmla="*/ 17010856 h 72"/>
                <a:gd name="T6" fmla="*/ 18932236 w 220"/>
                <a:gd name="T7" fmla="*/ 17641094 h 72"/>
                <a:gd name="T8" fmla="*/ 19494644 w 220"/>
                <a:gd name="T9" fmla="*/ 17010856 h 72"/>
                <a:gd name="T10" fmla="*/ 20431991 w 220"/>
                <a:gd name="T11" fmla="*/ 17010856 h 72"/>
                <a:gd name="T12" fmla="*/ 21181868 w 220"/>
                <a:gd name="T13" fmla="*/ 15751175 h 72"/>
                <a:gd name="T14" fmla="*/ 21369338 w 220"/>
                <a:gd name="T15" fmla="*/ 16381413 h 72"/>
                <a:gd name="T16" fmla="*/ 21556807 w 220"/>
                <a:gd name="T17" fmla="*/ 16381413 h 72"/>
                <a:gd name="T18" fmla="*/ 21744276 w 220"/>
                <a:gd name="T19" fmla="*/ 15751175 h 72"/>
                <a:gd name="T20" fmla="*/ 21931745 w 220"/>
                <a:gd name="T21" fmla="*/ 15751175 h 72"/>
                <a:gd name="T22" fmla="*/ 22306684 w 220"/>
                <a:gd name="T23" fmla="*/ 13861256 h 72"/>
                <a:gd name="T24" fmla="*/ 22494153 w 220"/>
                <a:gd name="T25" fmla="*/ 10710863 h 72"/>
                <a:gd name="T26" fmla="*/ 22494153 w 220"/>
                <a:gd name="T27" fmla="*/ 4410075 h 72"/>
                <a:gd name="T28" fmla="*/ 22494153 w 220"/>
                <a:gd name="T29" fmla="*/ 0 h 72"/>
                <a:gd name="T30" fmla="*/ 23431067 w 220"/>
                <a:gd name="T31" fmla="*/ 3150394 h 72"/>
                <a:gd name="T32" fmla="*/ 24555883 w 220"/>
                <a:gd name="T33" fmla="*/ 6300788 h 72"/>
                <a:gd name="T34" fmla="*/ 25680699 w 220"/>
                <a:gd name="T35" fmla="*/ 9450388 h 72"/>
                <a:gd name="T36" fmla="*/ 26805515 w 220"/>
                <a:gd name="T37" fmla="*/ 11970544 h 72"/>
                <a:gd name="T38" fmla="*/ 29242183 w 220"/>
                <a:gd name="T39" fmla="*/ 15751175 h 72"/>
                <a:gd name="T40" fmla="*/ 31866320 w 220"/>
                <a:gd name="T41" fmla="*/ 18901569 h 72"/>
                <a:gd name="T42" fmla="*/ 34303422 w 220"/>
                <a:gd name="T43" fmla="*/ 22051169 h 72"/>
                <a:gd name="T44" fmla="*/ 36740090 w 220"/>
                <a:gd name="T45" fmla="*/ 25831800 h 72"/>
                <a:gd name="T46" fmla="*/ 38052375 w 220"/>
                <a:gd name="T47" fmla="*/ 27721719 h 72"/>
                <a:gd name="T48" fmla="*/ 39177191 w 220"/>
                <a:gd name="T49" fmla="*/ 29611638 h 72"/>
                <a:gd name="T50" fmla="*/ 40114105 w 220"/>
                <a:gd name="T51" fmla="*/ 32131794 h 72"/>
                <a:gd name="T52" fmla="*/ 41238920 w 220"/>
                <a:gd name="T53" fmla="*/ 34651950 h 72"/>
                <a:gd name="T54" fmla="*/ 38614783 w 220"/>
                <a:gd name="T55" fmla="*/ 35282188 h 72"/>
                <a:gd name="T56" fmla="*/ 36365151 w 220"/>
                <a:gd name="T57" fmla="*/ 35912425 h 72"/>
                <a:gd name="T58" fmla="*/ 34115952 w 220"/>
                <a:gd name="T59" fmla="*/ 36542663 h 72"/>
                <a:gd name="T60" fmla="*/ 32053790 w 220"/>
                <a:gd name="T61" fmla="*/ 37802344 h 72"/>
                <a:gd name="T62" fmla="*/ 28304836 w 220"/>
                <a:gd name="T63" fmla="*/ 40952738 h 72"/>
                <a:gd name="T64" fmla="*/ 25118291 w 220"/>
                <a:gd name="T65" fmla="*/ 44103131 h 72"/>
                <a:gd name="T66" fmla="*/ 23618536 w 220"/>
                <a:gd name="T67" fmla="*/ 44732575 h 72"/>
                <a:gd name="T68" fmla="*/ 21931745 w 220"/>
                <a:gd name="T69" fmla="*/ 45362813 h 72"/>
                <a:gd name="T70" fmla="*/ 20619460 w 220"/>
                <a:gd name="T71" fmla="*/ 45362813 h 72"/>
                <a:gd name="T72" fmla="*/ 19307175 w 220"/>
                <a:gd name="T73" fmla="*/ 45362813 h 72"/>
                <a:gd name="T74" fmla="*/ 17807853 w 220"/>
                <a:gd name="T75" fmla="*/ 44103131 h 72"/>
                <a:gd name="T76" fmla="*/ 16495568 w 220"/>
                <a:gd name="T77" fmla="*/ 41582975 h 72"/>
                <a:gd name="T78" fmla="*/ 15183283 w 220"/>
                <a:gd name="T79" fmla="*/ 38432581 h 72"/>
                <a:gd name="T80" fmla="*/ 13871431 w 220"/>
                <a:gd name="T81" fmla="*/ 34651950 h 72"/>
                <a:gd name="T82" fmla="*/ 11059391 w 220"/>
                <a:gd name="T83" fmla="*/ 33392269 h 72"/>
                <a:gd name="T84" fmla="*/ 8435253 w 220"/>
                <a:gd name="T85" fmla="*/ 31502350 h 72"/>
                <a:gd name="T86" fmla="*/ 6186055 w 220"/>
                <a:gd name="T87" fmla="*/ 29611638 h 72"/>
                <a:gd name="T88" fmla="*/ 4123892 w 220"/>
                <a:gd name="T89" fmla="*/ 27091481 h 72"/>
                <a:gd name="T90" fmla="*/ 3374015 w 220"/>
                <a:gd name="T91" fmla="*/ 25831800 h 72"/>
                <a:gd name="T92" fmla="*/ 2436668 w 220"/>
                <a:gd name="T93" fmla="*/ 23941881 h 72"/>
                <a:gd name="T94" fmla="*/ 1687224 w 220"/>
                <a:gd name="T95" fmla="*/ 22051169 h 72"/>
                <a:gd name="T96" fmla="*/ 1312285 w 220"/>
                <a:gd name="T97" fmla="*/ 19531013 h 72"/>
                <a:gd name="T98" fmla="*/ 562408 w 220"/>
                <a:gd name="T99" fmla="*/ 17010856 h 72"/>
                <a:gd name="T100" fmla="*/ 374939 w 220"/>
                <a:gd name="T101" fmla="*/ 14490700 h 72"/>
                <a:gd name="T102" fmla="*/ 187469 w 220"/>
                <a:gd name="T103" fmla="*/ 11341100 h 72"/>
                <a:gd name="T104" fmla="*/ 0 w 220"/>
                <a:gd name="T105" fmla="*/ 8190706 h 72"/>
                <a:gd name="T106" fmla="*/ 4311361 w 220"/>
                <a:gd name="T107" fmla="*/ 10710863 h 72"/>
                <a:gd name="T108" fmla="*/ 8247784 w 220"/>
                <a:gd name="T109" fmla="*/ 13231019 h 72"/>
                <a:gd name="T110" fmla="*/ 11996738 w 220"/>
                <a:gd name="T111" fmla="*/ 15120938 h 72"/>
                <a:gd name="T112" fmla="*/ 16308099 w 220"/>
                <a:gd name="T113" fmla="*/ 15751175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2" name="Freeform 502">
              <a:extLst>
                <a:ext uri="{FF2B5EF4-FFF2-40B4-BE49-F238E27FC236}">
                  <a16:creationId xmlns:a16="http://schemas.microsoft.com/office/drawing/2014/main" id="{6207CF74-1C71-4197-89DF-09DDF5CDDA66}"/>
                </a:ext>
              </a:extLst>
            </p:cNvPr>
            <p:cNvSpPr>
              <a:spLocks/>
            </p:cNvSpPr>
            <p:nvPr>
              <p:custDataLst>
                <p:tags r:id="rId340"/>
              </p:custDataLst>
            </p:nvPr>
          </p:nvSpPr>
          <p:spPr bwMode="auto">
            <a:xfrm>
              <a:off x="6524625" y="1736725"/>
              <a:ext cx="63500" cy="58738"/>
            </a:xfrm>
            <a:custGeom>
              <a:avLst/>
              <a:gdLst>
                <a:gd name="T0" fmla="*/ 27618151 w 146"/>
                <a:gd name="T1" fmla="*/ 95835289 h 30"/>
                <a:gd name="T2" fmla="*/ 26482979 w 146"/>
                <a:gd name="T3" fmla="*/ 61333175 h 30"/>
                <a:gd name="T4" fmla="*/ 25915829 w 146"/>
                <a:gd name="T5" fmla="*/ 34500156 h 30"/>
                <a:gd name="T6" fmla="*/ 25159048 w 146"/>
                <a:gd name="T7" fmla="*/ 15334273 h 30"/>
                <a:gd name="T8" fmla="*/ 24213072 w 146"/>
                <a:gd name="T9" fmla="*/ 3833568 h 30"/>
                <a:gd name="T10" fmla="*/ 23834682 w 146"/>
                <a:gd name="T11" fmla="*/ 3833568 h 30"/>
                <a:gd name="T12" fmla="*/ 23456726 w 146"/>
                <a:gd name="T13" fmla="*/ 3833568 h 30"/>
                <a:gd name="T14" fmla="*/ 22699945 w 146"/>
                <a:gd name="T15" fmla="*/ 7667136 h 30"/>
                <a:gd name="T16" fmla="*/ 22321555 w 146"/>
                <a:gd name="T17" fmla="*/ 11500705 h 30"/>
                <a:gd name="T18" fmla="*/ 21375579 w 146"/>
                <a:gd name="T19" fmla="*/ 34500156 h 30"/>
                <a:gd name="T20" fmla="*/ 19862452 w 146"/>
                <a:gd name="T21" fmla="*/ 72833880 h 30"/>
                <a:gd name="T22" fmla="*/ 13619880 w 146"/>
                <a:gd name="T23" fmla="*/ 72833880 h 30"/>
                <a:gd name="T24" fmla="*/ 11917558 w 146"/>
                <a:gd name="T25" fmla="*/ 69000312 h 30"/>
                <a:gd name="T26" fmla="*/ 10403997 w 146"/>
                <a:gd name="T27" fmla="*/ 65166744 h 30"/>
                <a:gd name="T28" fmla="*/ 8890870 w 146"/>
                <a:gd name="T29" fmla="*/ 53667997 h 30"/>
                <a:gd name="T30" fmla="*/ 7566503 w 146"/>
                <a:gd name="T31" fmla="*/ 46000861 h 30"/>
                <a:gd name="T32" fmla="*/ 5485791 w 146"/>
                <a:gd name="T33" fmla="*/ 22999451 h 30"/>
                <a:gd name="T34" fmla="*/ 3594274 w 146"/>
                <a:gd name="T35" fmla="*/ 0 h 30"/>
                <a:gd name="T36" fmla="*/ 2648298 w 146"/>
                <a:gd name="T37" fmla="*/ 34500156 h 30"/>
                <a:gd name="T38" fmla="*/ 1891517 w 146"/>
                <a:gd name="T39" fmla="*/ 57501565 h 30"/>
                <a:gd name="T40" fmla="*/ 756781 w 146"/>
                <a:gd name="T41" fmla="*/ 76667448 h 30"/>
                <a:gd name="T42" fmla="*/ 0 w 146"/>
                <a:gd name="T43" fmla="*/ 95835289 h 30"/>
                <a:gd name="T44" fmla="*/ 6242572 w 146"/>
                <a:gd name="T45" fmla="*/ 95835289 h 30"/>
                <a:gd name="T46" fmla="*/ 10782387 w 146"/>
                <a:gd name="T47" fmla="*/ 95835289 h 30"/>
                <a:gd name="T48" fmla="*/ 14565856 w 146"/>
                <a:gd name="T49" fmla="*/ 95835289 h 30"/>
                <a:gd name="T50" fmla="*/ 18727281 w 146"/>
                <a:gd name="T51" fmla="*/ 95835289 h 30"/>
                <a:gd name="T52" fmla="*/ 20807993 w 146"/>
                <a:gd name="T53" fmla="*/ 99666900 h 30"/>
                <a:gd name="T54" fmla="*/ 23267531 w 146"/>
                <a:gd name="T55" fmla="*/ 111167604 h 30"/>
                <a:gd name="T56" fmla="*/ 24213072 w 146"/>
                <a:gd name="T57" fmla="*/ 115001172 h 30"/>
                <a:gd name="T58" fmla="*/ 25537438 w 146"/>
                <a:gd name="T59" fmla="*/ 115001172 h 30"/>
                <a:gd name="T60" fmla="*/ 26482979 w 146"/>
                <a:gd name="T61" fmla="*/ 107334036 h 30"/>
                <a:gd name="T62" fmla="*/ 27618151 w 146"/>
                <a:gd name="T63" fmla="*/ 95835289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3" name="Freeform 503">
              <a:extLst>
                <a:ext uri="{FF2B5EF4-FFF2-40B4-BE49-F238E27FC236}">
                  <a16:creationId xmlns:a16="http://schemas.microsoft.com/office/drawing/2014/main" id="{8285F302-1BA4-49E0-96A5-6BF1AB1A49B0}"/>
                </a:ext>
              </a:extLst>
            </p:cNvPr>
            <p:cNvSpPr>
              <a:spLocks/>
            </p:cNvSpPr>
            <p:nvPr>
              <p:custDataLst>
                <p:tags r:id="rId341"/>
              </p:custDataLst>
            </p:nvPr>
          </p:nvSpPr>
          <p:spPr bwMode="auto">
            <a:xfrm>
              <a:off x="6503988" y="1733550"/>
              <a:ext cx="20637" cy="58738"/>
            </a:xfrm>
            <a:custGeom>
              <a:avLst/>
              <a:gdLst>
                <a:gd name="T0" fmla="*/ 0 w 53"/>
                <a:gd name="T1" fmla="*/ 383337241 h 9"/>
                <a:gd name="T2" fmla="*/ 2577289 w 53"/>
                <a:gd name="T3" fmla="*/ 383337241 h 9"/>
                <a:gd name="T4" fmla="*/ 4396849 w 53"/>
                <a:gd name="T5" fmla="*/ 383337241 h 9"/>
                <a:gd name="T6" fmla="*/ 6064552 w 53"/>
                <a:gd name="T7" fmla="*/ 383337241 h 9"/>
                <a:gd name="T8" fmla="*/ 8035581 w 53"/>
                <a:gd name="T9" fmla="*/ 383337241 h 9"/>
                <a:gd name="T10" fmla="*/ 6974138 w 53"/>
                <a:gd name="T11" fmla="*/ 255558161 h 9"/>
                <a:gd name="T12" fmla="*/ 5761227 w 53"/>
                <a:gd name="T13" fmla="*/ 127779080 h 9"/>
                <a:gd name="T14" fmla="*/ 4700174 w 53"/>
                <a:gd name="T15" fmla="*/ 42590851 h 9"/>
                <a:gd name="T16" fmla="*/ 3790199 w 53"/>
                <a:gd name="T17" fmla="*/ 0 h 9"/>
                <a:gd name="T18" fmla="*/ 2880614 w 53"/>
                <a:gd name="T19" fmla="*/ 0 h 9"/>
                <a:gd name="T20" fmla="*/ 2122496 w 53"/>
                <a:gd name="T21" fmla="*/ 0 h 9"/>
                <a:gd name="T22" fmla="*/ 1364378 w 53"/>
                <a:gd name="T23" fmla="*/ 42590851 h 9"/>
                <a:gd name="T24" fmla="*/ 909586 w 53"/>
                <a:gd name="T25" fmla="*/ 127779080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4" name="Line 504">
              <a:extLst>
                <a:ext uri="{FF2B5EF4-FFF2-40B4-BE49-F238E27FC236}">
                  <a16:creationId xmlns:a16="http://schemas.microsoft.com/office/drawing/2014/main" id="{6B6C0367-1EAC-4245-97C8-8D0B9A006079}"/>
                </a:ext>
              </a:extLst>
            </p:cNvPr>
            <p:cNvSpPr>
              <a:spLocks noChangeShapeType="1"/>
            </p:cNvSpPr>
            <p:nvPr>
              <p:custDataLst>
                <p:tags r:id="rId342"/>
              </p:custDataLst>
            </p:nvPr>
          </p:nvSpPr>
          <p:spPr bwMode="auto">
            <a:xfrm flipV="1">
              <a:off x="6505575" y="1731963"/>
              <a:ext cx="0" cy="1587"/>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5" name="Freeform 505">
              <a:extLst>
                <a:ext uri="{FF2B5EF4-FFF2-40B4-BE49-F238E27FC236}">
                  <a16:creationId xmlns:a16="http://schemas.microsoft.com/office/drawing/2014/main" id="{B05EF30E-07B3-4884-B544-3412B2DC8A4F}"/>
                </a:ext>
              </a:extLst>
            </p:cNvPr>
            <p:cNvSpPr>
              <a:spLocks/>
            </p:cNvSpPr>
            <p:nvPr>
              <p:custDataLst>
                <p:tags r:id="rId343"/>
              </p:custDataLst>
            </p:nvPr>
          </p:nvSpPr>
          <p:spPr bwMode="auto">
            <a:xfrm>
              <a:off x="5675313" y="1660525"/>
              <a:ext cx="11112" cy="55563"/>
            </a:xfrm>
            <a:custGeom>
              <a:avLst/>
              <a:gdLst>
                <a:gd name="T0" fmla="*/ 0 w 26"/>
                <a:gd name="T1" fmla="*/ 123485434 h 25"/>
                <a:gd name="T2" fmla="*/ 913321 w 26"/>
                <a:gd name="T3" fmla="*/ 83969739 h 25"/>
                <a:gd name="T4" fmla="*/ 2374549 w 26"/>
                <a:gd name="T5" fmla="*/ 39515694 h 25"/>
                <a:gd name="T6" fmla="*/ 2922456 w 26"/>
                <a:gd name="T7" fmla="*/ 24696198 h 25"/>
                <a:gd name="T8" fmla="*/ 3653284 w 26"/>
                <a:gd name="T9" fmla="*/ 9878924 h 25"/>
                <a:gd name="T10" fmla="*/ 4201191 w 26"/>
                <a:gd name="T11" fmla="*/ 4938351 h 25"/>
                <a:gd name="T12" fmla="*/ 4749098 w 26"/>
                <a:gd name="T13" fmla="*/ 0 h 25"/>
                <a:gd name="T14" fmla="*/ 4749098 w 26"/>
                <a:gd name="T15" fmla="*/ 123485434 h 25"/>
                <a:gd name="T16" fmla="*/ 3653284 w 26"/>
                <a:gd name="T17" fmla="*/ 123485434 h 25"/>
                <a:gd name="T18" fmla="*/ 2374549 w 26"/>
                <a:gd name="T19" fmla="*/ 123485434 h 25"/>
                <a:gd name="T20" fmla="*/ 0 w 26"/>
                <a:gd name="T21" fmla="*/ 123485434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6" name="Freeform 506">
              <a:extLst>
                <a:ext uri="{FF2B5EF4-FFF2-40B4-BE49-F238E27FC236}">
                  <a16:creationId xmlns:a16="http://schemas.microsoft.com/office/drawing/2014/main" id="{524A8555-402C-453D-BBB9-E58DABB15873}"/>
                </a:ext>
              </a:extLst>
            </p:cNvPr>
            <p:cNvSpPr>
              <a:spLocks/>
            </p:cNvSpPr>
            <p:nvPr>
              <p:custDataLst>
                <p:tags r:id="rId344"/>
              </p:custDataLst>
            </p:nvPr>
          </p:nvSpPr>
          <p:spPr bwMode="auto">
            <a:xfrm>
              <a:off x="6424613" y="1731963"/>
              <a:ext cx="9525" cy="57150"/>
            </a:xfrm>
            <a:custGeom>
              <a:avLst/>
              <a:gdLst>
                <a:gd name="T0" fmla="*/ 2749261 w 33"/>
                <a:gd name="T1" fmla="*/ 130644900 h 25"/>
                <a:gd name="T2" fmla="*/ 2749261 w 33"/>
                <a:gd name="T3" fmla="*/ 62709552 h 25"/>
                <a:gd name="T4" fmla="*/ 2749261 w 33"/>
                <a:gd name="T5" fmla="*/ 0 h 25"/>
                <a:gd name="T6" fmla="*/ 0 w 33"/>
                <a:gd name="T7" fmla="*/ 0 h 25"/>
                <a:gd name="T8" fmla="*/ 749877 w 33"/>
                <a:gd name="T9" fmla="*/ 47032164 h 25"/>
                <a:gd name="T10" fmla="*/ 1332923 w 33"/>
                <a:gd name="T11" fmla="*/ 88838532 h 25"/>
                <a:gd name="T12" fmla="*/ 1666298 w 33"/>
                <a:gd name="T13" fmla="*/ 104515920 h 25"/>
                <a:gd name="T14" fmla="*/ 1999384 w 33"/>
                <a:gd name="T15" fmla="*/ 120193308 h 25"/>
                <a:gd name="T16" fmla="*/ 2332759 w 33"/>
                <a:gd name="T17" fmla="*/ 125419104 h 25"/>
                <a:gd name="T18" fmla="*/ 2749261 w 33"/>
                <a:gd name="T19" fmla="*/ 13064490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7" name="Freeform 507">
              <a:extLst>
                <a:ext uri="{FF2B5EF4-FFF2-40B4-BE49-F238E27FC236}">
                  <a16:creationId xmlns:a16="http://schemas.microsoft.com/office/drawing/2014/main" id="{1255B2C4-7971-49C7-AB3C-BA04516F5306}"/>
                </a:ext>
              </a:extLst>
            </p:cNvPr>
            <p:cNvSpPr>
              <a:spLocks/>
            </p:cNvSpPr>
            <p:nvPr>
              <p:custDataLst>
                <p:tags r:id="rId345"/>
              </p:custDataLst>
            </p:nvPr>
          </p:nvSpPr>
          <p:spPr bwMode="auto">
            <a:xfrm>
              <a:off x="6378575" y="1695450"/>
              <a:ext cx="9525" cy="57150"/>
            </a:xfrm>
            <a:custGeom>
              <a:avLst/>
              <a:gdLst>
                <a:gd name="T0" fmla="*/ 0 w 20"/>
                <a:gd name="T1" fmla="*/ 0 h 18"/>
                <a:gd name="T2" fmla="*/ 2948464 w 20"/>
                <a:gd name="T3" fmla="*/ 181451250 h 18"/>
                <a:gd name="T4" fmla="*/ 3629025 w 20"/>
                <a:gd name="T5" fmla="*/ 110886875 h 18"/>
                <a:gd name="T6" fmla="*/ 4536281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8" name="Freeform 508">
              <a:extLst>
                <a:ext uri="{FF2B5EF4-FFF2-40B4-BE49-F238E27FC236}">
                  <a16:creationId xmlns:a16="http://schemas.microsoft.com/office/drawing/2014/main" id="{AD99A2AC-2A43-4363-A7B7-F55A1FB0A38B}"/>
                </a:ext>
              </a:extLst>
            </p:cNvPr>
            <p:cNvSpPr>
              <a:spLocks/>
            </p:cNvSpPr>
            <p:nvPr>
              <p:custDataLst>
                <p:tags r:id="rId346"/>
              </p:custDataLst>
            </p:nvPr>
          </p:nvSpPr>
          <p:spPr bwMode="auto">
            <a:xfrm>
              <a:off x="6878638" y="2265363"/>
              <a:ext cx="12700" cy="58737"/>
            </a:xfrm>
            <a:custGeom>
              <a:avLst/>
              <a:gdLst>
                <a:gd name="T0" fmla="*/ 0 w 33"/>
                <a:gd name="T1" fmla="*/ 111295247 h 31"/>
                <a:gd name="T2" fmla="*/ 0 w 33"/>
                <a:gd name="T3" fmla="*/ 0 h 31"/>
                <a:gd name="T4" fmla="*/ 1333115 w 33"/>
                <a:gd name="T5" fmla="*/ 0 h 31"/>
                <a:gd name="T6" fmla="*/ 2369897 w 33"/>
                <a:gd name="T7" fmla="*/ 0 h 31"/>
                <a:gd name="T8" fmla="*/ 3554461 w 33"/>
                <a:gd name="T9" fmla="*/ 0 h 31"/>
                <a:gd name="T10" fmla="*/ 4887576 w 33"/>
                <a:gd name="T11" fmla="*/ 0 h 31"/>
                <a:gd name="T12" fmla="*/ 4443076 w 33"/>
                <a:gd name="T13" fmla="*/ 7181194 h 31"/>
                <a:gd name="T14" fmla="*/ 4295294 w 33"/>
                <a:gd name="T15" fmla="*/ 17951091 h 31"/>
                <a:gd name="T16" fmla="*/ 4147127 w 33"/>
                <a:gd name="T17" fmla="*/ 32311584 h 31"/>
                <a:gd name="T18" fmla="*/ 4147127 w 33"/>
                <a:gd name="T19" fmla="*/ 46672078 h 31"/>
                <a:gd name="T20" fmla="*/ 4147127 w 33"/>
                <a:gd name="T21" fmla="*/ 61032572 h 31"/>
                <a:gd name="T22" fmla="*/ 4295294 w 33"/>
                <a:gd name="T23" fmla="*/ 75393065 h 31"/>
                <a:gd name="T24" fmla="*/ 4443076 w 33"/>
                <a:gd name="T25" fmla="*/ 93344156 h 31"/>
                <a:gd name="T26" fmla="*/ 4887576 w 33"/>
                <a:gd name="T27" fmla="*/ 111295247 h 31"/>
                <a:gd name="T28" fmla="*/ 0 w 33"/>
                <a:gd name="T29" fmla="*/ 1112952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9" name="Freeform 509">
              <a:extLst>
                <a:ext uri="{FF2B5EF4-FFF2-40B4-BE49-F238E27FC236}">
                  <a16:creationId xmlns:a16="http://schemas.microsoft.com/office/drawing/2014/main" id="{FADB0D55-B66E-4731-BC0B-C63CBCA1E8D1}"/>
                </a:ext>
              </a:extLst>
            </p:cNvPr>
            <p:cNvSpPr>
              <a:spLocks/>
            </p:cNvSpPr>
            <p:nvPr>
              <p:custDataLst>
                <p:tags r:id="rId347"/>
              </p:custDataLst>
            </p:nvPr>
          </p:nvSpPr>
          <p:spPr bwMode="auto">
            <a:xfrm>
              <a:off x="7172325" y="1787525"/>
              <a:ext cx="55563" cy="58738"/>
            </a:xfrm>
            <a:custGeom>
              <a:avLst/>
              <a:gdLst>
                <a:gd name="T0" fmla="*/ 556491 w 129"/>
                <a:gd name="T1" fmla="*/ 48406630 h 56"/>
                <a:gd name="T2" fmla="*/ 185641 w 129"/>
                <a:gd name="T3" fmla="*/ 46206090 h 56"/>
                <a:gd name="T4" fmla="*/ 185641 w 129"/>
                <a:gd name="T5" fmla="*/ 44005551 h 56"/>
                <a:gd name="T6" fmla="*/ 0 w 129"/>
                <a:gd name="T7" fmla="*/ 40704741 h 56"/>
                <a:gd name="T8" fmla="*/ 185641 w 129"/>
                <a:gd name="T9" fmla="*/ 36304710 h 56"/>
                <a:gd name="T10" fmla="*/ 370851 w 129"/>
                <a:gd name="T11" fmla="*/ 27503600 h 56"/>
                <a:gd name="T12" fmla="*/ 556491 w 129"/>
                <a:gd name="T13" fmla="*/ 19802760 h 56"/>
                <a:gd name="T14" fmla="*/ 1669474 w 129"/>
                <a:gd name="T15" fmla="*/ 14301411 h 56"/>
                <a:gd name="T16" fmla="*/ 2968529 w 129"/>
                <a:gd name="T17" fmla="*/ 9901380 h 56"/>
                <a:gd name="T18" fmla="*/ 3895871 w 129"/>
                <a:gd name="T19" fmla="*/ 6600570 h 56"/>
                <a:gd name="T20" fmla="*/ 5008854 w 129"/>
                <a:gd name="T21" fmla="*/ 5500301 h 56"/>
                <a:gd name="T22" fmla="*/ 7235250 w 129"/>
                <a:gd name="T23" fmla="*/ 3300810 h 56"/>
                <a:gd name="T24" fmla="*/ 10574630 w 129"/>
                <a:gd name="T25" fmla="*/ 0 h 56"/>
                <a:gd name="T26" fmla="*/ 11131121 w 129"/>
                <a:gd name="T27" fmla="*/ 5500301 h 56"/>
                <a:gd name="T28" fmla="*/ 11873253 w 129"/>
                <a:gd name="T29" fmla="*/ 8801110 h 56"/>
                <a:gd name="T30" fmla="*/ 12801026 w 129"/>
                <a:gd name="T31" fmla="*/ 12101920 h 56"/>
                <a:gd name="T32" fmla="*/ 13543158 w 129"/>
                <a:gd name="T33" fmla="*/ 15401681 h 56"/>
                <a:gd name="T34" fmla="*/ 15398273 w 129"/>
                <a:gd name="T35" fmla="*/ 19802760 h 56"/>
                <a:gd name="T36" fmla="*/ 17253388 w 129"/>
                <a:gd name="T37" fmla="*/ 23102521 h 56"/>
                <a:gd name="T38" fmla="*/ 19108503 w 129"/>
                <a:gd name="T39" fmla="*/ 27503600 h 56"/>
                <a:gd name="T40" fmla="*/ 20963618 w 129"/>
                <a:gd name="T41" fmla="*/ 31903631 h 56"/>
                <a:gd name="T42" fmla="*/ 21705751 w 129"/>
                <a:gd name="T43" fmla="*/ 35204441 h 56"/>
                <a:gd name="T44" fmla="*/ 22447883 w 129"/>
                <a:gd name="T45" fmla="*/ 38505250 h 56"/>
                <a:gd name="T46" fmla="*/ 23375656 w 129"/>
                <a:gd name="T47" fmla="*/ 41805011 h 56"/>
                <a:gd name="T48" fmla="*/ 23932147 w 129"/>
                <a:gd name="T49" fmla="*/ 48406630 h 56"/>
                <a:gd name="T50" fmla="*/ 22077032 w 129"/>
                <a:gd name="T51" fmla="*/ 52806661 h 56"/>
                <a:gd name="T52" fmla="*/ 20221917 w 129"/>
                <a:gd name="T53" fmla="*/ 56107470 h 56"/>
                <a:gd name="T54" fmla="*/ 18366371 w 129"/>
                <a:gd name="T55" fmla="*/ 58306961 h 56"/>
                <a:gd name="T56" fmla="*/ 16696897 w 129"/>
                <a:gd name="T57" fmla="*/ 59407231 h 56"/>
                <a:gd name="T58" fmla="*/ 12986236 w 129"/>
                <a:gd name="T59" fmla="*/ 61607771 h 56"/>
                <a:gd name="T60" fmla="*/ 9090365 w 129"/>
                <a:gd name="T61" fmla="*/ 61607771 h 56"/>
                <a:gd name="T62" fmla="*/ 7420891 w 129"/>
                <a:gd name="T63" fmla="*/ 60507501 h 56"/>
                <a:gd name="T64" fmla="*/ 5750986 w 129"/>
                <a:gd name="T65" fmla="*/ 59407231 h 56"/>
                <a:gd name="T66" fmla="*/ 4267152 w 129"/>
                <a:gd name="T67" fmla="*/ 57207740 h 56"/>
                <a:gd name="T68" fmla="*/ 2968529 w 129"/>
                <a:gd name="T69" fmla="*/ 55007201 h 56"/>
                <a:gd name="T70" fmla="*/ 1112983 w 129"/>
                <a:gd name="T71" fmla="*/ 50606121 h 56"/>
                <a:gd name="T72" fmla="*/ 556491 w 129"/>
                <a:gd name="T73" fmla="*/ 48406630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0" name="Freeform 510">
              <a:extLst>
                <a:ext uri="{FF2B5EF4-FFF2-40B4-BE49-F238E27FC236}">
                  <a16:creationId xmlns:a16="http://schemas.microsoft.com/office/drawing/2014/main" id="{5C12EB82-6747-43E0-80D5-57C91CE2F730}"/>
                </a:ext>
              </a:extLst>
            </p:cNvPr>
            <p:cNvSpPr>
              <a:spLocks/>
            </p:cNvSpPr>
            <p:nvPr>
              <p:custDataLst>
                <p:tags r:id="rId348"/>
              </p:custDataLst>
            </p:nvPr>
          </p:nvSpPr>
          <p:spPr bwMode="auto">
            <a:xfrm>
              <a:off x="7308850" y="2139950"/>
              <a:ext cx="14288" cy="57150"/>
            </a:xfrm>
            <a:custGeom>
              <a:avLst/>
              <a:gdLst>
                <a:gd name="T0" fmla="*/ 2550234 w 41"/>
                <a:gd name="T1" fmla="*/ 77764821 h 42"/>
                <a:gd name="T2" fmla="*/ 0 w 41"/>
                <a:gd name="T3" fmla="*/ 55545718 h 42"/>
                <a:gd name="T4" fmla="*/ 0 w 41"/>
                <a:gd name="T5" fmla="*/ 11108871 h 42"/>
                <a:gd name="T6" fmla="*/ 849962 w 41"/>
                <a:gd name="T7" fmla="*/ 9258300 h 42"/>
                <a:gd name="T8" fmla="*/ 1700272 w 41"/>
                <a:gd name="T9" fmla="*/ 5554436 h 42"/>
                <a:gd name="T10" fmla="*/ 2914752 w 41"/>
                <a:gd name="T11" fmla="*/ 1851932 h 42"/>
                <a:gd name="T12" fmla="*/ 4129232 w 41"/>
                <a:gd name="T13" fmla="*/ 0 h 42"/>
                <a:gd name="T14" fmla="*/ 4129232 w 41"/>
                <a:gd name="T15" fmla="*/ 33327975 h 42"/>
                <a:gd name="T16" fmla="*/ 4979194 w 41"/>
                <a:gd name="T17" fmla="*/ 33327975 h 42"/>
                <a:gd name="T18" fmla="*/ 2550234 w 41"/>
                <a:gd name="T19" fmla="*/ 77764821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1" name="Freeform 511">
              <a:extLst>
                <a:ext uri="{FF2B5EF4-FFF2-40B4-BE49-F238E27FC236}">
                  <a16:creationId xmlns:a16="http://schemas.microsoft.com/office/drawing/2014/main" id="{A723655E-82CA-4B7E-B3F8-E9066380C540}"/>
                </a:ext>
              </a:extLst>
            </p:cNvPr>
            <p:cNvSpPr>
              <a:spLocks/>
            </p:cNvSpPr>
            <p:nvPr>
              <p:custDataLst>
                <p:tags r:id="rId349"/>
              </p:custDataLst>
            </p:nvPr>
          </p:nvSpPr>
          <p:spPr bwMode="auto">
            <a:xfrm>
              <a:off x="7458075" y="2252663"/>
              <a:ext cx="42863" cy="60325"/>
            </a:xfrm>
            <a:custGeom>
              <a:avLst/>
              <a:gdLst>
                <a:gd name="T0" fmla="*/ 12745520 w 93"/>
                <a:gd name="T1" fmla="*/ 21532931 h 39"/>
                <a:gd name="T2" fmla="*/ 14232360 w 93"/>
                <a:gd name="T3" fmla="*/ 43065863 h 39"/>
                <a:gd name="T4" fmla="*/ 16356613 w 93"/>
                <a:gd name="T5" fmla="*/ 66991686 h 39"/>
                <a:gd name="T6" fmla="*/ 17206038 w 93"/>
                <a:gd name="T7" fmla="*/ 78954597 h 39"/>
                <a:gd name="T8" fmla="*/ 18268395 w 93"/>
                <a:gd name="T9" fmla="*/ 86133272 h 39"/>
                <a:gd name="T10" fmla="*/ 19117820 w 93"/>
                <a:gd name="T11" fmla="*/ 90917509 h 39"/>
                <a:gd name="T12" fmla="*/ 19755234 w 93"/>
                <a:gd name="T13" fmla="*/ 93310401 h 39"/>
                <a:gd name="T14" fmla="*/ 12745520 w 93"/>
                <a:gd name="T15" fmla="*/ 93310401 h 39"/>
                <a:gd name="T16" fmla="*/ 10621267 w 93"/>
                <a:gd name="T17" fmla="*/ 86133272 h 39"/>
                <a:gd name="T18" fmla="*/ 9133967 w 93"/>
                <a:gd name="T19" fmla="*/ 76561706 h 39"/>
                <a:gd name="T20" fmla="*/ 7647128 w 93"/>
                <a:gd name="T21" fmla="*/ 66991686 h 39"/>
                <a:gd name="T22" fmla="*/ 6372760 w 93"/>
                <a:gd name="T23" fmla="*/ 55028774 h 39"/>
                <a:gd name="T24" fmla="*/ 5097932 w 93"/>
                <a:gd name="T25" fmla="*/ 43065863 h 39"/>
                <a:gd name="T26" fmla="*/ 3398621 w 93"/>
                <a:gd name="T27" fmla="*/ 31102951 h 39"/>
                <a:gd name="T28" fmla="*/ 1911782 w 93"/>
                <a:gd name="T29" fmla="*/ 16748695 h 39"/>
                <a:gd name="T30" fmla="*/ 0 w 93"/>
                <a:gd name="T31" fmla="*/ 7177128 h 39"/>
                <a:gd name="T32" fmla="*/ 2336725 w 93"/>
                <a:gd name="T33" fmla="*/ 2392892 h 39"/>
                <a:gd name="T34" fmla="*/ 4248507 w 93"/>
                <a:gd name="T35" fmla="*/ 0 h 39"/>
                <a:gd name="T36" fmla="*/ 5522875 w 93"/>
                <a:gd name="T37" fmla="*/ 0 h 39"/>
                <a:gd name="T38" fmla="*/ 7009714 w 93"/>
                <a:gd name="T39" fmla="*/ 2392892 h 39"/>
                <a:gd name="T40" fmla="*/ 9346438 w 93"/>
                <a:gd name="T41" fmla="*/ 9570020 h 39"/>
                <a:gd name="T42" fmla="*/ 12745520 w 93"/>
                <a:gd name="T43" fmla="*/ 2153293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2" name="Freeform 512">
              <a:extLst>
                <a:ext uri="{FF2B5EF4-FFF2-40B4-BE49-F238E27FC236}">
                  <a16:creationId xmlns:a16="http://schemas.microsoft.com/office/drawing/2014/main" id="{79374E4A-9DE1-467D-857E-E401C1F28ABC}"/>
                </a:ext>
              </a:extLst>
            </p:cNvPr>
            <p:cNvSpPr>
              <a:spLocks/>
            </p:cNvSpPr>
            <p:nvPr>
              <p:custDataLst>
                <p:tags r:id="rId350"/>
              </p:custDataLst>
            </p:nvPr>
          </p:nvSpPr>
          <p:spPr bwMode="auto">
            <a:xfrm>
              <a:off x="7508875" y="2268538"/>
              <a:ext cx="19050" cy="58737"/>
            </a:xfrm>
            <a:custGeom>
              <a:avLst/>
              <a:gdLst>
                <a:gd name="T0" fmla="*/ 9305192 w 39"/>
                <a:gd name="T1" fmla="*/ 181586981 h 19"/>
                <a:gd name="T2" fmla="*/ 3101731 w 39"/>
                <a:gd name="T3" fmla="*/ 181586981 h 19"/>
                <a:gd name="T4" fmla="*/ 1908908 w 39"/>
                <a:gd name="T5" fmla="*/ 181586981 h 19"/>
                <a:gd name="T6" fmla="*/ 1192823 w 39"/>
                <a:gd name="T7" fmla="*/ 162472399 h 19"/>
                <a:gd name="T8" fmla="*/ 715596 w 39"/>
                <a:gd name="T9" fmla="*/ 133802073 h 19"/>
                <a:gd name="T10" fmla="*/ 477227 w 39"/>
                <a:gd name="T11" fmla="*/ 105128654 h 19"/>
                <a:gd name="T12" fmla="*/ 0 w 39"/>
                <a:gd name="T13" fmla="*/ 47784909 h 19"/>
                <a:gd name="T14" fmla="*/ 0 w 39"/>
                <a:gd name="T15" fmla="*/ 0 h 19"/>
                <a:gd name="T16" fmla="*/ 3101731 w 39"/>
                <a:gd name="T17" fmla="*/ 38229164 h 19"/>
                <a:gd name="T18" fmla="*/ 5249008 w 39"/>
                <a:gd name="T19" fmla="*/ 86014072 h 19"/>
                <a:gd name="T20" fmla="*/ 7157915 w 39"/>
                <a:gd name="T21" fmla="*/ 133802073 h 19"/>
                <a:gd name="T22" fmla="*/ 9305192 w 39"/>
                <a:gd name="T23" fmla="*/ 181586981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3" name="Freeform 513">
              <a:extLst>
                <a:ext uri="{FF2B5EF4-FFF2-40B4-BE49-F238E27FC236}">
                  <a16:creationId xmlns:a16="http://schemas.microsoft.com/office/drawing/2014/main" id="{1DF6865C-A415-435E-AD8D-44EDAE04AB0F}"/>
                </a:ext>
              </a:extLst>
            </p:cNvPr>
            <p:cNvSpPr>
              <a:spLocks/>
            </p:cNvSpPr>
            <p:nvPr>
              <p:custDataLst>
                <p:tags r:id="rId351"/>
              </p:custDataLst>
            </p:nvPr>
          </p:nvSpPr>
          <p:spPr bwMode="auto">
            <a:xfrm>
              <a:off x="7373938" y="2395538"/>
              <a:ext cx="14287" cy="57150"/>
            </a:xfrm>
            <a:custGeom>
              <a:avLst/>
              <a:gdLst>
                <a:gd name="T0" fmla="*/ 0 w 26"/>
                <a:gd name="T1" fmla="*/ 90725625 h 36"/>
                <a:gd name="T2" fmla="*/ 906126 w 26"/>
                <a:gd name="T3" fmla="*/ 78125638 h 36"/>
                <a:gd name="T4" fmla="*/ 3019503 w 26"/>
                <a:gd name="T5" fmla="*/ 50403125 h 36"/>
                <a:gd name="T6" fmla="*/ 5435105 w 26"/>
                <a:gd name="T7" fmla="*/ 20161250 h 36"/>
                <a:gd name="T8" fmla="*/ 7850707 w 26"/>
                <a:gd name="T9" fmla="*/ 0 h 36"/>
                <a:gd name="T10" fmla="*/ 7850707 w 26"/>
                <a:gd name="T11" fmla="*/ 22682200 h 36"/>
                <a:gd name="T12" fmla="*/ 7850707 w 26"/>
                <a:gd name="T13" fmla="*/ 45362813 h 36"/>
                <a:gd name="T14" fmla="*/ 7549031 w 26"/>
                <a:gd name="T15" fmla="*/ 55443438 h 36"/>
                <a:gd name="T16" fmla="*/ 7246806 w 26"/>
                <a:gd name="T17" fmla="*/ 65524063 h 36"/>
                <a:gd name="T18" fmla="*/ 6341230 w 26"/>
                <a:gd name="T19" fmla="*/ 73085325 h 36"/>
                <a:gd name="T20" fmla="*/ 5133429 w 26"/>
                <a:gd name="T21" fmla="*/ 80645000 h 36"/>
                <a:gd name="T22" fmla="*/ 4227304 w 26"/>
                <a:gd name="T23" fmla="*/ 85685313 h 36"/>
                <a:gd name="T24" fmla="*/ 3019503 w 26"/>
                <a:gd name="T25" fmla="*/ 88206263 h 36"/>
                <a:gd name="T26" fmla="*/ 1207801 w 26"/>
                <a:gd name="T27" fmla="*/ 90725625 h 36"/>
                <a:gd name="T28" fmla="*/ 0 w 26"/>
                <a:gd name="T29" fmla="*/ 90725625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4" name="Freeform 514">
              <a:extLst>
                <a:ext uri="{FF2B5EF4-FFF2-40B4-BE49-F238E27FC236}">
                  <a16:creationId xmlns:a16="http://schemas.microsoft.com/office/drawing/2014/main" id="{EFCC3F60-78B6-4E5C-942C-D25FF276BE0E}"/>
                </a:ext>
              </a:extLst>
            </p:cNvPr>
            <p:cNvSpPr>
              <a:spLocks/>
            </p:cNvSpPr>
            <p:nvPr>
              <p:custDataLst>
                <p:tags r:id="rId352"/>
              </p:custDataLst>
            </p:nvPr>
          </p:nvSpPr>
          <p:spPr bwMode="auto">
            <a:xfrm>
              <a:off x="7385050" y="2424113"/>
              <a:ext cx="3175" cy="60325"/>
            </a:xfrm>
            <a:custGeom>
              <a:avLst/>
              <a:gdLst>
                <a:gd name="T0" fmla="*/ 0 w 6"/>
                <a:gd name="T1" fmla="*/ 98354206 h 37"/>
                <a:gd name="T2" fmla="*/ 0 w 6"/>
                <a:gd name="T3" fmla="*/ 0 h 37"/>
                <a:gd name="T4" fmla="*/ 1680104 w 6"/>
                <a:gd name="T5" fmla="*/ 0 h 37"/>
                <a:gd name="T6" fmla="*/ 1680104 w 6"/>
                <a:gd name="T7" fmla="*/ 82405580 h 37"/>
                <a:gd name="T8" fmla="*/ 0 w 6"/>
                <a:gd name="T9" fmla="*/ 98354206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5" name="Freeform 515">
              <a:extLst>
                <a:ext uri="{FF2B5EF4-FFF2-40B4-BE49-F238E27FC236}">
                  <a16:creationId xmlns:a16="http://schemas.microsoft.com/office/drawing/2014/main" id="{450BE237-5E56-4544-924B-8DF0E6E62CC7}"/>
                </a:ext>
              </a:extLst>
            </p:cNvPr>
            <p:cNvSpPr>
              <a:spLocks/>
            </p:cNvSpPr>
            <p:nvPr>
              <p:custDataLst>
                <p:tags r:id="rId353"/>
              </p:custDataLst>
            </p:nvPr>
          </p:nvSpPr>
          <p:spPr bwMode="auto">
            <a:xfrm>
              <a:off x="7372350" y="2506663"/>
              <a:ext cx="9525" cy="55562"/>
            </a:xfrm>
            <a:custGeom>
              <a:avLst/>
              <a:gdLst>
                <a:gd name="T0" fmla="*/ 0 w 20"/>
                <a:gd name="T1" fmla="*/ 51760165 h 43"/>
                <a:gd name="T2" fmla="*/ 0 w 20"/>
                <a:gd name="T3" fmla="*/ 41742027 h 43"/>
                <a:gd name="T4" fmla="*/ 0 w 20"/>
                <a:gd name="T5" fmla="*/ 30054414 h 43"/>
                <a:gd name="T6" fmla="*/ 453866 w 20"/>
                <a:gd name="T7" fmla="*/ 15026561 h 43"/>
                <a:gd name="T8" fmla="*/ 1587818 w 20"/>
                <a:gd name="T9" fmla="*/ 0 h 43"/>
                <a:gd name="T10" fmla="*/ 2495074 w 20"/>
                <a:gd name="T11" fmla="*/ 11687612 h 43"/>
                <a:gd name="T12" fmla="*/ 3629025 w 20"/>
                <a:gd name="T13" fmla="*/ 20036276 h 43"/>
                <a:gd name="T14" fmla="*/ 3855720 w 20"/>
                <a:gd name="T15" fmla="*/ 23375225 h 43"/>
                <a:gd name="T16" fmla="*/ 4309586 w 20"/>
                <a:gd name="T17" fmla="*/ 30054414 h 43"/>
                <a:gd name="T18" fmla="*/ 4309586 w 20"/>
                <a:gd name="T19" fmla="*/ 35062837 h 43"/>
                <a:gd name="T20" fmla="*/ 4536281 w 20"/>
                <a:gd name="T21" fmla="*/ 41742027 h 43"/>
                <a:gd name="T22" fmla="*/ 4309586 w 20"/>
                <a:gd name="T23" fmla="*/ 45080975 h 43"/>
                <a:gd name="T24" fmla="*/ 4082891 w 20"/>
                <a:gd name="T25" fmla="*/ 50090691 h 43"/>
                <a:gd name="T26" fmla="*/ 3629025 w 20"/>
                <a:gd name="T27" fmla="*/ 55099114 h 43"/>
                <a:gd name="T28" fmla="*/ 2721769 w 20"/>
                <a:gd name="T29" fmla="*/ 60108829 h 43"/>
                <a:gd name="T30" fmla="*/ 2041208 w 20"/>
                <a:gd name="T31" fmla="*/ 65117252 h 43"/>
                <a:gd name="T32" fmla="*/ 1361123 w 20"/>
                <a:gd name="T33" fmla="*/ 68457492 h 43"/>
                <a:gd name="T34" fmla="*/ 453866 w 20"/>
                <a:gd name="T35" fmla="*/ 70126967 h 43"/>
                <a:gd name="T36" fmla="*/ 0 w 20"/>
                <a:gd name="T37" fmla="*/ 71796441 h 43"/>
                <a:gd name="T38" fmla="*/ 0 w 20"/>
                <a:gd name="T39" fmla="*/ 51760165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6" name="Freeform 516">
              <a:extLst>
                <a:ext uri="{FF2B5EF4-FFF2-40B4-BE49-F238E27FC236}">
                  <a16:creationId xmlns:a16="http://schemas.microsoft.com/office/drawing/2014/main" id="{CDE9EF63-E67A-43FF-81A0-FB05FF2345E7}"/>
                </a:ext>
              </a:extLst>
            </p:cNvPr>
            <p:cNvSpPr>
              <a:spLocks/>
            </p:cNvSpPr>
            <p:nvPr>
              <p:custDataLst>
                <p:tags r:id="rId354"/>
              </p:custDataLst>
            </p:nvPr>
          </p:nvSpPr>
          <p:spPr bwMode="auto">
            <a:xfrm>
              <a:off x="7350125" y="2541588"/>
              <a:ext cx="0" cy="58737"/>
            </a:xfrm>
            <a:custGeom>
              <a:avLst/>
              <a:gdLst>
                <a:gd name="T0" fmla="*/ 115005088 h 30"/>
                <a:gd name="T1" fmla="*/ 95836921 h 30"/>
                <a:gd name="T2" fmla="*/ 69003444 h 30"/>
                <a:gd name="T3" fmla="*/ 34500743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7" name="Freeform 517">
              <a:extLst>
                <a:ext uri="{FF2B5EF4-FFF2-40B4-BE49-F238E27FC236}">
                  <a16:creationId xmlns:a16="http://schemas.microsoft.com/office/drawing/2014/main" id="{EF427994-48DD-4F76-8B38-78E352D1674E}"/>
                </a:ext>
              </a:extLst>
            </p:cNvPr>
            <p:cNvSpPr>
              <a:spLocks/>
            </p:cNvSpPr>
            <p:nvPr>
              <p:custDataLst>
                <p:tags r:id="rId355"/>
              </p:custDataLst>
            </p:nvPr>
          </p:nvSpPr>
          <p:spPr bwMode="auto">
            <a:xfrm>
              <a:off x="7350125" y="2541588"/>
              <a:ext cx="7938" cy="58737"/>
            </a:xfrm>
            <a:custGeom>
              <a:avLst/>
              <a:gdLst>
                <a:gd name="T0" fmla="*/ 0 w 20"/>
                <a:gd name="T1" fmla="*/ 0 h 24"/>
                <a:gd name="T2" fmla="*/ 3150592 w 20"/>
                <a:gd name="T3" fmla="*/ 0 h 24"/>
                <a:gd name="T4" fmla="*/ 0 w 20"/>
                <a:gd name="T5" fmla="*/ 143756360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8" name="Freeform 518">
              <a:extLst>
                <a:ext uri="{FF2B5EF4-FFF2-40B4-BE49-F238E27FC236}">
                  <a16:creationId xmlns:a16="http://schemas.microsoft.com/office/drawing/2014/main" id="{418DC88F-BA44-4673-9D16-44A0FD9290F6}"/>
                </a:ext>
              </a:extLst>
            </p:cNvPr>
            <p:cNvSpPr>
              <a:spLocks/>
            </p:cNvSpPr>
            <p:nvPr>
              <p:custDataLst>
                <p:tags r:id="rId356"/>
              </p:custDataLst>
            </p:nvPr>
          </p:nvSpPr>
          <p:spPr bwMode="auto">
            <a:xfrm>
              <a:off x="7104063" y="2128838"/>
              <a:ext cx="17462" cy="60325"/>
            </a:xfrm>
            <a:custGeom>
              <a:avLst/>
              <a:gdLst>
                <a:gd name="T0" fmla="*/ 0 w 46"/>
                <a:gd name="T1" fmla="*/ 0 h 19"/>
                <a:gd name="T2" fmla="*/ 1296743 w 46"/>
                <a:gd name="T3" fmla="*/ 30241875 h 19"/>
                <a:gd name="T4" fmla="*/ 2017620 w 46"/>
                <a:gd name="T5" fmla="*/ 50403125 h 19"/>
                <a:gd name="T6" fmla="*/ 2738118 w 46"/>
                <a:gd name="T7" fmla="*/ 80645000 h 19"/>
                <a:gd name="T8" fmla="*/ 3314364 w 46"/>
                <a:gd name="T9" fmla="*/ 100806250 h 19"/>
                <a:gd name="T10" fmla="*/ 3746738 w 46"/>
                <a:gd name="T11" fmla="*/ 120967500 h 19"/>
                <a:gd name="T12" fmla="*/ 4611107 w 46"/>
                <a:gd name="T13" fmla="*/ 141128750 h 19"/>
                <a:gd name="T14" fmla="*/ 5331984 w 46"/>
                <a:gd name="T15" fmla="*/ 171370625 h 19"/>
                <a:gd name="T16" fmla="*/ 6628727 w 46"/>
                <a:gd name="T17" fmla="*/ 191531875 h 19"/>
                <a:gd name="T18" fmla="*/ 4755358 w 46"/>
                <a:gd name="T19" fmla="*/ 191531875 h 19"/>
                <a:gd name="T20" fmla="*/ 3458615 w 46"/>
                <a:gd name="T21" fmla="*/ 191531875 h 19"/>
                <a:gd name="T22" fmla="*/ 2593866 w 46"/>
                <a:gd name="T23" fmla="*/ 181451250 h 19"/>
                <a:gd name="T24" fmla="*/ 1873369 w 46"/>
                <a:gd name="T25" fmla="*/ 171370625 h 19"/>
                <a:gd name="T26" fmla="*/ 1440995 w 46"/>
                <a:gd name="T27" fmla="*/ 141128750 h 19"/>
                <a:gd name="T28" fmla="*/ 1008620 w 46"/>
                <a:gd name="T29" fmla="*/ 110886875 h 19"/>
                <a:gd name="T30" fmla="*/ 576246 w 46"/>
                <a:gd name="T31" fmla="*/ 7056437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9" name="Freeform 519">
              <a:extLst>
                <a:ext uri="{FF2B5EF4-FFF2-40B4-BE49-F238E27FC236}">
                  <a16:creationId xmlns:a16="http://schemas.microsoft.com/office/drawing/2014/main" id="{8B664C9A-1D4B-480D-AA1A-650E2D5B5FE7}"/>
                </a:ext>
              </a:extLst>
            </p:cNvPr>
            <p:cNvSpPr>
              <a:spLocks/>
            </p:cNvSpPr>
            <p:nvPr>
              <p:custDataLst>
                <p:tags r:id="rId357"/>
              </p:custDataLst>
            </p:nvPr>
          </p:nvSpPr>
          <p:spPr bwMode="auto">
            <a:xfrm>
              <a:off x="4419600" y="2268538"/>
              <a:ext cx="47625" cy="58737"/>
            </a:xfrm>
            <a:custGeom>
              <a:avLst/>
              <a:gdLst>
                <a:gd name="T0" fmla="*/ 7484745 w 100"/>
                <a:gd name="T1" fmla="*/ 0 h 55"/>
                <a:gd name="T2" fmla="*/ 22681406 w 100"/>
                <a:gd name="T3" fmla="*/ 13687022 h 55"/>
                <a:gd name="T4" fmla="*/ 22681406 w 100"/>
                <a:gd name="T5" fmla="*/ 62730048 h 55"/>
                <a:gd name="T6" fmla="*/ 2948464 w 100"/>
                <a:gd name="T7" fmla="*/ 62730048 h 55"/>
                <a:gd name="T8" fmla="*/ 0 w 100"/>
                <a:gd name="T9" fmla="*/ 49043026 h 55"/>
                <a:gd name="T10" fmla="*/ 226695 w 100"/>
                <a:gd name="T11" fmla="*/ 43341168 h 55"/>
                <a:gd name="T12" fmla="*/ 907256 w 100"/>
                <a:gd name="T13" fmla="*/ 36497657 h 55"/>
                <a:gd name="T14" fmla="*/ 2268379 w 100"/>
                <a:gd name="T15" fmla="*/ 28513561 h 55"/>
                <a:gd name="T16" fmla="*/ 3629025 w 100"/>
                <a:gd name="T17" fmla="*/ 20529465 h 55"/>
                <a:gd name="T18" fmla="*/ 6124099 w 100"/>
                <a:gd name="T19" fmla="*/ 5702926 h 55"/>
                <a:gd name="T20" fmla="*/ 7484745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0" name="Freeform 520">
              <a:extLst>
                <a:ext uri="{FF2B5EF4-FFF2-40B4-BE49-F238E27FC236}">
                  <a16:creationId xmlns:a16="http://schemas.microsoft.com/office/drawing/2014/main" id="{AE06BA78-E166-4FD3-BEAE-C80B0E8E66A2}"/>
                </a:ext>
              </a:extLst>
            </p:cNvPr>
            <p:cNvSpPr>
              <a:spLocks/>
            </p:cNvSpPr>
            <p:nvPr>
              <p:custDataLst>
                <p:tags r:id="rId358"/>
              </p:custDataLst>
            </p:nvPr>
          </p:nvSpPr>
          <p:spPr bwMode="auto">
            <a:xfrm>
              <a:off x="4868863" y="1860550"/>
              <a:ext cx="42862" cy="58738"/>
            </a:xfrm>
            <a:custGeom>
              <a:avLst/>
              <a:gdLst>
                <a:gd name="T0" fmla="*/ 9934459 w 99"/>
                <a:gd name="T1" fmla="*/ 2652379 h 51"/>
                <a:gd name="T2" fmla="*/ 10871795 w 99"/>
                <a:gd name="T3" fmla="*/ 1326765 h 51"/>
                <a:gd name="T4" fmla="*/ 11621663 w 99"/>
                <a:gd name="T5" fmla="*/ 0 h 51"/>
                <a:gd name="T6" fmla="*/ 12184065 w 99"/>
                <a:gd name="T7" fmla="*/ 0 h 51"/>
                <a:gd name="T8" fmla="*/ 12933933 w 99"/>
                <a:gd name="T9" fmla="*/ 1326765 h 51"/>
                <a:gd name="T10" fmla="*/ 13870836 w 99"/>
                <a:gd name="T11" fmla="*/ 6632674 h 51"/>
                <a:gd name="T12" fmla="*/ 14808172 w 99"/>
                <a:gd name="T13" fmla="*/ 14590962 h 51"/>
                <a:gd name="T14" fmla="*/ 15558040 w 99"/>
                <a:gd name="T15" fmla="*/ 23876015 h 51"/>
                <a:gd name="T16" fmla="*/ 16307909 w 99"/>
                <a:gd name="T17" fmla="*/ 33161067 h 51"/>
                <a:gd name="T18" fmla="*/ 17057344 w 99"/>
                <a:gd name="T19" fmla="*/ 37140211 h 51"/>
                <a:gd name="T20" fmla="*/ 17432278 w 99"/>
                <a:gd name="T21" fmla="*/ 39792590 h 51"/>
                <a:gd name="T22" fmla="*/ 17994680 w 99"/>
                <a:gd name="T23" fmla="*/ 42446120 h 51"/>
                <a:gd name="T24" fmla="*/ 18557081 w 99"/>
                <a:gd name="T25" fmla="*/ 45098499 h 51"/>
                <a:gd name="T26" fmla="*/ 18557081 w 99"/>
                <a:gd name="T27" fmla="*/ 49077643 h 51"/>
                <a:gd name="T28" fmla="*/ 18182147 w 99"/>
                <a:gd name="T29" fmla="*/ 53056787 h 51"/>
                <a:gd name="T30" fmla="*/ 17807213 w 99"/>
                <a:gd name="T31" fmla="*/ 57035930 h 51"/>
                <a:gd name="T32" fmla="*/ 17057344 w 99"/>
                <a:gd name="T33" fmla="*/ 59689461 h 51"/>
                <a:gd name="T34" fmla="*/ 16120441 w 99"/>
                <a:gd name="T35" fmla="*/ 62341839 h 51"/>
                <a:gd name="T36" fmla="*/ 15183106 w 99"/>
                <a:gd name="T37" fmla="*/ 63668605 h 51"/>
                <a:gd name="T38" fmla="*/ 13870836 w 99"/>
                <a:gd name="T39" fmla="*/ 66320983 h 51"/>
                <a:gd name="T40" fmla="*/ 12746466 w 99"/>
                <a:gd name="T41" fmla="*/ 66320983 h 51"/>
                <a:gd name="T42" fmla="*/ 9746992 w 99"/>
                <a:gd name="T43" fmla="*/ 67647748 h 51"/>
                <a:gd name="T44" fmla="*/ 6747951 w 99"/>
                <a:gd name="T45" fmla="*/ 64995370 h 51"/>
                <a:gd name="T46" fmla="*/ 5061180 w 99"/>
                <a:gd name="T47" fmla="*/ 63668605 h 51"/>
                <a:gd name="T48" fmla="*/ 3373975 w 99"/>
                <a:gd name="T49" fmla="*/ 59689461 h 51"/>
                <a:gd name="T50" fmla="*/ 1687204 w 99"/>
                <a:gd name="T51" fmla="*/ 57035930 h 51"/>
                <a:gd name="T52" fmla="*/ 187467 w 99"/>
                <a:gd name="T53" fmla="*/ 53056787 h 51"/>
                <a:gd name="T54" fmla="*/ 0 w 99"/>
                <a:gd name="T55" fmla="*/ 51731173 h 51"/>
                <a:gd name="T56" fmla="*/ 187467 w 99"/>
                <a:gd name="T57" fmla="*/ 49077643 h 51"/>
                <a:gd name="T58" fmla="*/ 562401 w 99"/>
                <a:gd name="T59" fmla="*/ 46425264 h 51"/>
                <a:gd name="T60" fmla="*/ 1124803 w 99"/>
                <a:gd name="T61" fmla="*/ 43771734 h 51"/>
                <a:gd name="T62" fmla="*/ 2624107 w 99"/>
                <a:gd name="T63" fmla="*/ 38465825 h 51"/>
                <a:gd name="T64" fmla="*/ 4686245 w 99"/>
                <a:gd name="T65" fmla="*/ 31834302 h 51"/>
                <a:gd name="T66" fmla="*/ 6560484 w 99"/>
                <a:gd name="T67" fmla="*/ 25201628 h 51"/>
                <a:gd name="T68" fmla="*/ 8435155 w 99"/>
                <a:gd name="T69" fmla="*/ 15916575 h 51"/>
                <a:gd name="T70" fmla="*/ 8997556 w 99"/>
                <a:gd name="T71" fmla="*/ 13264197 h 51"/>
                <a:gd name="T72" fmla="*/ 9559525 w 99"/>
                <a:gd name="T73" fmla="*/ 9285053 h 51"/>
                <a:gd name="T74" fmla="*/ 9746992 w 99"/>
                <a:gd name="T75" fmla="*/ 6632674 h 51"/>
                <a:gd name="T76" fmla="*/ 9934459 w 99"/>
                <a:gd name="T77" fmla="*/ 2652379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1" name="Freeform 521">
              <a:extLst>
                <a:ext uri="{FF2B5EF4-FFF2-40B4-BE49-F238E27FC236}">
                  <a16:creationId xmlns:a16="http://schemas.microsoft.com/office/drawing/2014/main" id="{D61A39D5-0774-438B-9B31-9D5DE53F72D9}"/>
                </a:ext>
              </a:extLst>
            </p:cNvPr>
            <p:cNvSpPr>
              <a:spLocks/>
            </p:cNvSpPr>
            <p:nvPr>
              <p:custDataLst>
                <p:tags r:id="rId359"/>
              </p:custDataLst>
            </p:nvPr>
          </p:nvSpPr>
          <p:spPr bwMode="auto">
            <a:xfrm>
              <a:off x="4903788" y="1673225"/>
              <a:ext cx="228600" cy="163513"/>
            </a:xfrm>
            <a:custGeom>
              <a:avLst/>
              <a:gdLst>
                <a:gd name="T0" fmla="*/ 59723383 w 525"/>
                <a:gd name="T1" fmla="*/ 7463718 h 311"/>
                <a:gd name="T2" fmla="*/ 64842717 w 525"/>
                <a:gd name="T3" fmla="*/ 5804939 h 311"/>
                <a:gd name="T4" fmla="*/ 72995246 w 525"/>
                <a:gd name="T5" fmla="*/ 5528388 h 311"/>
                <a:gd name="T6" fmla="*/ 77356063 w 525"/>
                <a:gd name="T7" fmla="*/ 4699261 h 311"/>
                <a:gd name="T8" fmla="*/ 80958363 w 525"/>
                <a:gd name="T9" fmla="*/ 1934804 h 311"/>
                <a:gd name="T10" fmla="*/ 97453269 w 525"/>
                <a:gd name="T11" fmla="*/ 1658779 h 311"/>
                <a:gd name="T12" fmla="*/ 99538971 w 525"/>
                <a:gd name="T13" fmla="*/ 5251837 h 311"/>
                <a:gd name="T14" fmla="*/ 88732070 w 525"/>
                <a:gd name="T15" fmla="*/ 12992106 h 311"/>
                <a:gd name="T16" fmla="*/ 74322432 w 525"/>
                <a:gd name="T17" fmla="*/ 20179274 h 311"/>
                <a:gd name="T18" fmla="*/ 67497089 w 525"/>
                <a:gd name="T19" fmla="*/ 22114078 h 311"/>
                <a:gd name="T20" fmla="*/ 60861158 w 525"/>
                <a:gd name="T21" fmla="*/ 22943205 h 311"/>
                <a:gd name="T22" fmla="*/ 52898040 w 525"/>
                <a:gd name="T23" fmla="*/ 27919017 h 311"/>
                <a:gd name="T24" fmla="*/ 46262109 w 525"/>
                <a:gd name="T25" fmla="*/ 33447405 h 311"/>
                <a:gd name="T26" fmla="*/ 41332186 w 525"/>
                <a:gd name="T27" fmla="*/ 35658760 h 311"/>
                <a:gd name="T28" fmla="*/ 35454771 w 525"/>
                <a:gd name="T29" fmla="*/ 34000507 h 311"/>
                <a:gd name="T30" fmla="*/ 33748327 w 525"/>
                <a:gd name="T31" fmla="*/ 37870115 h 311"/>
                <a:gd name="T32" fmla="*/ 33179657 w 525"/>
                <a:gd name="T33" fmla="*/ 40081470 h 311"/>
                <a:gd name="T34" fmla="*/ 35075513 w 525"/>
                <a:gd name="T35" fmla="*/ 40911123 h 311"/>
                <a:gd name="T36" fmla="*/ 34886102 w 525"/>
                <a:gd name="T37" fmla="*/ 43399029 h 311"/>
                <a:gd name="T38" fmla="*/ 33369069 w 525"/>
                <a:gd name="T39" fmla="*/ 46162960 h 311"/>
                <a:gd name="T40" fmla="*/ 34127585 w 525"/>
                <a:gd name="T41" fmla="*/ 49479993 h 311"/>
                <a:gd name="T42" fmla="*/ 30714696 w 525"/>
                <a:gd name="T43" fmla="*/ 53626678 h 311"/>
                <a:gd name="T44" fmla="*/ 27302242 w 525"/>
                <a:gd name="T45" fmla="*/ 56390610 h 311"/>
                <a:gd name="T46" fmla="*/ 26733137 w 525"/>
                <a:gd name="T47" fmla="*/ 58878516 h 311"/>
                <a:gd name="T48" fmla="*/ 27302242 w 525"/>
                <a:gd name="T49" fmla="*/ 63025201 h 311"/>
                <a:gd name="T50" fmla="*/ 30904543 w 525"/>
                <a:gd name="T51" fmla="*/ 68277038 h 311"/>
                <a:gd name="T52" fmla="*/ 36213288 w 525"/>
                <a:gd name="T53" fmla="*/ 73805426 h 311"/>
                <a:gd name="T54" fmla="*/ 48537223 w 525"/>
                <a:gd name="T55" fmla="*/ 82927924 h 311"/>
                <a:gd name="T56" fmla="*/ 46072262 w 525"/>
                <a:gd name="T57" fmla="*/ 85968406 h 311"/>
                <a:gd name="T58" fmla="*/ 35834030 w 525"/>
                <a:gd name="T59" fmla="*/ 85415304 h 311"/>
                <a:gd name="T60" fmla="*/ 27491654 w 525"/>
                <a:gd name="T61" fmla="*/ 85139279 h 311"/>
                <a:gd name="T62" fmla="*/ 24458023 w 525"/>
                <a:gd name="T63" fmla="*/ 84033601 h 311"/>
                <a:gd name="T64" fmla="*/ 23320683 w 525"/>
                <a:gd name="T65" fmla="*/ 82374822 h 311"/>
                <a:gd name="T66" fmla="*/ 22751578 w 525"/>
                <a:gd name="T67" fmla="*/ 77952112 h 311"/>
                <a:gd name="T68" fmla="*/ 21993497 w 525"/>
                <a:gd name="T69" fmla="*/ 76846434 h 311"/>
                <a:gd name="T70" fmla="*/ 18011938 w 525"/>
                <a:gd name="T71" fmla="*/ 76569883 h 311"/>
                <a:gd name="T72" fmla="*/ 15167719 w 525"/>
                <a:gd name="T73" fmla="*/ 81822246 h 311"/>
                <a:gd name="T74" fmla="*/ 8342376 w 525"/>
                <a:gd name="T75" fmla="*/ 77952112 h 311"/>
                <a:gd name="T76" fmla="*/ 0 w 525"/>
                <a:gd name="T77" fmla="*/ 68000487 h 311"/>
                <a:gd name="T78" fmla="*/ 3412889 w 525"/>
                <a:gd name="T79" fmla="*/ 66065683 h 311"/>
                <a:gd name="T80" fmla="*/ 6446520 w 525"/>
                <a:gd name="T81" fmla="*/ 61366422 h 311"/>
                <a:gd name="T82" fmla="*/ 5308745 w 525"/>
                <a:gd name="T83" fmla="*/ 58878516 h 311"/>
                <a:gd name="T84" fmla="*/ 6446520 w 525"/>
                <a:gd name="T85" fmla="*/ 55284932 h 311"/>
                <a:gd name="T86" fmla="*/ 7583859 w 525"/>
                <a:gd name="T87" fmla="*/ 51967899 h 311"/>
                <a:gd name="T88" fmla="*/ 6446520 w 525"/>
                <a:gd name="T89" fmla="*/ 49479993 h 311"/>
                <a:gd name="T90" fmla="*/ 25405951 w 525"/>
                <a:gd name="T91" fmla="*/ 49479993 h 311"/>
                <a:gd name="T92" fmla="*/ 24837281 w 525"/>
                <a:gd name="T93" fmla="*/ 48927417 h 311"/>
                <a:gd name="T94" fmla="*/ 17064010 w 525"/>
                <a:gd name="T95" fmla="*/ 45886935 h 311"/>
                <a:gd name="T96" fmla="*/ 10238232 w 525"/>
                <a:gd name="T97" fmla="*/ 40911123 h 311"/>
                <a:gd name="T98" fmla="*/ 15926235 w 525"/>
                <a:gd name="T99" fmla="*/ 37040989 h 311"/>
                <a:gd name="T100" fmla="*/ 22751578 w 525"/>
                <a:gd name="T101" fmla="*/ 30683474 h 311"/>
                <a:gd name="T102" fmla="*/ 21045569 w 525"/>
                <a:gd name="T103" fmla="*/ 28471593 h 311"/>
                <a:gd name="T104" fmla="*/ 18959866 w 525"/>
                <a:gd name="T105" fmla="*/ 22114078 h 311"/>
                <a:gd name="T106" fmla="*/ 24078765 w 525"/>
                <a:gd name="T107" fmla="*/ 21008400 h 311"/>
                <a:gd name="T108" fmla="*/ 34886102 w 525"/>
                <a:gd name="T109" fmla="*/ 16032588 h 311"/>
                <a:gd name="T110" fmla="*/ 48157965 w 525"/>
                <a:gd name="T111" fmla="*/ 9675073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2" name="Freeform 522">
              <a:extLst>
                <a:ext uri="{FF2B5EF4-FFF2-40B4-BE49-F238E27FC236}">
                  <a16:creationId xmlns:a16="http://schemas.microsoft.com/office/drawing/2014/main" id="{4694D4FC-D7D6-4DB7-A4DF-1AE41B072976}"/>
                </a:ext>
              </a:extLst>
            </p:cNvPr>
            <p:cNvSpPr>
              <a:spLocks/>
            </p:cNvSpPr>
            <p:nvPr>
              <p:custDataLst>
                <p:tags r:id="rId360"/>
              </p:custDataLst>
            </p:nvPr>
          </p:nvSpPr>
          <p:spPr bwMode="auto">
            <a:xfrm>
              <a:off x="4695825" y="1984375"/>
              <a:ext cx="31750" cy="55563"/>
            </a:xfrm>
            <a:custGeom>
              <a:avLst/>
              <a:gdLst>
                <a:gd name="T0" fmla="*/ 7429902 w 79"/>
                <a:gd name="T1" fmla="*/ 0 h 38"/>
                <a:gd name="T2" fmla="*/ 8722408 w 79"/>
                <a:gd name="T3" fmla="*/ 2137675 h 38"/>
                <a:gd name="T4" fmla="*/ 10014513 w 79"/>
                <a:gd name="T5" fmla="*/ 6413025 h 38"/>
                <a:gd name="T6" fmla="*/ 10983491 w 79"/>
                <a:gd name="T7" fmla="*/ 14965186 h 38"/>
                <a:gd name="T8" fmla="*/ 11629744 w 79"/>
                <a:gd name="T9" fmla="*/ 25655022 h 38"/>
                <a:gd name="T10" fmla="*/ 12114032 w 79"/>
                <a:gd name="T11" fmla="*/ 36344859 h 38"/>
                <a:gd name="T12" fmla="*/ 12437158 w 79"/>
                <a:gd name="T13" fmla="*/ 47033233 h 38"/>
                <a:gd name="T14" fmla="*/ 12760285 w 79"/>
                <a:gd name="T15" fmla="*/ 57723069 h 38"/>
                <a:gd name="T16" fmla="*/ 12760285 w 79"/>
                <a:gd name="T17" fmla="*/ 68412906 h 38"/>
                <a:gd name="T18" fmla="*/ 12437158 w 79"/>
                <a:gd name="T19" fmla="*/ 72688255 h 38"/>
                <a:gd name="T20" fmla="*/ 12114032 w 79"/>
                <a:gd name="T21" fmla="*/ 74827392 h 38"/>
                <a:gd name="T22" fmla="*/ 11629744 w 79"/>
                <a:gd name="T23" fmla="*/ 76965067 h 38"/>
                <a:gd name="T24" fmla="*/ 10983491 w 79"/>
                <a:gd name="T25" fmla="*/ 79102742 h 38"/>
                <a:gd name="T26" fmla="*/ 9206696 w 79"/>
                <a:gd name="T27" fmla="*/ 81240417 h 38"/>
                <a:gd name="T28" fmla="*/ 7429902 w 79"/>
                <a:gd name="T29" fmla="*/ 81240417 h 38"/>
                <a:gd name="T30" fmla="*/ 6137797 w 79"/>
                <a:gd name="T31" fmla="*/ 79102742 h 38"/>
                <a:gd name="T32" fmla="*/ 4845693 w 79"/>
                <a:gd name="T33" fmla="*/ 76965067 h 38"/>
                <a:gd name="T34" fmla="*/ 3392025 w 79"/>
                <a:gd name="T35" fmla="*/ 74827392 h 38"/>
                <a:gd name="T36" fmla="*/ 2422646 w 79"/>
                <a:gd name="T37" fmla="*/ 68412906 h 38"/>
                <a:gd name="T38" fmla="*/ 1292104 w 79"/>
                <a:gd name="T39" fmla="*/ 61999881 h 38"/>
                <a:gd name="T40" fmla="*/ 646253 w 79"/>
                <a:gd name="T41" fmla="*/ 53447720 h 38"/>
                <a:gd name="T42" fmla="*/ 323127 w 79"/>
                <a:gd name="T43" fmla="*/ 47033233 h 38"/>
                <a:gd name="T44" fmla="*/ 161563 w 79"/>
                <a:gd name="T45" fmla="*/ 42757883 h 38"/>
                <a:gd name="T46" fmla="*/ 0 w 79"/>
                <a:gd name="T47" fmla="*/ 36344859 h 38"/>
                <a:gd name="T48" fmla="*/ 0 w 79"/>
                <a:gd name="T49" fmla="*/ 27792697 h 38"/>
                <a:gd name="T50" fmla="*/ 161563 w 79"/>
                <a:gd name="T51" fmla="*/ 23517348 h 38"/>
                <a:gd name="T52" fmla="*/ 646253 w 79"/>
                <a:gd name="T53" fmla="*/ 19240536 h 38"/>
                <a:gd name="T54" fmla="*/ 1615231 w 79"/>
                <a:gd name="T55" fmla="*/ 12827511 h 38"/>
                <a:gd name="T56" fmla="*/ 2745772 w 79"/>
                <a:gd name="T57" fmla="*/ 8552162 h 38"/>
                <a:gd name="T58" fmla="*/ 5168820 w 79"/>
                <a:gd name="T59" fmla="*/ 2137675 h 38"/>
                <a:gd name="T60" fmla="*/ 7429902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3" name="Freeform 523">
              <a:extLst>
                <a:ext uri="{FF2B5EF4-FFF2-40B4-BE49-F238E27FC236}">
                  <a16:creationId xmlns:a16="http://schemas.microsoft.com/office/drawing/2014/main" id="{29552B4A-26C0-4182-B695-CB699FE0290B}"/>
                </a:ext>
              </a:extLst>
            </p:cNvPr>
            <p:cNvSpPr>
              <a:spLocks/>
            </p:cNvSpPr>
            <p:nvPr>
              <p:custDataLst>
                <p:tags r:id="rId361"/>
              </p:custDataLst>
            </p:nvPr>
          </p:nvSpPr>
          <p:spPr bwMode="auto">
            <a:xfrm>
              <a:off x="7000875" y="2281238"/>
              <a:ext cx="196850" cy="268287"/>
            </a:xfrm>
            <a:custGeom>
              <a:avLst/>
              <a:gdLst>
                <a:gd name="T0" fmla="*/ 4782297 w 459"/>
                <a:gd name="T1" fmla="*/ 12404251 h 511"/>
                <a:gd name="T2" fmla="*/ 2206950 w 459"/>
                <a:gd name="T3" fmla="*/ 6891484 h 511"/>
                <a:gd name="T4" fmla="*/ 0 w 459"/>
                <a:gd name="T5" fmla="*/ 0 h 511"/>
                <a:gd name="T6" fmla="*/ 4046361 w 459"/>
                <a:gd name="T7" fmla="*/ 1929468 h 511"/>
                <a:gd name="T8" fmla="*/ 6069756 w 459"/>
                <a:gd name="T9" fmla="*/ 1653830 h 511"/>
                <a:gd name="T10" fmla="*/ 17472903 w 459"/>
                <a:gd name="T11" fmla="*/ 18468820 h 511"/>
                <a:gd name="T12" fmla="*/ 26853514 w 459"/>
                <a:gd name="T13" fmla="*/ 33905093 h 511"/>
                <a:gd name="T14" fmla="*/ 39728104 w 459"/>
                <a:gd name="T15" fmla="*/ 54579020 h 511"/>
                <a:gd name="T16" fmla="*/ 47453287 w 459"/>
                <a:gd name="T17" fmla="*/ 65329441 h 511"/>
                <a:gd name="T18" fmla="*/ 55729993 w 459"/>
                <a:gd name="T19" fmla="*/ 73323478 h 511"/>
                <a:gd name="T20" fmla="*/ 68421029 w 459"/>
                <a:gd name="T21" fmla="*/ 85727729 h 511"/>
                <a:gd name="T22" fmla="*/ 73202897 w 459"/>
                <a:gd name="T23" fmla="*/ 92619213 h 511"/>
                <a:gd name="T24" fmla="*/ 67133141 w 459"/>
                <a:gd name="T25" fmla="*/ 88208474 h 511"/>
                <a:gd name="T26" fmla="*/ 59592370 w 459"/>
                <a:gd name="T27" fmla="*/ 81593154 h 511"/>
                <a:gd name="T28" fmla="*/ 57752959 w 459"/>
                <a:gd name="T29" fmla="*/ 82144430 h 511"/>
                <a:gd name="T30" fmla="*/ 57568975 w 459"/>
                <a:gd name="T31" fmla="*/ 85727729 h 511"/>
                <a:gd name="T32" fmla="*/ 58304911 w 459"/>
                <a:gd name="T33" fmla="*/ 92894851 h 511"/>
                <a:gd name="T34" fmla="*/ 59960338 w 459"/>
                <a:gd name="T35" fmla="*/ 98683257 h 511"/>
                <a:gd name="T36" fmla="*/ 64006700 w 459"/>
                <a:gd name="T37" fmla="*/ 106677294 h 511"/>
                <a:gd name="T38" fmla="*/ 72467390 w 459"/>
                <a:gd name="T39" fmla="*/ 116049523 h 511"/>
                <a:gd name="T40" fmla="*/ 80928080 w 459"/>
                <a:gd name="T41" fmla="*/ 126248667 h 511"/>
                <a:gd name="T42" fmla="*/ 82399094 w 459"/>
                <a:gd name="T43" fmla="*/ 131210158 h 511"/>
                <a:gd name="T44" fmla="*/ 78720701 w 459"/>
                <a:gd name="T45" fmla="*/ 129280689 h 511"/>
                <a:gd name="T46" fmla="*/ 72099422 w 459"/>
                <a:gd name="T47" fmla="*/ 127351221 h 511"/>
                <a:gd name="T48" fmla="*/ 72283406 w 459"/>
                <a:gd name="T49" fmla="*/ 136172173 h 511"/>
                <a:gd name="T50" fmla="*/ 73202897 w 459"/>
                <a:gd name="T51" fmla="*/ 140858025 h 511"/>
                <a:gd name="T52" fmla="*/ 71363486 w 459"/>
                <a:gd name="T53" fmla="*/ 135620897 h 511"/>
                <a:gd name="T54" fmla="*/ 66765602 w 459"/>
                <a:gd name="T55" fmla="*/ 128453774 h 511"/>
                <a:gd name="T56" fmla="*/ 63086780 w 459"/>
                <a:gd name="T57" fmla="*/ 122664844 h 511"/>
                <a:gd name="T58" fmla="*/ 62351273 w 459"/>
                <a:gd name="T59" fmla="*/ 118805907 h 511"/>
                <a:gd name="T60" fmla="*/ 60327878 w 459"/>
                <a:gd name="T61" fmla="*/ 113292615 h 511"/>
                <a:gd name="T62" fmla="*/ 57017452 w 459"/>
                <a:gd name="T63" fmla="*/ 105850379 h 511"/>
                <a:gd name="T64" fmla="*/ 54810073 w 459"/>
                <a:gd name="T65" fmla="*/ 101164002 h 511"/>
                <a:gd name="T66" fmla="*/ 51499648 w 459"/>
                <a:gd name="T67" fmla="*/ 98683257 h 511"/>
                <a:gd name="T68" fmla="*/ 48556762 w 459"/>
                <a:gd name="T69" fmla="*/ 94548681 h 511"/>
                <a:gd name="T70" fmla="*/ 45797860 w 459"/>
                <a:gd name="T71" fmla="*/ 86554644 h 511"/>
                <a:gd name="T72" fmla="*/ 45061924 w 459"/>
                <a:gd name="T73" fmla="*/ 80765714 h 511"/>
                <a:gd name="T74" fmla="*/ 43038958 w 459"/>
                <a:gd name="T75" fmla="*/ 77458053 h 511"/>
                <a:gd name="T76" fmla="*/ 35681743 w 459"/>
                <a:gd name="T77" fmla="*/ 67258909 h 511"/>
                <a:gd name="T78" fmla="*/ 31451398 w 459"/>
                <a:gd name="T79" fmla="*/ 60643589 h 511"/>
                <a:gd name="T80" fmla="*/ 29979955 w 459"/>
                <a:gd name="T81" fmla="*/ 55957211 h 511"/>
                <a:gd name="T82" fmla="*/ 28324957 w 459"/>
                <a:gd name="T83" fmla="*/ 51546998 h 511"/>
                <a:gd name="T84" fmla="*/ 21151725 w 459"/>
                <a:gd name="T85" fmla="*/ 42726045 h 511"/>
                <a:gd name="T86" fmla="*/ 12875019 w 459"/>
                <a:gd name="T87" fmla="*/ 35834561 h 511"/>
                <a:gd name="T88" fmla="*/ 8644674 w 459"/>
                <a:gd name="T89" fmla="*/ 30321794 h 511"/>
                <a:gd name="T90" fmla="*/ 6989247 w 459"/>
                <a:gd name="T91" fmla="*/ 25635417 h 511"/>
                <a:gd name="T92" fmla="*/ 6253311 w 459"/>
                <a:gd name="T93" fmla="*/ 2067392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374" name="Group 524">
              <a:extLst>
                <a:ext uri="{FF2B5EF4-FFF2-40B4-BE49-F238E27FC236}">
                  <a16:creationId xmlns:a16="http://schemas.microsoft.com/office/drawing/2014/main" id="{C4B64366-990C-4EC3-9006-C8696463415A}"/>
                </a:ext>
              </a:extLst>
            </p:cNvPr>
            <p:cNvGrpSpPr>
              <a:grpSpLocks/>
            </p:cNvGrpSpPr>
            <p:nvPr>
              <p:custDataLst>
                <p:tags r:id="rId362"/>
              </p:custDataLst>
            </p:nvPr>
          </p:nvGrpSpPr>
          <p:grpSpPr bwMode="auto">
            <a:xfrm>
              <a:off x="5791200" y="2236788"/>
              <a:ext cx="671513" cy="384175"/>
              <a:chOff x="4115" y="1551"/>
              <a:chExt cx="504" cy="244"/>
            </a:xfrm>
          </p:grpSpPr>
          <p:sp>
            <p:nvSpPr>
              <p:cNvPr id="407" name="Freeform 525">
                <a:extLst>
                  <a:ext uri="{FF2B5EF4-FFF2-40B4-BE49-F238E27FC236}">
                    <a16:creationId xmlns:a16="http://schemas.microsoft.com/office/drawing/2014/main" id="{566BF03B-FDD2-4CC2-93BC-F47B4666890E}"/>
                  </a:ext>
                </a:extLst>
              </p:cNvPr>
              <p:cNvSpPr>
                <a:spLocks/>
              </p:cNvSpPr>
              <p:nvPr/>
            </p:nvSpPr>
            <p:spPr bwMode="auto">
              <a:xfrm>
                <a:off x="4540" y="1551"/>
                <a:ext cx="79" cy="86"/>
              </a:xfrm>
              <a:custGeom>
                <a:avLst/>
                <a:gdLst>
                  <a:gd name="T0" fmla="*/ 1 w 240"/>
                  <a:gd name="T1" fmla="*/ 27 h 259"/>
                  <a:gd name="T2" fmla="*/ 9 w 240"/>
                  <a:gd name="T3" fmla="*/ 29 h 259"/>
                  <a:gd name="T4" fmla="*/ 13 w 240"/>
                  <a:gd name="T5" fmla="*/ 27 h 259"/>
                  <a:gd name="T6" fmla="*/ 14 w 240"/>
                  <a:gd name="T7" fmla="*/ 23 h 259"/>
                  <a:gd name="T8" fmla="*/ 21 w 240"/>
                  <a:gd name="T9" fmla="*/ 18 h 259"/>
                  <a:gd name="T10" fmla="*/ 23 w 240"/>
                  <a:gd name="T11" fmla="*/ 12 h 259"/>
                  <a:gd name="T12" fmla="*/ 26 w 240"/>
                  <a:gd name="T13" fmla="*/ 3 h 259"/>
                  <a:gd name="T14" fmla="*/ 23 w 240"/>
                  <a:gd name="T15" fmla="*/ 0 h 259"/>
                  <a:gd name="T16" fmla="*/ 22 w 240"/>
                  <a:gd name="T17" fmla="*/ 4 h 259"/>
                  <a:gd name="T18" fmla="*/ 22 w 240"/>
                  <a:gd name="T19" fmla="*/ 8 h 259"/>
                  <a:gd name="T20" fmla="*/ 18 w 240"/>
                  <a:gd name="T21" fmla="*/ 12 h 259"/>
                  <a:gd name="T22" fmla="*/ 14 w 240"/>
                  <a:gd name="T23" fmla="*/ 16 h 259"/>
                  <a:gd name="T24" fmla="*/ 12 w 240"/>
                  <a:gd name="T25" fmla="*/ 20 h 259"/>
                  <a:gd name="T26" fmla="*/ 10 w 240"/>
                  <a:gd name="T27" fmla="*/ 24 h 259"/>
                  <a:gd name="T28" fmla="*/ 2 w 240"/>
                  <a:gd name="T29" fmla="*/ 25 h 259"/>
                  <a:gd name="T30" fmla="*/ 0 w 240"/>
                  <a:gd name="T31" fmla="*/ 25 h 259"/>
                  <a:gd name="T32" fmla="*/ 1 w 240"/>
                  <a:gd name="T33" fmla="*/ 27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US"/>
              </a:p>
            </p:txBody>
          </p:sp>
          <p:sp>
            <p:nvSpPr>
              <p:cNvPr id="408" name="Freeform 526">
                <a:extLst>
                  <a:ext uri="{FF2B5EF4-FFF2-40B4-BE49-F238E27FC236}">
                    <a16:creationId xmlns:a16="http://schemas.microsoft.com/office/drawing/2014/main" id="{7E42BDC0-D9F8-4DB4-9361-3FD62596B541}"/>
                  </a:ext>
                </a:extLst>
              </p:cNvPr>
              <p:cNvSpPr>
                <a:spLocks/>
              </p:cNvSpPr>
              <p:nvPr/>
            </p:nvSpPr>
            <p:spPr bwMode="auto">
              <a:xfrm>
                <a:off x="4115" y="1761"/>
                <a:ext cx="84" cy="34"/>
              </a:xfrm>
              <a:custGeom>
                <a:avLst/>
                <a:gdLst>
                  <a:gd name="T0" fmla="*/ 4 w 259"/>
                  <a:gd name="T1" fmla="*/ 11 h 104"/>
                  <a:gd name="T2" fmla="*/ 3 w 259"/>
                  <a:gd name="T3" fmla="*/ 9 h 104"/>
                  <a:gd name="T4" fmla="*/ 6 w 259"/>
                  <a:gd name="T5" fmla="*/ 7 h 104"/>
                  <a:gd name="T6" fmla="*/ 7 w 259"/>
                  <a:gd name="T7" fmla="*/ 5 h 104"/>
                  <a:gd name="T8" fmla="*/ 13 w 259"/>
                  <a:gd name="T9" fmla="*/ 5 h 104"/>
                  <a:gd name="T10" fmla="*/ 18 w 259"/>
                  <a:gd name="T11" fmla="*/ 5 h 104"/>
                  <a:gd name="T12" fmla="*/ 26 w 259"/>
                  <a:gd name="T13" fmla="*/ 3 h 104"/>
                  <a:gd name="T14" fmla="*/ 27 w 259"/>
                  <a:gd name="T15" fmla="*/ 1 h 104"/>
                  <a:gd name="T16" fmla="*/ 26 w 259"/>
                  <a:gd name="T17" fmla="*/ 0 h 104"/>
                  <a:gd name="T18" fmla="*/ 21 w 259"/>
                  <a:gd name="T19" fmla="*/ 1 h 104"/>
                  <a:gd name="T20" fmla="*/ 16 w 259"/>
                  <a:gd name="T21" fmla="*/ 1 h 104"/>
                  <a:gd name="T22" fmla="*/ 11 w 259"/>
                  <a:gd name="T23" fmla="*/ 1 h 104"/>
                  <a:gd name="T24" fmla="*/ 6 w 259"/>
                  <a:gd name="T25" fmla="*/ 2 h 104"/>
                  <a:gd name="T26" fmla="*/ 3 w 259"/>
                  <a:gd name="T27" fmla="*/ 5 h 104"/>
                  <a:gd name="T28" fmla="*/ 0 w 259"/>
                  <a:gd name="T29" fmla="*/ 7 h 104"/>
                  <a:gd name="T30" fmla="*/ 0 w 259"/>
                  <a:gd name="T31" fmla="*/ 11 h 104"/>
                  <a:gd name="T32" fmla="*/ 4 w 259"/>
                  <a:gd name="T33" fmla="*/ 11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US"/>
              </a:p>
            </p:txBody>
          </p:sp>
        </p:grpSp>
        <p:sp>
          <p:nvSpPr>
            <p:cNvPr id="375" name="Freeform 527">
              <a:extLst>
                <a:ext uri="{FF2B5EF4-FFF2-40B4-BE49-F238E27FC236}">
                  <a16:creationId xmlns:a16="http://schemas.microsoft.com/office/drawing/2014/main" id="{BF29574C-8AF1-410F-AD22-86B06614437C}"/>
                </a:ext>
              </a:extLst>
            </p:cNvPr>
            <p:cNvSpPr>
              <a:spLocks/>
            </p:cNvSpPr>
            <p:nvPr>
              <p:custDataLst>
                <p:tags r:id="rId363"/>
              </p:custDataLst>
            </p:nvPr>
          </p:nvSpPr>
          <p:spPr bwMode="auto">
            <a:xfrm>
              <a:off x="4848225" y="2986088"/>
              <a:ext cx="530225" cy="511175"/>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eaLnBrk="1" hangingPunct="1">
                <a:defRPr/>
              </a:pPr>
              <a:endParaRPr lang="en-US"/>
            </a:p>
          </p:txBody>
        </p:sp>
        <p:sp>
          <p:nvSpPr>
            <p:cNvPr id="376" name="Freeform 528">
              <a:extLst>
                <a:ext uri="{FF2B5EF4-FFF2-40B4-BE49-F238E27FC236}">
                  <a16:creationId xmlns:a16="http://schemas.microsoft.com/office/drawing/2014/main" id="{503CCE7C-8C5C-4189-ABA3-E5848B69354A}"/>
                </a:ext>
              </a:extLst>
            </p:cNvPr>
            <p:cNvSpPr>
              <a:spLocks/>
            </p:cNvSpPr>
            <p:nvPr>
              <p:custDataLst>
                <p:tags r:id="rId364"/>
              </p:custDataLst>
            </p:nvPr>
          </p:nvSpPr>
          <p:spPr bwMode="auto">
            <a:xfrm>
              <a:off x="4322763" y="2530475"/>
              <a:ext cx="57150" cy="57150"/>
            </a:xfrm>
            <a:custGeom>
              <a:avLst/>
              <a:gdLst>
                <a:gd name="T0" fmla="*/ 22370702 w 146"/>
                <a:gd name="T1" fmla="*/ 8960556 h 81"/>
                <a:gd name="T2" fmla="*/ 21144717 w 146"/>
                <a:gd name="T3" fmla="*/ 11947172 h 81"/>
                <a:gd name="T4" fmla="*/ 19919124 w 146"/>
                <a:gd name="T5" fmla="*/ 14436372 h 81"/>
                <a:gd name="T6" fmla="*/ 18846583 w 146"/>
                <a:gd name="T7" fmla="*/ 17422989 h 81"/>
                <a:gd name="T8" fmla="*/ 18080538 w 146"/>
                <a:gd name="T9" fmla="*/ 20410311 h 81"/>
                <a:gd name="T10" fmla="*/ 16548057 w 146"/>
                <a:gd name="T11" fmla="*/ 26383544 h 81"/>
                <a:gd name="T12" fmla="*/ 15015967 w 146"/>
                <a:gd name="T13" fmla="*/ 31860067 h 81"/>
                <a:gd name="T14" fmla="*/ 14249922 w 146"/>
                <a:gd name="T15" fmla="*/ 34348561 h 81"/>
                <a:gd name="T16" fmla="*/ 13023937 w 146"/>
                <a:gd name="T17" fmla="*/ 36340344 h 81"/>
                <a:gd name="T18" fmla="*/ 11644900 w 146"/>
                <a:gd name="T19" fmla="*/ 38331422 h 81"/>
                <a:gd name="T20" fmla="*/ 10112810 w 146"/>
                <a:gd name="T21" fmla="*/ 39824378 h 81"/>
                <a:gd name="T22" fmla="*/ 8120780 w 146"/>
                <a:gd name="T23" fmla="*/ 40322500 h 81"/>
                <a:gd name="T24" fmla="*/ 5975698 w 146"/>
                <a:gd name="T25" fmla="*/ 39824378 h 81"/>
                <a:gd name="T26" fmla="*/ 3217623 w 146"/>
                <a:gd name="T27" fmla="*/ 38331422 h 81"/>
                <a:gd name="T28" fmla="*/ 0 w 146"/>
                <a:gd name="T29" fmla="*/ 36837761 h 81"/>
                <a:gd name="T30" fmla="*/ 0 w 146"/>
                <a:gd name="T31" fmla="*/ 30863822 h 81"/>
                <a:gd name="T32" fmla="*/ 0 w 146"/>
                <a:gd name="T33" fmla="*/ 24392467 h 81"/>
                <a:gd name="T34" fmla="*/ 0 w 146"/>
                <a:gd name="T35" fmla="*/ 16925572 h 81"/>
                <a:gd name="T36" fmla="*/ 0 w 146"/>
                <a:gd name="T37" fmla="*/ 8960556 h 81"/>
                <a:gd name="T38" fmla="*/ 2145082 w 146"/>
                <a:gd name="T39" fmla="*/ 8960556 h 81"/>
                <a:gd name="T40" fmla="*/ 3371067 w 146"/>
                <a:gd name="T41" fmla="*/ 8960556 h 81"/>
                <a:gd name="T42" fmla="*/ 4750104 w 146"/>
                <a:gd name="T43" fmla="*/ 8960556 h 81"/>
                <a:gd name="T44" fmla="*/ 6129142 w 146"/>
                <a:gd name="T45" fmla="*/ 8960556 h 81"/>
                <a:gd name="T46" fmla="*/ 7967728 w 146"/>
                <a:gd name="T47" fmla="*/ 8960556 h 81"/>
                <a:gd name="T48" fmla="*/ 9653261 w 146"/>
                <a:gd name="T49" fmla="*/ 7965017 h 81"/>
                <a:gd name="T50" fmla="*/ 11185351 w 146"/>
                <a:gd name="T51" fmla="*/ 6969478 h 81"/>
                <a:gd name="T52" fmla="*/ 12717441 w 146"/>
                <a:gd name="T53" fmla="*/ 5475817 h 81"/>
                <a:gd name="T54" fmla="*/ 15475515 w 146"/>
                <a:gd name="T55" fmla="*/ 2489200 h 81"/>
                <a:gd name="T56" fmla="*/ 18387034 w 146"/>
                <a:gd name="T57" fmla="*/ 0 h 81"/>
                <a:gd name="T58" fmla="*/ 19766071 w 146"/>
                <a:gd name="T59" fmla="*/ 1991078 h 81"/>
                <a:gd name="T60" fmla="*/ 20685168 w 146"/>
                <a:gd name="T61" fmla="*/ 4480278 h 81"/>
                <a:gd name="T62" fmla="*/ 21604657 w 146"/>
                <a:gd name="T63" fmla="*/ 6969478 h 81"/>
                <a:gd name="T64" fmla="*/ 22370702 w 146"/>
                <a:gd name="T65" fmla="*/ 8960556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7" name="Freeform 529">
              <a:extLst>
                <a:ext uri="{FF2B5EF4-FFF2-40B4-BE49-F238E27FC236}">
                  <a16:creationId xmlns:a16="http://schemas.microsoft.com/office/drawing/2014/main" id="{A186FF47-FB5C-4742-891D-C06C90508021}"/>
                </a:ext>
              </a:extLst>
            </p:cNvPr>
            <p:cNvSpPr>
              <a:spLocks/>
            </p:cNvSpPr>
            <p:nvPr>
              <p:custDataLst>
                <p:tags r:id="rId365"/>
              </p:custDataLst>
            </p:nvPr>
          </p:nvSpPr>
          <p:spPr bwMode="auto">
            <a:xfrm>
              <a:off x="4062413" y="2743200"/>
              <a:ext cx="15875" cy="57150"/>
            </a:xfrm>
            <a:custGeom>
              <a:avLst/>
              <a:gdLst>
                <a:gd name="T0" fmla="*/ 7412224 w 34"/>
                <a:gd name="T1" fmla="*/ 66655561 h 49"/>
                <a:gd name="T2" fmla="*/ 7412224 w 34"/>
                <a:gd name="T3" fmla="*/ 46250679 h 49"/>
                <a:gd name="T4" fmla="*/ 7412224 w 34"/>
                <a:gd name="T5" fmla="*/ 34007749 h 49"/>
                <a:gd name="T6" fmla="*/ 7194176 w 34"/>
                <a:gd name="T7" fmla="*/ 28566836 h 49"/>
                <a:gd name="T8" fmla="*/ 7194176 w 34"/>
                <a:gd name="T9" fmla="*/ 23125922 h 49"/>
                <a:gd name="T10" fmla="*/ 6758081 w 34"/>
                <a:gd name="T11" fmla="*/ 20404883 h 49"/>
                <a:gd name="T12" fmla="*/ 6540033 w 34"/>
                <a:gd name="T13" fmla="*/ 16323906 h 49"/>
                <a:gd name="T14" fmla="*/ 5450261 w 34"/>
                <a:gd name="T15" fmla="*/ 10882993 h 49"/>
                <a:gd name="T16" fmla="*/ 4578070 w 34"/>
                <a:gd name="T17" fmla="*/ 0 h 49"/>
                <a:gd name="T18" fmla="*/ 1743915 w 34"/>
                <a:gd name="T19" fmla="*/ 0 h 49"/>
                <a:gd name="T20" fmla="*/ 0 w 34"/>
                <a:gd name="T21" fmla="*/ 0 h 49"/>
                <a:gd name="T22" fmla="*/ 654143 w 34"/>
                <a:gd name="T23" fmla="*/ 14963969 h 49"/>
                <a:gd name="T24" fmla="*/ 1525868 w 34"/>
                <a:gd name="T25" fmla="*/ 27206899 h 49"/>
                <a:gd name="T26" fmla="*/ 2180011 w 34"/>
                <a:gd name="T27" fmla="*/ 36728789 h 49"/>
                <a:gd name="T28" fmla="*/ 3052202 w 34"/>
                <a:gd name="T29" fmla="*/ 46250679 h 49"/>
                <a:gd name="T30" fmla="*/ 4141974 w 34"/>
                <a:gd name="T31" fmla="*/ 53052695 h 49"/>
                <a:gd name="T32" fmla="*/ 5232213 w 34"/>
                <a:gd name="T33" fmla="*/ 58493608 h 49"/>
                <a:gd name="T34" fmla="*/ 6321985 w 34"/>
                <a:gd name="T35" fmla="*/ 62574585 h 49"/>
                <a:gd name="T36" fmla="*/ 7412224 w 34"/>
                <a:gd name="T37" fmla="*/ 66655561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8" name="Freeform 530">
              <a:extLst>
                <a:ext uri="{FF2B5EF4-FFF2-40B4-BE49-F238E27FC236}">
                  <a16:creationId xmlns:a16="http://schemas.microsoft.com/office/drawing/2014/main" id="{E2DF0882-E0A0-47C0-9702-AFC93DAF22EC}"/>
                </a:ext>
              </a:extLst>
            </p:cNvPr>
            <p:cNvSpPr>
              <a:spLocks/>
            </p:cNvSpPr>
            <p:nvPr>
              <p:custDataLst>
                <p:tags r:id="rId366"/>
              </p:custDataLst>
            </p:nvPr>
          </p:nvSpPr>
          <p:spPr bwMode="auto">
            <a:xfrm>
              <a:off x="3654425" y="3089275"/>
              <a:ext cx="28575" cy="57150"/>
            </a:xfrm>
            <a:custGeom>
              <a:avLst/>
              <a:gdLst>
                <a:gd name="T0" fmla="*/ 13608844 w 60"/>
                <a:gd name="T1" fmla="*/ 0 h 74"/>
                <a:gd name="T2" fmla="*/ 12701588 w 60"/>
                <a:gd name="T3" fmla="*/ 2385626 h 74"/>
                <a:gd name="T4" fmla="*/ 11567636 w 60"/>
                <a:gd name="T5" fmla="*/ 5964452 h 74"/>
                <a:gd name="T6" fmla="*/ 10887075 w 60"/>
                <a:gd name="T7" fmla="*/ 8946292 h 74"/>
                <a:gd name="T8" fmla="*/ 10433685 w 60"/>
                <a:gd name="T9" fmla="*/ 12525118 h 74"/>
                <a:gd name="T10" fmla="*/ 9299258 w 60"/>
                <a:gd name="T11" fmla="*/ 18489570 h 74"/>
                <a:gd name="T12" fmla="*/ 8392001 w 60"/>
                <a:gd name="T13" fmla="*/ 25050235 h 74"/>
                <a:gd name="T14" fmla="*/ 7938611 w 60"/>
                <a:gd name="T15" fmla="*/ 28032847 h 74"/>
                <a:gd name="T16" fmla="*/ 7258050 w 60"/>
                <a:gd name="T17" fmla="*/ 30418474 h 74"/>
                <a:gd name="T18" fmla="*/ 6577489 w 60"/>
                <a:gd name="T19" fmla="*/ 33401086 h 74"/>
                <a:gd name="T20" fmla="*/ 5670233 w 60"/>
                <a:gd name="T21" fmla="*/ 35786712 h 74"/>
                <a:gd name="T22" fmla="*/ 4536281 w 60"/>
                <a:gd name="T23" fmla="*/ 38768552 h 74"/>
                <a:gd name="T24" fmla="*/ 3402330 w 60"/>
                <a:gd name="T25" fmla="*/ 41154951 h 74"/>
                <a:gd name="T26" fmla="*/ 1814513 w 60"/>
                <a:gd name="T27" fmla="*/ 42943591 h 74"/>
                <a:gd name="T28" fmla="*/ 0 w 60"/>
                <a:gd name="T29" fmla="*/ 44136791 h 74"/>
                <a:gd name="T30" fmla="*/ 1133951 w 60"/>
                <a:gd name="T31" fmla="*/ 35786712 h 74"/>
                <a:gd name="T32" fmla="*/ 2721769 w 60"/>
                <a:gd name="T33" fmla="*/ 28032847 h 74"/>
                <a:gd name="T34" fmla="*/ 4309586 w 60"/>
                <a:gd name="T35" fmla="*/ 20278982 h 74"/>
                <a:gd name="T36" fmla="*/ 6124099 w 60"/>
                <a:gd name="T37" fmla="*/ 13718317 h 74"/>
                <a:gd name="T38" fmla="*/ 8165306 w 60"/>
                <a:gd name="T39" fmla="*/ 8350078 h 74"/>
                <a:gd name="T40" fmla="*/ 9753124 w 60"/>
                <a:gd name="T41" fmla="*/ 3578826 h 74"/>
                <a:gd name="T42" fmla="*/ 10887075 w 60"/>
                <a:gd name="T43" fmla="*/ 1789413 h 74"/>
                <a:gd name="T44" fmla="*/ 11794331 w 60"/>
                <a:gd name="T45" fmla="*/ 596214 h 74"/>
                <a:gd name="T46" fmla="*/ 12701588 w 60"/>
                <a:gd name="T47" fmla="*/ 0 h 74"/>
                <a:gd name="T48" fmla="*/ 13608844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9" name="Freeform 531">
              <a:extLst>
                <a:ext uri="{FF2B5EF4-FFF2-40B4-BE49-F238E27FC236}">
                  <a16:creationId xmlns:a16="http://schemas.microsoft.com/office/drawing/2014/main" id="{629F51E4-8C58-4DD0-92D0-D9394ACA7FF4}"/>
                </a:ext>
              </a:extLst>
            </p:cNvPr>
            <p:cNvSpPr>
              <a:spLocks/>
            </p:cNvSpPr>
            <p:nvPr>
              <p:custDataLst>
                <p:tags r:id="rId367"/>
              </p:custDataLst>
            </p:nvPr>
          </p:nvSpPr>
          <p:spPr bwMode="auto">
            <a:xfrm>
              <a:off x="3595688" y="3105150"/>
              <a:ext cx="23812" cy="60325"/>
            </a:xfrm>
            <a:custGeom>
              <a:avLst/>
              <a:gdLst>
                <a:gd name="T0" fmla="*/ 3336720 w 47"/>
                <a:gd name="T1" fmla="*/ 14376118 h 45"/>
                <a:gd name="T2" fmla="*/ 5646990 w 47"/>
                <a:gd name="T3" fmla="*/ 14376118 h 45"/>
                <a:gd name="T4" fmla="*/ 7187171 w 47"/>
                <a:gd name="T5" fmla="*/ 10782088 h 45"/>
                <a:gd name="T6" fmla="*/ 8213620 w 47"/>
                <a:gd name="T7" fmla="*/ 8985744 h 45"/>
                <a:gd name="T8" fmla="*/ 8983710 w 47"/>
                <a:gd name="T9" fmla="*/ 5391714 h 45"/>
                <a:gd name="T10" fmla="*/ 9497442 w 47"/>
                <a:gd name="T11" fmla="*/ 1797685 h 45"/>
                <a:gd name="T12" fmla="*/ 10010666 w 47"/>
                <a:gd name="T13" fmla="*/ 0 h 45"/>
                <a:gd name="T14" fmla="*/ 11037115 w 47"/>
                <a:gd name="T15" fmla="*/ 1797685 h 45"/>
                <a:gd name="T16" fmla="*/ 12064071 w 47"/>
                <a:gd name="T17" fmla="*/ 3594029 h 45"/>
                <a:gd name="T18" fmla="*/ 11807206 w 47"/>
                <a:gd name="T19" fmla="*/ 12579773 h 45"/>
                <a:gd name="T20" fmla="*/ 11807206 w 47"/>
                <a:gd name="T21" fmla="*/ 19767832 h 45"/>
                <a:gd name="T22" fmla="*/ 11293981 w 47"/>
                <a:gd name="T23" fmla="*/ 26955891 h 45"/>
                <a:gd name="T24" fmla="*/ 11037115 w 47"/>
                <a:gd name="T25" fmla="*/ 34145291 h 45"/>
                <a:gd name="T26" fmla="*/ 9497442 w 47"/>
                <a:gd name="T27" fmla="*/ 46723723 h 45"/>
                <a:gd name="T28" fmla="*/ 7700395 w 47"/>
                <a:gd name="T29" fmla="*/ 57507152 h 45"/>
                <a:gd name="T30" fmla="*/ 6160215 w 47"/>
                <a:gd name="T31" fmla="*/ 68289241 h 45"/>
                <a:gd name="T32" fmla="*/ 4106810 w 47"/>
                <a:gd name="T33" fmla="*/ 75477299 h 45"/>
                <a:gd name="T34" fmla="*/ 1796539 w 47"/>
                <a:gd name="T35" fmla="*/ 80869014 h 45"/>
                <a:gd name="T36" fmla="*/ 0 w 47"/>
                <a:gd name="T37" fmla="*/ 80869014 h 45"/>
                <a:gd name="T38" fmla="*/ 513225 w 47"/>
                <a:gd name="T39" fmla="*/ 68289241 h 45"/>
                <a:gd name="T40" fmla="*/ 1540180 w 47"/>
                <a:gd name="T41" fmla="*/ 46723723 h 45"/>
                <a:gd name="T42" fmla="*/ 2823495 w 47"/>
                <a:gd name="T43" fmla="*/ 26955891 h 45"/>
                <a:gd name="T44" fmla="*/ 3336720 w 47"/>
                <a:gd name="T45" fmla="*/ 14376118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0" name="Freeform 532">
              <a:extLst>
                <a:ext uri="{FF2B5EF4-FFF2-40B4-BE49-F238E27FC236}">
                  <a16:creationId xmlns:a16="http://schemas.microsoft.com/office/drawing/2014/main" id="{921A03E7-31B3-4BA2-9FC2-630F6D5C2E49}"/>
                </a:ext>
              </a:extLst>
            </p:cNvPr>
            <p:cNvSpPr>
              <a:spLocks/>
            </p:cNvSpPr>
            <p:nvPr>
              <p:custDataLst>
                <p:tags r:id="rId368"/>
              </p:custDataLst>
            </p:nvPr>
          </p:nvSpPr>
          <p:spPr bwMode="auto">
            <a:xfrm>
              <a:off x="3570288" y="3098800"/>
              <a:ext cx="6350" cy="57150"/>
            </a:xfrm>
            <a:custGeom>
              <a:avLst/>
              <a:gdLst>
                <a:gd name="T0" fmla="*/ 357798 w 26"/>
                <a:gd name="T1" fmla="*/ 90725625 h 36"/>
                <a:gd name="T2" fmla="*/ 298206 w 26"/>
                <a:gd name="T3" fmla="*/ 75604688 h 36"/>
                <a:gd name="T4" fmla="*/ 179021 w 26"/>
                <a:gd name="T5" fmla="*/ 50403125 h 36"/>
                <a:gd name="T6" fmla="*/ 59592 w 26"/>
                <a:gd name="T7" fmla="*/ 25201563 h 36"/>
                <a:gd name="T8" fmla="*/ 0 w 26"/>
                <a:gd name="T9" fmla="*/ 0 h 36"/>
                <a:gd name="T10" fmla="*/ 1550865 w 26"/>
                <a:gd name="T11" fmla="*/ 0 h 36"/>
                <a:gd name="T12" fmla="*/ 1491273 w 26"/>
                <a:gd name="T13" fmla="*/ 30241875 h 36"/>
                <a:gd name="T14" fmla="*/ 1431681 w 26"/>
                <a:gd name="T15" fmla="*/ 57964388 h 36"/>
                <a:gd name="T16" fmla="*/ 1371844 w 26"/>
                <a:gd name="T17" fmla="*/ 68045013 h 36"/>
                <a:gd name="T18" fmla="*/ 1371844 w 26"/>
                <a:gd name="T19" fmla="*/ 78125638 h 36"/>
                <a:gd name="T20" fmla="*/ 1431681 w 26"/>
                <a:gd name="T21" fmla="*/ 85685313 h 36"/>
                <a:gd name="T22" fmla="*/ 1550865 w 26"/>
                <a:gd name="T23" fmla="*/ 90725625 h 36"/>
                <a:gd name="T24" fmla="*/ 357798 w 26"/>
                <a:gd name="T25" fmla="*/ 90725625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1" name="Freeform 533">
              <a:extLst>
                <a:ext uri="{FF2B5EF4-FFF2-40B4-BE49-F238E27FC236}">
                  <a16:creationId xmlns:a16="http://schemas.microsoft.com/office/drawing/2014/main" id="{D7CBD85F-0FB4-42D5-9F0F-4ED8CAF4AD30}"/>
                </a:ext>
              </a:extLst>
            </p:cNvPr>
            <p:cNvSpPr>
              <a:spLocks/>
            </p:cNvSpPr>
            <p:nvPr>
              <p:custDataLst>
                <p:tags r:id="rId369"/>
              </p:custDataLst>
            </p:nvPr>
          </p:nvSpPr>
          <p:spPr bwMode="auto">
            <a:xfrm>
              <a:off x="4841875" y="2827338"/>
              <a:ext cx="174625" cy="158750"/>
            </a:xfrm>
            <a:custGeom>
              <a:avLst/>
              <a:gdLst>
                <a:gd name="T0" fmla="*/ 4833448 w 405"/>
                <a:gd name="T1" fmla="*/ 44763820 h 302"/>
                <a:gd name="T2" fmla="*/ 5205550 w 405"/>
                <a:gd name="T3" fmla="*/ 43105882 h 302"/>
                <a:gd name="T4" fmla="*/ 5577221 w 405"/>
                <a:gd name="T5" fmla="*/ 42553411 h 302"/>
                <a:gd name="T6" fmla="*/ 5205550 w 405"/>
                <a:gd name="T7" fmla="*/ 41724441 h 302"/>
                <a:gd name="T8" fmla="*/ 3346332 w 405"/>
                <a:gd name="T9" fmla="*/ 39514031 h 302"/>
                <a:gd name="T10" fmla="*/ 1115444 w 405"/>
                <a:gd name="T11" fmla="*/ 35092686 h 302"/>
                <a:gd name="T12" fmla="*/ 371671 w 405"/>
                <a:gd name="T13" fmla="*/ 32053307 h 302"/>
                <a:gd name="T14" fmla="*/ 929609 w 405"/>
                <a:gd name="T15" fmla="*/ 30947839 h 302"/>
                <a:gd name="T16" fmla="*/ 1115444 w 405"/>
                <a:gd name="T17" fmla="*/ 28737430 h 302"/>
                <a:gd name="T18" fmla="*/ 3160497 w 405"/>
                <a:gd name="T19" fmla="*/ 26802993 h 302"/>
                <a:gd name="T20" fmla="*/ 6320994 w 405"/>
                <a:gd name="T21" fmla="*/ 25698050 h 302"/>
                <a:gd name="T22" fmla="*/ 8737718 w 405"/>
                <a:gd name="T23" fmla="*/ 24316084 h 302"/>
                <a:gd name="T24" fmla="*/ 10596935 w 405"/>
                <a:gd name="T25" fmla="*/ 22658146 h 302"/>
                <a:gd name="T26" fmla="*/ 12456152 w 405"/>
                <a:gd name="T27" fmla="*/ 19342268 h 302"/>
                <a:gd name="T28" fmla="*/ 13943267 w 405"/>
                <a:gd name="T29" fmla="*/ 14368452 h 302"/>
                <a:gd name="T30" fmla="*/ 15616649 w 405"/>
                <a:gd name="T31" fmla="*/ 12987012 h 302"/>
                <a:gd name="T32" fmla="*/ 17661271 w 405"/>
                <a:gd name="T33" fmla="*/ 14368452 h 302"/>
                <a:gd name="T34" fmla="*/ 21751376 w 405"/>
                <a:gd name="T35" fmla="*/ 14921449 h 302"/>
                <a:gd name="T36" fmla="*/ 31418702 w 405"/>
                <a:gd name="T37" fmla="*/ 12710513 h 302"/>
                <a:gd name="T38" fmla="*/ 39413078 w 405"/>
                <a:gd name="T39" fmla="*/ 11881544 h 302"/>
                <a:gd name="T40" fmla="*/ 43502752 w 405"/>
                <a:gd name="T41" fmla="*/ 11329073 h 302"/>
                <a:gd name="T42" fmla="*/ 49080404 w 405"/>
                <a:gd name="T43" fmla="*/ 9671134 h 302"/>
                <a:gd name="T44" fmla="*/ 59119402 w 405"/>
                <a:gd name="T45" fmla="*/ 4697318 h 302"/>
                <a:gd name="T46" fmla="*/ 66741675 w 405"/>
                <a:gd name="T47" fmla="*/ 1105468 h 302"/>
                <a:gd name="T48" fmla="*/ 69158399 w 405"/>
                <a:gd name="T49" fmla="*/ 828969 h 302"/>
                <a:gd name="T50" fmla="*/ 71575554 w 405"/>
                <a:gd name="T51" fmla="*/ 828969 h 302"/>
                <a:gd name="T52" fmla="*/ 73992277 w 405"/>
                <a:gd name="T53" fmla="*/ 276498 h 302"/>
                <a:gd name="T54" fmla="*/ 73434340 w 405"/>
                <a:gd name="T55" fmla="*/ 2210410 h 302"/>
                <a:gd name="T56" fmla="*/ 66927510 w 405"/>
                <a:gd name="T57" fmla="*/ 11329073 h 302"/>
                <a:gd name="T58" fmla="*/ 63952849 w 405"/>
                <a:gd name="T59" fmla="*/ 15750418 h 302"/>
                <a:gd name="T60" fmla="*/ 63023672 w 405"/>
                <a:gd name="T61" fmla="*/ 17684329 h 302"/>
                <a:gd name="T62" fmla="*/ 63023672 w 405"/>
                <a:gd name="T63" fmla="*/ 26527020 h 302"/>
                <a:gd name="T64" fmla="*/ 62651569 w 405"/>
                <a:gd name="T65" fmla="*/ 41171970 h 302"/>
                <a:gd name="T66" fmla="*/ 62279898 w 405"/>
                <a:gd name="T67" fmla="*/ 49737637 h 302"/>
                <a:gd name="T68" fmla="*/ 60606517 w 405"/>
                <a:gd name="T69" fmla="*/ 54711453 h 302"/>
                <a:gd name="T70" fmla="*/ 56702678 w 405"/>
                <a:gd name="T71" fmla="*/ 58027330 h 302"/>
                <a:gd name="T72" fmla="*/ 49266240 w 405"/>
                <a:gd name="T73" fmla="*/ 62724648 h 302"/>
                <a:gd name="T74" fmla="*/ 19706323 w 405"/>
                <a:gd name="T75" fmla="*/ 83448882 h 302"/>
                <a:gd name="T76" fmla="*/ 10596935 w 405"/>
                <a:gd name="T77" fmla="*/ 71843311 h 302"/>
                <a:gd name="T78" fmla="*/ 13013659 w 405"/>
                <a:gd name="T79" fmla="*/ 63001147 h 302"/>
                <a:gd name="T80" fmla="*/ 15058711 w 405"/>
                <a:gd name="T81" fmla="*/ 57750832 h 302"/>
                <a:gd name="T82" fmla="*/ 15988320 w 405"/>
                <a:gd name="T83" fmla="*/ 47527227 h 302"/>
                <a:gd name="T84" fmla="*/ 13199494 w 405"/>
                <a:gd name="T85" fmla="*/ 47803725 h 302"/>
                <a:gd name="T86" fmla="*/ 10596935 w 405"/>
                <a:gd name="T87" fmla="*/ 46698257 h 302"/>
                <a:gd name="T88" fmla="*/ 7622273 w 405"/>
                <a:gd name="T89" fmla="*/ 45592790 h 302"/>
                <a:gd name="T90" fmla="*/ 4833448 w 405"/>
                <a:gd name="T91" fmla="*/ 45869288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US"/>
            </a:p>
          </p:txBody>
        </p:sp>
        <p:sp>
          <p:nvSpPr>
            <p:cNvPr id="382" name="Freeform 534">
              <a:extLst>
                <a:ext uri="{FF2B5EF4-FFF2-40B4-BE49-F238E27FC236}">
                  <a16:creationId xmlns:a16="http://schemas.microsoft.com/office/drawing/2014/main" id="{24711F7A-E504-477A-8B90-C97F0941D803}"/>
                </a:ext>
              </a:extLst>
            </p:cNvPr>
            <p:cNvSpPr>
              <a:spLocks/>
            </p:cNvSpPr>
            <p:nvPr>
              <p:custDataLst>
                <p:tags r:id="rId370"/>
              </p:custDataLst>
            </p:nvPr>
          </p:nvSpPr>
          <p:spPr bwMode="auto">
            <a:xfrm>
              <a:off x="6935788" y="3208338"/>
              <a:ext cx="42862" cy="79375"/>
            </a:xfrm>
            <a:custGeom>
              <a:avLst/>
              <a:gdLst>
                <a:gd name="T0" fmla="*/ 18371510 w 100"/>
                <a:gd name="T1" fmla="*/ 262194 h 155"/>
                <a:gd name="T2" fmla="*/ 18371510 w 100"/>
                <a:gd name="T3" fmla="*/ 7867343 h 155"/>
                <a:gd name="T4" fmla="*/ 18371510 w 100"/>
                <a:gd name="T5" fmla="*/ 14423206 h 155"/>
                <a:gd name="T6" fmla="*/ 18371510 w 100"/>
                <a:gd name="T7" fmla="*/ 20455194 h 155"/>
                <a:gd name="T8" fmla="*/ 18371510 w 100"/>
                <a:gd name="T9" fmla="*/ 25962282 h 155"/>
                <a:gd name="T10" fmla="*/ 18004183 w 100"/>
                <a:gd name="T11" fmla="*/ 28584730 h 155"/>
                <a:gd name="T12" fmla="*/ 17269100 w 100"/>
                <a:gd name="T13" fmla="*/ 30944472 h 155"/>
                <a:gd name="T14" fmla="*/ 16350567 w 100"/>
                <a:gd name="T15" fmla="*/ 33566919 h 155"/>
                <a:gd name="T16" fmla="*/ 15064707 w 100"/>
                <a:gd name="T17" fmla="*/ 35927173 h 155"/>
                <a:gd name="T18" fmla="*/ 13411091 w 100"/>
                <a:gd name="T19" fmla="*/ 37763040 h 155"/>
                <a:gd name="T20" fmla="*/ 11390148 w 100"/>
                <a:gd name="T21" fmla="*/ 39336714 h 155"/>
                <a:gd name="T22" fmla="*/ 10471615 w 100"/>
                <a:gd name="T23" fmla="*/ 39861101 h 155"/>
                <a:gd name="T24" fmla="*/ 9369633 w 100"/>
                <a:gd name="T25" fmla="*/ 40385488 h 155"/>
                <a:gd name="T26" fmla="*/ 8451101 w 100"/>
                <a:gd name="T27" fmla="*/ 40647681 h 155"/>
                <a:gd name="T28" fmla="*/ 7164812 w 100"/>
                <a:gd name="T29" fmla="*/ 40647681 h 155"/>
                <a:gd name="T30" fmla="*/ 6430157 w 100"/>
                <a:gd name="T31" fmla="*/ 40385488 h 155"/>
                <a:gd name="T32" fmla="*/ 5511625 w 100"/>
                <a:gd name="T33" fmla="*/ 40123294 h 155"/>
                <a:gd name="T34" fmla="*/ 4776541 w 100"/>
                <a:gd name="T35" fmla="*/ 39598907 h 155"/>
                <a:gd name="T36" fmla="*/ 4041887 w 100"/>
                <a:gd name="T37" fmla="*/ 39074008 h 155"/>
                <a:gd name="T38" fmla="*/ 2755598 w 100"/>
                <a:gd name="T39" fmla="*/ 37238653 h 155"/>
                <a:gd name="T40" fmla="*/ 1653616 w 100"/>
                <a:gd name="T41" fmla="*/ 35140593 h 155"/>
                <a:gd name="T42" fmla="*/ 918533 w 100"/>
                <a:gd name="T43" fmla="*/ 32518145 h 155"/>
                <a:gd name="T44" fmla="*/ 367327 w 100"/>
                <a:gd name="T45" fmla="*/ 29633504 h 155"/>
                <a:gd name="T46" fmla="*/ 0 w 100"/>
                <a:gd name="T47" fmla="*/ 27011056 h 155"/>
                <a:gd name="T48" fmla="*/ 0 w 100"/>
                <a:gd name="T49" fmla="*/ 24388609 h 155"/>
                <a:gd name="T50" fmla="*/ 0 w 100"/>
                <a:gd name="T51" fmla="*/ 20192488 h 155"/>
                <a:gd name="T52" fmla="*/ 0 w 100"/>
                <a:gd name="T53" fmla="*/ 17045653 h 155"/>
                <a:gd name="T54" fmla="*/ 0 w 100"/>
                <a:gd name="T55" fmla="*/ 14685399 h 155"/>
                <a:gd name="T56" fmla="*/ 0 w 100"/>
                <a:gd name="T57" fmla="*/ 13112238 h 155"/>
                <a:gd name="T58" fmla="*/ 2755598 w 100"/>
                <a:gd name="T59" fmla="*/ 13112238 h 155"/>
                <a:gd name="T60" fmla="*/ 4776541 w 100"/>
                <a:gd name="T61" fmla="*/ 13112238 h 155"/>
                <a:gd name="T62" fmla="*/ 4776541 w 100"/>
                <a:gd name="T63" fmla="*/ 10489790 h 155"/>
                <a:gd name="T64" fmla="*/ 4960419 w 100"/>
                <a:gd name="T65" fmla="*/ 8129536 h 155"/>
                <a:gd name="T66" fmla="*/ 5327747 w 100"/>
                <a:gd name="T67" fmla="*/ 6031476 h 155"/>
                <a:gd name="T68" fmla="*/ 5695074 w 100"/>
                <a:gd name="T69" fmla="*/ 4458315 h 155"/>
                <a:gd name="T70" fmla="*/ 6430157 w 100"/>
                <a:gd name="T71" fmla="*/ 3146835 h 155"/>
                <a:gd name="T72" fmla="*/ 7164812 w 100"/>
                <a:gd name="T73" fmla="*/ 1835867 h 155"/>
                <a:gd name="T74" fmla="*/ 7716017 w 100"/>
                <a:gd name="T75" fmla="*/ 1048774 h 155"/>
                <a:gd name="T76" fmla="*/ 8818428 w 100"/>
                <a:gd name="T77" fmla="*/ 524387 h 155"/>
                <a:gd name="T78" fmla="*/ 10839371 w 100"/>
                <a:gd name="T79" fmla="*/ 0 h 155"/>
                <a:gd name="T80" fmla="*/ 13043764 w 100"/>
                <a:gd name="T81" fmla="*/ 0 h 155"/>
                <a:gd name="T82" fmla="*/ 15432034 w 100"/>
                <a:gd name="T83" fmla="*/ 0 h 155"/>
                <a:gd name="T84" fmla="*/ 18371510 w 100"/>
                <a:gd name="T85" fmla="*/ 262194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endParaRPr lang="en-US"/>
            </a:p>
          </p:txBody>
        </p:sp>
        <p:grpSp>
          <p:nvGrpSpPr>
            <p:cNvPr id="383" name="Group 535">
              <a:extLst>
                <a:ext uri="{FF2B5EF4-FFF2-40B4-BE49-F238E27FC236}">
                  <a16:creationId xmlns:a16="http://schemas.microsoft.com/office/drawing/2014/main" id="{773F706E-1578-494A-94E0-D36426DB81C8}"/>
                </a:ext>
              </a:extLst>
            </p:cNvPr>
            <p:cNvGrpSpPr>
              <a:grpSpLocks/>
            </p:cNvGrpSpPr>
            <p:nvPr>
              <p:custDataLst>
                <p:tags r:id="rId371"/>
              </p:custDataLst>
            </p:nvPr>
          </p:nvGrpSpPr>
          <p:grpSpPr bwMode="auto">
            <a:xfrm>
              <a:off x="4583113" y="2676525"/>
              <a:ext cx="482600" cy="201613"/>
              <a:chOff x="3289" y="1830"/>
              <a:chExt cx="363" cy="128"/>
            </a:xfrm>
          </p:grpSpPr>
          <p:sp>
            <p:nvSpPr>
              <p:cNvPr id="402" name="Freeform 536">
                <a:extLst>
                  <a:ext uri="{FF2B5EF4-FFF2-40B4-BE49-F238E27FC236}">
                    <a16:creationId xmlns:a16="http://schemas.microsoft.com/office/drawing/2014/main" id="{6E348D6D-1E86-42EB-98AE-20C55055E2C8}"/>
                  </a:ext>
                </a:extLst>
              </p:cNvPr>
              <p:cNvSpPr>
                <a:spLocks/>
              </p:cNvSpPr>
              <p:nvPr/>
            </p:nvSpPr>
            <p:spPr bwMode="auto">
              <a:xfrm>
                <a:off x="3289" y="1871"/>
                <a:ext cx="4" cy="3"/>
              </a:xfrm>
              <a:custGeom>
                <a:avLst/>
                <a:gdLst>
                  <a:gd name="T0" fmla="*/ 1 w 13"/>
                  <a:gd name="T1" fmla="*/ 0 h 7"/>
                  <a:gd name="T2" fmla="*/ 1 w 13"/>
                  <a:gd name="T3" fmla="*/ 0 h 7"/>
                  <a:gd name="T4" fmla="*/ 1 w 13"/>
                  <a:gd name="T5" fmla="*/ 0 h 7"/>
                  <a:gd name="T6" fmla="*/ 0 w 13"/>
                  <a:gd name="T7" fmla="*/ 1 h 7"/>
                  <a:gd name="T8" fmla="*/ 0 w 13"/>
                  <a:gd name="T9" fmla="*/ 1 h 7"/>
                  <a:gd name="T10" fmla="*/ 1 w 13"/>
                  <a:gd name="T11" fmla="*/ 0 h 7"/>
                  <a:gd name="T12" fmla="*/ 1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3" name="Freeform 537">
                <a:extLst>
                  <a:ext uri="{FF2B5EF4-FFF2-40B4-BE49-F238E27FC236}">
                    <a16:creationId xmlns:a16="http://schemas.microsoft.com/office/drawing/2014/main" id="{3187935C-8381-4DD5-92F5-BA2C47D4DC7C}"/>
                  </a:ext>
                </a:extLst>
              </p:cNvPr>
              <p:cNvSpPr>
                <a:spLocks/>
              </p:cNvSpPr>
              <p:nvPr/>
            </p:nvSpPr>
            <p:spPr bwMode="auto">
              <a:xfrm>
                <a:off x="3324" y="1937"/>
                <a:ext cx="10" cy="3"/>
              </a:xfrm>
              <a:custGeom>
                <a:avLst/>
                <a:gdLst>
                  <a:gd name="T0" fmla="*/ 0 w 34"/>
                  <a:gd name="T1" fmla="*/ 1 h 8"/>
                  <a:gd name="T2" fmla="*/ 1 w 34"/>
                  <a:gd name="T3" fmla="*/ 1 h 8"/>
                  <a:gd name="T4" fmla="*/ 1 w 34"/>
                  <a:gd name="T5" fmla="*/ 0 h 8"/>
                  <a:gd name="T6" fmla="*/ 2 w 34"/>
                  <a:gd name="T7" fmla="*/ 0 h 8"/>
                  <a:gd name="T8" fmla="*/ 3 w 34"/>
                  <a:gd name="T9" fmla="*/ 0 h 8"/>
                  <a:gd name="T10" fmla="*/ 3 w 34"/>
                  <a:gd name="T11" fmla="*/ 0 h 8"/>
                  <a:gd name="T12" fmla="*/ 2 w 34"/>
                  <a:gd name="T13" fmla="*/ 1 h 8"/>
                  <a:gd name="T14" fmla="*/ 2 w 34"/>
                  <a:gd name="T15" fmla="*/ 1 h 8"/>
                  <a:gd name="T16" fmla="*/ 1 w 34"/>
                  <a:gd name="T17" fmla="*/ 1 h 8"/>
                  <a:gd name="T18" fmla="*/ 1 w 34"/>
                  <a:gd name="T19" fmla="*/ 1 h 8"/>
                  <a:gd name="T20" fmla="*/ 1 w 34"/>
                  <a:gd name="T21" fmla="*/ 1 h 8"/>
                  <a:gd name="T22" fmla="*/ 0 w 34"/>
                  <a:gd name="T23" fmla="*/ 1 h 8"/>
                  <a:gd name="T24" fmla="*/ 0 w 34"/>
                  <a:gd name="T25" fmla="*/ 1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4" name="Freeform 538">
                <a:extLst>
                  <a:ext uri="{FF2B5EF4-FFF2-40B4-BE49-F238E27FC236}">
                    <a16:creationId xmlns:a16="http://schemas.microsoft.com/office/drawing/2014/main" id="{3556CB7B-328D-43CC-BFCA-BFEA745E41B1}"/>
                  </a:ext>
                </a:extLst>
              </p:cNvPr>
              <p:cNvSpPr>
                <a:spLocks/>
              </p:cNvSpPr>
              <p:nvPr/>
            </p:nvSpPr>
            <p:spPr bwMode="auto">
              <a:xfrm>
                <a:off x="3343" y="1948"/>
                <a:ext cx="4" cy="8"/>
              </a:xfrm>
              <a:custGeom>
                <a:avLst/>
                <a:gdLst>
                  <a:gd name="T0" fmla="*/ 0 w 13"/>
                  <a:gd name="T1" fmla="*/ 3 h 24"/>
                  <a:gd name="T2" fmla="*/ 0 w 13"/>
                  <a:gd name="T3" fmla="*/ 0 h 24"/>
                  <a:gd name="T4" fmla="*/ 1 w 13"/>
                  <a:gd name="T5" fmla="*/ 1 h 24"/>
                  <a:gd name="T6" fmla="*/ 0 w 13"/>
                  <a:gd name="T7" fmla="*/ 3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5" name="Freeform 539">
                <a:extLst>
                  <a:ext uri="{FF2B5EF4-FFF2-40B4-BE49-F238E27FC236}">
                    <a16:creationId xmlns:a16="http://schemas.microsoft.com/office/drawing/2014/main" id="{80BF0E07-A42B-442E-951F-5480088FF4EF}"/>
                  </a:ext>
                </a:extLst>
              </p:cNvPr>
              <p:cNvSpPr>
                <a:spLocks/>
              </p:cNvSpPr>
              <p:nvPr/>
            </p:nvSpPr>
            <p:spPr bwMode="auto">
              <a:xfrm>
                <a:off x="3313" y="1834"/>
                <a:ext cx="34" cy="23"/>
              </a:xfrm>
              <a:custGeom>
                <a:avLst/>
                <a:gdLst>
                  <a:gd name="T0" fmla="*/ 0 w 107"/>
                  <a:gd name="T1" fmla="*/ 1 h 69"/>
                  <a:gd name="T2" fmla="*/ 0 w 107"/>
                  <a:gd name="T3" fmla="*/ 3 h 69"/>
                  <a:gd name="T4" fmla="*/ 0 w 107"/>
                  <a:gd name="T5" fmla="*/ 5 h 69"/>
                  <a:gd name="T6" fmla="*/ 0 w 107"/>
                  <a:gd name="T7" fmla="*/ 7 h 69"/>
                  <a:gd name="T8" fmla="*/ 0 w 107"/>
                  <a:gd name="T9" fmla="*/ 8 h 69"/>
                  <a:gd name="T10" fmla="*/ 2 w 107"/>
                  <a:gd name="T11" fmla="*/ 7 h 69"/>
                  <a:gd name="T12" fmla="*/ 5 w 107"/>
                  <a:gd name="T13" fmla="*/ 6 h 69"/>
                  <a:gd name="T14" fmla="*/ 9 w 107"/>
                  <a:gd name="T15" fmla="*/ 6 h 69"/>
                  <a:gd name="T16" fmla="*/ 11 w 107"/>
                  <a:gd name="T17" fmla="*/ 5 h 69"/>
                  <a:gd name="T18" fmla="*/ 10 w 107"/>
                  <a:gd name="T19" fmla="*/ 4 h 69"/>
                  <a:gd name="T20" fmla="*/ 10 w 107"/>
                  <a:gd name="T21" fmla="*/ 4 h 69"/>
                  <a:gd name="T22" fmla="*/ 9 w 107"/>
                  <a:gd name="T23" fmla="*/ 3 h 69"/>
                  <a:gd name="T24" fmla="*/ 8 w 107"/>
                  <a:gd name="T25" fmla="*/ 3 h 69"/>
                  <a:gd name="T26" fmla="*/ 7 w 107"/>
                  <a:gd name="T27" fmla="*/ 3 h 69"/>
                  <a:gd name="T28" fmla="*/ 7 w 107"/>
                  <a:gd name="T29" fmla="*/ 2 h 69"/>
                  <a:gd name="T30" fmla="*/ 6 w 107"/>
                  <a:gd name="T31" fmla="*/ 2 h 69"/>
                  <a:gd name="T32" fmla="*/ 6 w 107"/>
                  <a:gd name="T33" fmla="*/ 1 h 69"/>
                  <a:gd name="T34" fmla="*/ 6 w 107"/>
                  <a:gd name="T35" fmla="*/ 1 h 69"/>
                  <a:gd name="T36" fmla="*/ 6 w 107"/>
                  <a:gd name="T37" fmla="*/ 0 h 69"/>
                  <a:gd name="T38" fmla="*/ 5 w 107"/>
                  <a:gd name="T39" fmla="*/ 0 h 69"/>
                  <a:gd name="T40" fmla="*/ 4 w 107"/>
                  <a:gd name="T41" fmla="*/ 0 h 69"/>
                  <a:gd name="T42" fmla="*/ 2 w 107"/>
                  <a:gd name="T43" fmla="*/ 1 h 69"/>
                  <a:gd name="T44" fmla="*/ 0 w 107"/>
                  <a:gd name="T45" fmla="*/ 1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6" name="Freeform 540">
                <a:extLst>
                  <a:ext uri="{FF2B5EF4-FFF2-40B4-BE49-F238E27FC236}">
                    <a16:creationId xmlns:a16="http://schemas.microsoft.com/office/drawing/2014/main" id="{12E40DEE-A094-4015-842B-A6918481BDD9}"/>
                  </a:ext>
                </a:extLst>
              </p:cNvPr>
              <p:cNvSpPr>
                <a:spLocks/>
              </p:cNvSpPr>
              <p:nvPr/>
            </p:nvSpPr>
            <p:spPr bwMode="auto">
              <a:xfrm>
                <a:off x="3302" y="1830"/>
                <a:ext cx="350" cy="128"/>
              </a:xfrm>
              <a:custGeom>
                <a:avLst/>
                <a:gdLst>
                  <a:gd name="T0" fmla="*/ 106 w 1070"/>
                  <a:gd name="T1" fmla="*/ 14 h 382"/>
                  <a:gd name="T2" fmla="*/ 104 w 1070"/>
                  <a:gd name="T3" fmla="*/ 12 h 382"/>
                  <a:gd name="T4" fmla="*/ 103 w 1070"/>
                  <a:gd name="T5" fmla="*/ 6 h 382"/>
                  <a:gd name="T6" fmla="*/ 100 w 1070"/>
                  <a:gd name="T7" fmla="*/ 4 h 382"/>
                  <a:gd name="T8" fmla="*/ 87 w 1070"/>
                  <a:gd name="T9" fmla="*/ 2 h 382"/>
                  <a:gd name="T10" fmla="*/ 78 w 1070"/>
                  <a:gd name="T11" fmla="*/ 6 h 382"/>
                  <a:gd name="T12" fmla="*/ 73 w 1070"/>
                  <a:gd name="T13" fmla="*/ 7 h 382"/>
                  <a:gd name="T14" fmla="*/ 68 w 1070"/>
                  <a:gd name="T15" fmla="*/ 7 h 382"/>
                  <a:gd name="T16" fmla="*/ 65 w 1070"/>
                  <a:gd name="T17" fmla="*/ 5 h 382"/>
                  <a:gd name="T18" fmla="*/ 60 w 1070"/>
                  <a:gd name="T19" fmla="*/ 4 h 382"/>
                  <a:gd name="T20" fmla="*/ 56 w 1070"/>
                  <a:gd name="T21" fmla="*/ 2 h 382"/>
                  <a:gd name="T22" fmla="*/ 52 w 1070"/>
                  <a:gd name="T23" fmla="*/ 2 h 382"/>
                  <a:gd name="T24" fmla="*/ 50 w 1070"/>
                  <a:gd name="T25" fmla="*/ 0 h 382"/>
                  <a:gd name="T26" fmla="*/ 42 w 1070"/>
                  <a:gd name="T27" fmla="*/ 2 h 382"/>
                  <a:gd name="T28" fmla="*/ 32 w 1070"/>
                  <a:gd name="T29" fmla="*/ 3 h 382"/>
                  <a:gd name="T30" fmla="*/ 27 w 1070"/>
                  <a:gd name="T31" fmla="*/ 5 h 382"/>
                  <a:gd name="T32" fmla="*/ 15 w 1070"/>
                  <a:gd name="T33" fmla="*/ 7 h 382"/>
                  <a:gd name="T34" fmla="*/ 19 w 1070"/>
                  <a:gd name="T35" fmla="*/ 8 h 382"/>
                  <a:gd name="T36" fmla="*/ 18 w 1070"/>
                  <a:gd name="T37" fmla="*/ 10 h 382"/>
                  <a:gd name="T38" fmla="*/ 12 w 1070"/>
                  <a:gd name="T39" fmla="*/ 10 h 382"/>
                  <a:gd name="T40" fmla="*/ 5 w 1070"/>
                  <a:gd name="T41" fmla="*/ 10 h 382"/>
                  <a:gd name="T42" fmla="*/ 1 w 1070"/>
                  <a:gd name="T43" fmla="*/ 12 h 382"/>
                  <a:gd name="T44" fmla="*/ 0 w 1070"/>
                  <a:gd name="T45" fmla="*/ 16 h 382"/>
                  <a:gd name="T46" fmla="*/ 2 w 1070"/>
                  <a:gd name="T47" fmla="*/ 19 h 382"/>
                  <a:gd name="T48" fmla="*/ 2 w 1070"/>
                  <a:gd name="T49" fmla="*/ 22 h 382"/>
                  <a:gd name="T50" fmla="*/ 2 w 1070"/>
                  <a:gd name="T51" fmla="*/ 23 h 382"/>
                  <a:gd name="T52" fmla="*/ 5 w 1070"/>
                  <a:gd name="T53" fmla="*/ 26 h 382"/>
                  <a:gd name="T54" fmla="*/ 6 w 1070"/>
                  <a:gd name="T55" fmla="*/ 29 h 382"/>
                  <a:gd name="T56" fmla="*/ 8 w 1070"/>
                  <a:gd name="T57" fmla="*/ 30 h 382"/>
                  <a:gd name="T58" fmla="*/ 10 w 1070"/>
                  <a:gd name="T59" fmla="*/ 33 h 382"/>
                  <a:gd name="T60" fmla="*/ 22 w 1070"/>
                  <a:gd name="T61" fmla="*/ 40 h 382"/>
                  <a:gd name="T62" fmla="*/ 27 w 1070"/>
                  <a:gd name="T63" fmla="*/ 42 h 382"/>
                  <a:gd name="T64" fmla="*/ 28 w 1070"/>
                  <a:gd name="T65" fmla="*/ 40 h 382"/>
                  <a:gd name="T66" fmla="*/ 30 w 1070"/>
                  <a:gd name="T67" fmla="*/ 38 h 382"/>
                  <a:gd name="T68" fmla="*/ 32 w 1070"/>
                  <a:gd name="T69" fmla="*/ 36 h 382"/>
                  <a:gd name="T70" fmla="*/ 36 w 1070"/>
                  <a:gd name="T71" fmla="*/ 36 h 382"/>
                  <a:gd name="T72" fmla="*/ 39 w 1070"/>
                  <a:gd name="T73" fmla="*/ 40 h 382"/>
                  <a:gd name="T74" fmla="*/ 43 w 1070"/>
                  <a:gd name="T75" fmla="*/ 42 h 382"/>
                  <a:gd name="T76" fmla="*/ 48 w 1070"/>
                  <a:gd name="T77" fmla="*/ 40 h 382"/>
                  <a:gd name="T78" fmla="*/ 53 w 1070"/>
                  <a:gd name="T79" fmla="*/ 38 h 382"/>
                  <a:gd name="T80" fmla="*/ 56 w 1070"/>
                  <a:gd name="T81" fmla="*/ 37 h 382"/>
                  <a:gd name="T82" fmla="*/ 60 w 1070"/>
                  <a:gd name="T83" fmla="*/ 37 h 382"/>
                  <a:gd name="T84" fmla="*/ 61 w 1070"/>
                  <a:gd name="T85" fmla="*/ 41 h 382"/>
                  <a:gd name="T86" fmla="*/ 63 w 1070"/>
                  <a:gd name="T87" fmla="*/ 42 h 382"/>
                  <a:gd name="T88" fmla="*/ 66 w 1070"/>
                  <a:gd name="T89" fmla="*/ 41 h 382"/>
                  <a:gd name="T90" fmla="*/ 69 w 1070"/>
                  <a:gd name="T91" fmla="*/ 38 h 382"/>
                  <a:gd name="T92" fmla="*/ 80 w 1070"/>
                  <a:gd name="T93" fmla="*/ 37 h 382"/>
                  <a:gd name="T94" fmla="*/ 89 w 1070"/>
                  <a:gd name="T95" fmla="*/ 36 h 382"/>
                  <a:gd name="T96" fmla="*/ 98 w 1070"/>
                  <a:gd name="T97" fmla="*/ 32 h 382"/>
                  <a:gd name="T98" fmla="*/ 103 w 1070"/>
                  <a:gd name="T99" fmla="*/ 32 h 382"/>
                  <a:gd name="T100" fmla="*/ 108 w 1070"/>
                  <a:gd name="T101" fmla="*/ 33 h 382"/>
                  <a:gd name="T102" fmla="*/ 113 w 1070"/>
                  <a:gd name="T103" fmla="*/ 35 h 382"/>
                  <a:gd name="T104" fmla="*/ 113 w 1070"/>
                  <a:gd name="T105" fmla="*/ 30 h 382"/>
                  <a:gd name="T106" fmla="*/ 110 w 1070"/>
                  <a:gd name="T107" fmla="*/ 24 h 382"/>
                  <a:gd name="T108" fmla="*/ 109 w 1070"/>
                  <a:gd name="T109" fmla="*/ 19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384" name="Freeform 541">
              <a:extLst>
                <a:ext uri="{FF2B5EF4-FFF2-40B4-BE49-F238E27FC236}">
                  <a16:creationId xmlns:a16="http://schemas.microsoft.com/office/drawing/2014/main" id="{90428666-C68C-49F2-9D35-5FF4C03D8764}"/>
                </a:ext>
              </a:extLst>
            </p:cNvPr>
            <p:cNvSpPr>
              <a:spLocks/>
            </p:cNvSpPr>
            <p:nvPr>
              <p:custDataLst>
                <p:tags r:id="rId372"/>
              </p:custDataLst>
            </p:nvPr>
          </p:nvSpPr>
          <p:spPr bwMode="auto">
            <a:xfrm>
              <a:off x="2571750" y="3829050"/>
              <a:ext cx="100013" cy="122238"/>
            </a:xfrm>
            <a:custGeom>
              <a:avLst/>
              <a:gdLst>
                <a:gd name="T0" fmla="*/ 12337887 w 226"/>
                <a:gd name="T1" fmla="*/ 62779789 h 237"/>
                <a:gd name="T2" fmla="*/ 13316775 w 226"/>
                <a:gd name="T3" fmla="*/ 63045925 h 237"/>
                <a:gd name="T4" fmla="*/ 14687750 w 226"/>
                <a:gd name="T5" fmla="*/ 62513652 h 237"/>
                <a:gd name="T6" fmla="*/ 16254325 w 226"/>
                <a:gd name="T7" fmla="*/ 62248032 h 237"/>
                <a:gd name="T8" fmla="*/ 17429699 w 226"/>
                <a:gd name="T9" fmla="*/ 61184003 h 237"/>
                <a:gd name="T10" fmla="*/ 18800231 w 226"/>
                <a:gd name="T11" fmla="*/ 59321565 h 237"/>
                <a:gd name="T12" fmla="*/ 19387918 w 226"/>
                <a:gd name="T13" fmla="*/ 56927370 h 237"/>
                <a:gd name="T14" fmla="*/ 24088087 w 226"/>
                <a:gd name="T15" fmla="*/ 55597204 h 237"/>
                <a:gd name="T16" fmla="*/ 32509093 w 226"/>
                <a:gd name="T17" fmla="*/ 54533175 h 237"/>
                <a:gd name="T18" fmla="*/ 38188150 w 226"/>
                <a:gd name="T19" fmla="*/ 52671253 h 237"/>
                <a:gd name="T20" fmla="*/ 40930099 w 226"/>
                <a:gd name="T21" fmla="*/ 50809331 h 237"/>
                <a:gd name="T22" fmla="*/ 43084361 w 226"/>
                <a:gd name="T23" fmla="*/ 48149000 h 237"/>
                <a:gd name="T24" fmla="*/ 44063250 w 226"/>
                <a:gd name="T25" fmla="*/ 44690776 h 237"/>
                <a:gd name="T26" fmla="*/ 44259293 w 226"/>
                <a:gd name="T27" fmla="*/ 40700279 h 237"/>
                <a:gd name="T28" fmla="*/ 43671606 w 226"/>
                <a:gd name="T29" fmla="*/ 37242571 h 237"/>
                <a:gd name="T30" fmla="*/ 42105030 w 226"/>
                <a:gd name="T31" fmla="*/ 32719802 h 237"/>
                <a:gd name="T32" fmla="*/ 39755168 w 226"/>
                <a:gd name="T33" fmla="*/ 26601763 h 237"/>
                <a:gd name="T34" fmla="*/ 38384193 w 226"/>
                <a:gd name="T35" fmla="*/ 22345646 h 237"/>
                <a:gd name="T36" fmla="*/ 37796506 w 226"/>
                <a:gd name="T37" fmla="*/ 19685315 h 237"/>
                <a:gd name="T38" fmla="*/ 38188150 w 226"/>
                <a:gd name="T39" fmla="*/ 15694818 h 237"/>
                <a:gd name="T40" fmla="*/ 39167480 w 226"/>
                <a:gd name="T41" fmla="*/ 11438701 h 237"/>
                <a:gd name="T42" fmla="*/ 41713387 w 226"/>
                <a:gd name="T43" fmla="*/ 6650312 h 237"/>
                <a:gd name="T44" fmla="*/ 41713387 w 226"/>
                <a:gd name="T45" fmla="*/ 3724360 h 237"/>
                <a:gd name="T46" fmla="*/ 37404862 w 226"/>
                <a:gd name="T47" fmla="*/ 1861922 h 237"/>
                <a:gd name="T48" fmla="*/ 30158787 w 226"/>
                <a:gd name="T49" fmla="*/ 532273 h 237"/>
                <a:gd name="T50" fmla="*/ 3916881 w 226"/>
                <a:gd name="T51" fmla="*/ 1596302 h 237"/>
                <a:gd name="T52" fmla="*/ 3525237 w 226"/>
                <a:gd name="T53" fmla="*/ 8246613 h 237"/>
                <a:gd name="T54" fmla="*/ 1958219 w 226"/>
                <a:gd name="T55" fmla="*/ 14364653 h 237"/>
                <a:gd name="T56" fmla="*/ 587687 w 226"/>
                <a:gd name="T57" fmla="*/ 21015480 h 237"/>
                <a:gd name="T58" fmla="*/ 0 w 226"/>
                <a:gd name="T59" fmla="*/ 29527714 h 237"/>
                <a:gd name="T60" fmla="*/ 587687 w 226"/>
                <a:gd name="T61" fmla="*/ 34582240 h 237"/>
                <a:gd name="T62" fmla="*/ 1958219 w 226"/>
                <a:gd name="T63" fmla="*/ 38838357 h 237"/>
                <a:gd name="T64" fmla="*/ 5875100 w 226"/>
                <a:gd name="T65" fmla="*/ 46020941 h 237"/>
                <a:gd name="T66" fmla="*/ 9987581 w 226"/>
                <a:gd name="T67" fmla="*/ 52937389 h 237"/>
                <a:gd name="T68" fmla="*/ 11162955 w 226"/>
                <a:gd name="T69" fmla="*/ 57459642 h 237"/>
                <a:gd name="T70" fmla="*/ 11946243 w 226"/>
                <a:gd name="T71" fmla="*/ 62248032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5" name="Freeform 542">
              <a:extLst>
                <a:ext uri="{FF2B5EF4-FFF2-40B4-BE49-F238E27FC236}">
                  <a16:creationId xmlns:a16="http://schemas.microsoft.com/office/drawing/2014/main" id="{AA894B10-6F32-49F2-BBF9-E9124D70E1B1}"/>
                </a:ext>
              </a:extLst>
            </p:cNvPr>
            <p:cNvSpPr>
              <a:spLocks/>
            </p:cNvSpPr>
            <p:nvPr>
              <p:custDataLst>
                <p:tags r:id="rId373"/>
              </p:custDataLst>
            </p:nvPr>
          </p:nvSpPr>
          <p:spPr bwMode="auto">
            <a:xfrm>
              <a:off x="6516688" y="3265488"/>
              <a:ext cx="207962" cy="458787"/>
            </a:xfrm>
            <a:custGeom>
              <a:avLst/>
              <a:gdLst>
                <a:gd name="T0" fmla="*/ 54324199 w 478"/>
                <a:gd name="T1" fmla="*/ 29966459 h 875"/>
                <a:gd name="T2" fmla="*/ 47320926 w 478"/>
                <a:gd name="T3" fmla="*/ 37938884 h 875"/>
                <a:gd name="T4" fmla="*/ 37667226 w 478"/>
                <a:gd name="T5" fmla="*/ 54159530 h 875"/>
                <a:gd name="T6" fmla="*/ 37477972 w 478"/>
                <a:gd name="T7" fmla="*/ 58558127 h 875"/>
                <a:gd name="T8" fmla="*/ 38992440 w 478"/>
                <a:gd name="T9" fmla="*/ 65706307 h 875"/>
                <a:gd name="T10" fmla="*/ 41831687 w 478"/>
                <a:gd name="T11" fmla="*/ 72853961 h 875"/>
                <a:gd name="T12" fmla="*/ 45427950 w 478"/>
                <a:gd name="T13" fmla="*/ 79177371 h 875"/>
                <a:gd name="T14" fmla="*/ 49024214 w 478"/>
                <a:gd name="T15" fmla="*/ 82751198 h 875"/>
                <a:gd name="T16" fmla="*/ 52810166 w 478"/>
                <a:gd name="T17" fmla="*/ 90448874 h 875"/>
                <a:gd name="T18" fmla="*/ 55838667 w 478"/>
                <a:gd name="T19" fmla="*/ 99246593 h 875"/>
                <a:gd name="T20" fmla="*/ 57731208 w 478"/>
                <a:gd name="T21" fmla="*/ 101445630 h 875"/>
                <a:gd name="T22" fmla="*/ 82905922 w 478"/>
                <a:gd name="T23" fmla="*/ 137185477 h 875"/>
                <a:gd name="T24" fmla="*/ 89152613 w 478"/>
                <a:gd name="T25" fmla="*/ 161928569 h 875"/>
                <a:gd name="T26" fmla="*/ 90477392 w 478"/>
                <a:gd name="T27" fmla="*/ 177873943 h 875"/>
                <a:gd name="T28" fmla="*/ 90098884 w 478"/>
                <a:gd name="T29" fmla="*/ 188870698 h 875"/>
                <a:gd name="T30" fmla="*/ 90477392 w 478"/>
                <a:gd name="T31" fmla="*/ 194644086 h 875"/>
                <a:gd name="T32" fmla="*/ 84609644 w 478"/>
                <a:gd name="T33" fmla="*/ 197393144 h 875"/>
                <a:gd name="T34" fmla="*/ 79498913 w 478"/>
                <a:gd name="T35" fmla="*/ 201516992 h 875"/>
                <a:gd name="T36" fmla="*/ 74009673 w 478"/>
                <a:gd name="T37" fmla="*/ 207840402 h 875"/>
                <a:gd name="T38" fmla="*/ 69088196 w 478"/>
                <a:gd name="T39" fmla="*/ 216912869 h 875"/>
                <a:gd name="T40" fmla="*/ 65870441 w 478"/>
                <a:gd name="T41" fmla="*/ 215812827 h 875"/>
                <a:gd name="T42" fmla="*/ 60381201 w 478"/>
                <a:gd name="T43" fmla="*/ 216912869 h 875"/>
                <a:gd name="T44" fmla="*/ 59245676 w 478"/>
                <a:gd name="T45" fmla="*/ 221036718 h 875"/>
                <a:gd name="T46" fmla="*/ 54702707 w 478"/>
                <a:gd name="T47" fmla="*/ 230383933 h 875"/>
                <a:gd name="T48" fmla="*/ 48456451 w 478"/>
                <a:gd name="T49" fmla="*/ 238631631 h 875"/>
                <a:gd name="T50" fmla="*/ 45238696 w 478"/>
                <a:gd name="T51" fmla="*/ 240555919 h 875"/>
                <a:gd name="T52" fmla="*/ 43913917 w 478"/>
                <a:gd name="T53" fmla="*/ 238631631 h 875"/>
                <a:gd name="T54" fmla="*/ 42588703 w 478"/>
                <a:gd name="T55" fmla="*/ 232033473 h 875"/>
                <a:gd name="T56" fmla="*/ 43724228 w 478"/>
                <a:gd name="T57" fmla="*/ 219936675 h 875"/>
                <a:gd name="T58" fmla="*/ 47888689 w 478"/>
                <a:gd name="T59" fmla="*/ 213063769 h 875"/>
                <a:gd name="T60" fmla="*/ 52431658 w 478"/>
                <a:gd name="T61" fmla="*/ 208939920 h 875"/>
                <a:gd name="T62" fmla="*/ 55838667 w 478"/>
                <a:gd name="T63" fmla="*/ 207015632 h 875"/>
                <a:gd name="T64" fmla="*/ 57731208 w 478"/>
                <a:gd name="T65" fmla="*/ 204266574 h 875"/>
                <a:gd name="T66" fmla="*/ 59434931 w 478"/>
                <a:gd name="T67" fmla="*/ 196293626 h 875"/>
                <a:gd name="T68" fmla="*/ 62463432 w 478"/>
                <a:gd name="T69" fmla="*/ 188595949 h 875"/>
                <a:gd name="T70" fmla="*/ 69088196 w 478"/>
                <a:gd name="T71" fmla="*/ 176774425 h 875"/>
                <a:gd name="T72" fmla="*/ 70224156 w 478"/>
                <a:gd name="T73" fmla="*/ 147357462 h 875"/>
                <a:gd name="T74" fmla="*/ 68898942 w 478"/>
                <a:gd name="T75" fmla="*/ 130587319 h 875"/>
                <a:gd name="T76" fmla="*/ 64545662 w 478"/>
                <a:gd name="T77" fmla="*/ 117391527 h 875"/>
                <a:gd name="T78" fmla="*/ 56217175 w 478"/>
                <a:gd name="T79" fmla="*/ 103645190 h 875"/>
                <a:gd name="T80" fmla="*/ 41453179 w 478"/>
                <a:gd name="T81" fmla="*/ 84675486 h 875"/>
                <a:gd name="T82" fmla="*/ 30474699 w 478"/>
                <a:gd name="T83" fmla="*/ 70104904 h 875"/>
                <a:gd name="T84" fmla="*/ 20442491 w 478"/>
                <a:gd name="T85" fmla="*/ 54434279 h 875"/>
                <a:gd name="T86" fmla="*/ 13628472 w 478"/>
                <a:gd name="T87" fmla="*/ 40138445 h 875"/>
                <a:gd name="T88" fmla="*/ 7949978 w 478"/>
                <a:gd name="T89" fmla="*/ 28591668 h 875"/>
                <a:gd name="T90" fmla="*/ 8706995 w 478"/>
                <a:gd name="T91" fmla="*/ 11271504 h 875"/>
                <a:gd name="T92" fmla="*/ 24417697 w 478"/>
                <a:gd name="T93" fmla="*/ 5223367 h 875"/>
                <a:gd name="T94" fmla="*/ 28013961 w 478"/>
                <a:gd name="T95" fmla="*/ 1374791 h 875"/>
                <a:gd name="T96" fmla="*/ 33124692 w 478"/>
                <a:gd name="T97" fmla="*/ 4398597 h 875"/>
                <a:gd name="T98" fmla="*/ 41831687 w 478"/>
                <a:gd name="T99" fmla="*/ 9622488 h 875"/>
                <a:gd name="T100" fmla="*/ 50917190 w 478"/>
                <a:gd name="T101" fmla="*/ 18419683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en-US"/>
            </a:p>
          </p:txBody>
        </p:sp>
        <p:sp>
          <p:nvSpPr>
            <p:cNvPr id="386" name="Freeform 543">
              <a:extLst>
                <a:ext uri="{FF2B5EF4-FFF2-40B4-BE49-F238E27FC236}">
                  <a16:creationId xmlns:a16="http://schemas.microsoft.com/office/drawing/2014/main" id="{87307969-5C4D-4936-85CF-1134D877E2B6}"/>
                </a:ext>
              </a:extLst>
            </p:cNvPr>
            <p:cNvSpPr>
              <a:spLocks/>
            </p:cNvSpPr>
            <p:nvPr>
              <p:custDataLst>
                <p:tags r:id="rId374"/>
              </p:custDataLst>
            </p:nvPr>
          </p:nvSpPr>
          <p:spPr bwMode="auto">
            <a:xfrm>
              <a:off x="6604000" y="3951288"/>
              <a:ext cx="25400" cy="57150"/>
            </a:xfrm>
            <a:custGeom>
              <a:avLst/>
              <a:gdLst>
                <a:gd name="T0" fmla="*/ 10934915 w 59"/>
                <a:gd name="T1" fmla="*/ 20391489 h 31"/>
                <a:gd name="T2" fmla="*/ 10564247 w 59"/>
                <a:gd name="T3" fmla="*/ 37385318 h 31"/>
                <a:gd name="T4" fmla="*/ 9822912 w 59"/>
                <a:gd name="T5" fmla="*/ 50979644 h 31"/>
                <a:gd name="T6" fmla="*/ 9081576 w 59"/>
                <a:gd name="T7" fmla="*/ 64573969 h 31"/>
                <a:gd name="T8" fmla="*/ 8340241 w 59"/>
                <a:gd name="T9" fmla="*/ 81567798 h 31"/>
                <a:gd name="T10" fmla="*/ 7413356 w 59"/>
                <a:gd name="T11" fmla="*/ 91764465 h 31"/>
                <a:gd name="T12" fmla="*/ 6672020 w 59"/>
                <a:gd name="T13" fmla="*/ 98561627 h 31"/>
                <a:gd name="T14" fmla="*/ 5560017 w 59"/>
                <a:gd name="T15" fmla="*/ 105358790 h 31"/>
                <a:gd name="T16" fmla="*/ 4818681 w 59"/>
                <a:gd name="T17" fmla="*/ 105358790 h 31"/>
                <a:gd name="T18" fmla="*/ 3892227 w 59"/>
                <a:gd name="T19" fmla="*/ 105358790 h 31"/>
                <a:gd name="T20" fmla="*/ 3150892 w 59"/>
                <a:gd name="T21" fmla="*/ 101959287 h 31"/>
                <a:gd name="T22" fmla="*/ 2594675 w 59"/>
                <a:gd name="T23" fmla="*/ 98561627 h 31"/>
                <a:gd name="T24" fmla="*/ 2038888 w 59"/>
                <a:gd name="T25" fmla="*/ 91764465 h 31"/>
                <a:gd name="T26" fmla="*/ 741336 w 59"/>
                <a:gd name="T27" fmla="*/ 67973473 h 31"/>
                <a:gd name="T28" fmla="*/ 0 w 59"/>
                <a:gd name="T29" fmla="*/ 40784821 h 31"/>
                <a:gd name="T30" fmla="*/ 185549 w 59"/>
                <a:gd name="T31" fmla="*/ 30588155 h 31"/>
                <a:gd name="T32" fmla="*/ 556217 w 59"/>
                <a:gd name="T33" fmla="*/ 20391489 h 31"/>
                <a:gd name="T34" fmla="*/ 926885 w 59"/>
                <a:gd name="T35" fmla="*/ 13594326 h 31"/>
                <a:gd name="T36" fmla="*/ 1482671 w 59"/>
                <a:gd name="T37" fmla="*/ 10196666 h 31"/>
                <a:gd name="T38" fmla="*/ 2965342 w 59"/>
                <a:gd name="T39" fmla="*/ 3399503 h 31"/>
                <a:gd name="T40" fmla="*/ 4448014 w 59"/>
                <a:gd name="T41" fmla="*/ 0 h 31"/>
                <a:gd name="T42" fmla="*/ 6301353 w 59"/>
                <a:gd name="T43" fmla="*/ 0 h 31"/>
                <a:gd name="T44" fmla="*/ 7784024 w 59"/>
                <a:gd name="T45" fmla="*/ 6797163 h 31"/>
                <a:gd name="T46" fmla="*/ 9452244 w 59"/>
                <a:gd name="T47" fmla="*/ 13594326 h 31"/>
                <a:gd name="T48" fmla="*/ 10934915 w 59"/>
                <a:gd name="T49" fmla="*/ 20391489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a:p>
          </p:txBody>
        </p:sp>
        <p:sp>
          <p:nvSpPr>
            <p:cNvPr id="387" name="Freeform 544">
              <a:extLst>
                <a:ext uri="{FF2B5EF4-FFF2-40B4-BE49-F238E27FC236}">
                  <a16:creationId xmlns:a16="http://schemas.microsoft.com/office/drawing/2014/main" id="{1626BF99-7BAA-43FD-8607-E07CE30C8D4E}"/>
                </a:ext>
              </a:extLst>
            </p:cNvPr>
            <p:cNvSpPr>
              <a:spLocks/>
            </p:cNvSpPr>
            <p:nvPr>
              <p:custDataLst>
                <p:tags r:id="rId375"/>
              </p:custDataLst>
            </p:nvPr>
          </p:nvSpPr>
          <p:spPr bwMode="auto">
            <a:xfrm>
              <a:off x="5295900" y="3209925"/>
              <a:ext cx="174625" cy="271463"/>
            </a:xfrm>
            <a:custGeom>
              <a:avLst/>
              <a:gdLst>
                <a:gd name="T0" fmla="*/ 38308523 w 399"/>
                <a:gd name="T1" fmla="*/ 2196851 h 518"/>
                <a:gd name="T2" fmla="*/ 38691911 w 399"/>
                <a:gd name="T3" fmla="*/ 6041864 h 518"/>
                <a:gd name="T4" fmla="*/ 39841197 w 399"/>
                <a:gd name="T5" fmla="*/ 9886877 h 518"/>
                <a:gd name="T6" fmla="*/ 40990483 w 399"/>
                <a:gd name="T7" fmla="*/ 13457283 h 518"/>
                <a:gd name="T8" fmla="*/ 42905669 w 399"/>
                <a:gd name="T9" fmla="*/ 17302296 h 518"/>
                <a:gd name="T10" fmla="*/ 45012548 w 399"/>
                <a:gd name="T11" fmla="*/ 20597572 h 518"/>
                <a:gd name="T12" fmla="*/ 47694508 w 399"/>
                <a:gd name="T13" fmla="*/ 23618766 h 518"/>
                <a:gd name="T14" fmla="*/ 50567286 w 399"/>
                <a:gd name="T15" fmla="*/ 26090747 h 518"/>
                <a:gd name="T16" fmla="*/ 60527476 w 399"/>
                <a:gd name="T17" fmla="*/ 29111417 h 518"/>
                <a:gd name="T18" fmla="*/ 69913460 w 399"/>
                <a:gd name="T19" fmla="*/ 32681824 h 518"/>
                <a:gd name="T20" fmla="*/ 72786676 w 399"/>
                <a:gd name="T21" fmla="*/ 34878675 h 518"/>
                <a:gd name="T22" fmla="*/ 75084811 w 399"/>
                <a:gd name="T23" fmla="*/ 37625262 h 518"/>
                <a:gd name="T24" fmla="*/ 76234097 w 399"/>
                <a:gd name="T25" fmla="*/ 41470275 h 518"/>
                <a:gd name="T26" fmla="*/ 76234097 w 399"/>
                <a:gd name="T27" fmla="*/ 47786745 h 518"/>
                <a:gd name="T28" fmla="*/ 74701862 w 399"/>
                <a:gd name="T29" fmla="*/ 54927558 h 518"/>
                <a:gd name="T30" fmla="*/ 70679359 w 399"/>
                <a:gd name="T31" fmla="*/ 65638254 h 518"/>
                <a:gd name="T32" fmla="*/ 65890958 w 399"/>
                <a:gd name="T33" fmla="*/ 75799737 h 518"/>
                <a:gd name="T34" fmla="*/ 62826049 w 399"/>
                <a:gd name="T35" fmla="*/ 83215156 h 518"/>
                <a:gd name="T36" fmla="*/ 60144526 w 399"/>
                <a:gd name="T37" fmla="*/ 90630052 h 518"/>
                <a:gd name="T38" fmla="*/ 58803984 w 399"/>
                <a:gd name="T39" fmla="*/ 98869290 h 518"/>
                <a:gd name="T40" fmla="*/ 56888361 w 399"/>
                <a:gd name="T41" fmla="*/ 103538122 h 518"/>
                <a:gd name="T42" fmla="*/ 51333623 w 399"/>
                <a:gd name="T43" fmla="*/ 106284186 h 518"/>
                <a:gd name="T44" fmla="*/ 47119865 w 399"/>
                <a:gd name="T45" fmla="*/ 109579986 h 518"/>
                <a:gd name="T46" fmla="*/ 45012548 w 399"/>
                <a:gd name="T47" fmla="*/ 112051967 h 518"/>
                <a:gd name="T48" fmla="*/ 43480312 w 399"/>
                <a:gd name="T49" fmla="*/ 114523424 h 518"/>
                <a:gd name="T50" fmla="*/ 42905669 w 399"/>
                <a:gd name="T51" fmla="*/ 117270012 h 518"/>
                <a:gd name="T52" fmla="*/ 40798790 w 399"/>
                <a:gd name="T53" fmla="*/ 120290682 h 518"/>
                <a:gd name="T54" fmla="*/ 36009951 w 399"/>
                <a:gd name="T55" fmla="*/ 123586482 h 518"/>
                <a:gd name="T56" fmla="*/ 33137173 w 399"/>
                <a:gd name="T57" fmla="*/ 125234120 h 518"/>
                <a:gd name="T58" fmla="*/ 31796193 w 399"/>
                <a:gd name="T59" fmla="*/ 128255314 h 518"/>
                <a:gd name="T60" fmla="*/ 30263957 w 399"/>
                <a:gd name="T61" fmla="*/ 132100327 h 518"/>
                <a:gd name="T62" fmla="*/ 27965384 w 399"/>
                <a:gd name="T63" fmla="*/ 134571784 h 518"/>
                <a:gd name="T64" fmla="*/ 25092168 w 399"/>
                <a:gd name="T65" fmla="*/ 135670733 h 518"/>
                <a:gd name="T66" fmla="*/ 19537430 w 399"/>
                <a:gd name="T67" fmla="*/ 136769159 h 518"/>
                <a:gd name="T68" fmla="*/ 13982692 w 399"/>
                <a:gd name="T69" fmla="*/ 138416797 h 518"/>
                <a:gd name="T70" fmla="*/ 10534833 w 399"/>
                <a:gd name="T71" fmla="*/ 140614172 h 518"/>
                <a:gd name="T72" fmla="*/ 8810904 w 399"/>
                <a:gd name="T73" fmla="*/ 141163384 h 518"/>
                <a:gd name="T74" fmla="*/ 8236260 w 399"/>
                <a:gd name="T75" fmla="*/ 138966010 h 518"/>
                <a:gd name="T76" fmla="*/ 7278668 w 399"/>
                <a:gd name="T77" fmla="*/ 136494552 h 518"/>
                <a:gd name="T78" fmla="*/ 6512331 w 399"/>
                <a:gd name="T79" fmla="*/ 133747965 h 518"/>
                <a:gd name="T80" fmla="*/ 6321075 w 399"/>
                <a:gd name="T81" fmla="*/ 128529920 h 518"/>
                <a:gd name="T82" fmla="*/ 5554738 w 399"/>
                <a:gd name="T83" fmla="*/ 122213450 h 518"/>
                <a:gd name="T84" fmla="*/ 3256165 w 399"/>
                <a:gd name="T85" fmla="*/ 114798031 h 518"/>
                <a:gd name="T86" fmla="*/ 0 w 399"/>
                <a:gd name="T87" fmla="*/ 98320078 h 518"/>
                <a:gd name="T88" fmla="*/ 37159237 w 399"/>
                <a:gd name="T89" fmla="*/ 50807939 h 518"/>
                <a:gd name="T90" fmla="*/ 38308523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8" name="Freeform 545">
              <a:extLst>
                <a:ext uri="{FF2B5EF4-FFF2-40B4-BE49-F238E27FC236}">
                  <a16:creationId xmlns:a16="http://schemas.microsoft.com/office/drawing/2014/main" id="{4843C5E3-436A-4400-B1CC-62B596617624}"/>
                </a:ext>
              </a:extLst>
            </p:cNvPr>
            <p:cNvSpPr>
              <a:spLocks/>
            </p:cNvSpPr>
            <p:nvPr>
              <p:custDataLst>
                <p:tags r:id="rId376"/>
              </p:custDataLst>
            </p:nvPr>
          </p:nvSpPr>
          <p:spPr bwMode="auto">
            <a:xfrm>
              <a:off x="4022725" y="3263900"/>
              <a:ext cx="376238" cy="385763"/>
            </a:xfrm>
            <a:custGeom>
              <a:avLst/>
              <a:gdLst>
                <a:gd name="T0" fmla="*/ 43601466 w 866"/>
                <a:gd name="T1" fmla="*/ 73373496 h 740"/>
                <a:gd name="T2" fmla="*/ 46243821 w 866"/>
                <a:gd name="T3" fmla="*/ 71742870 h 740"/>
                <a:gd name="T4" fmla="*/ 51340412 w 866"/>
                <a:gd name="T5" fmla="*/ 73917212 h 740"/>
                <a:gd name="T6" fmla="*/ 123443427 w 866"/>
                <a:gd name="T7" fmla="*/ 271597 h 740"/>
                <a:gd name="T8" fmla="*/ 128162043 w 866"/>
                <a:gd name="T9" fmla="*/ 1630626 h 740"/>
                <a:gd name="T10" fmla="*/ 134201835 w 866"/>
                <a:gd name="T11" fmla="*/ 5706671 h 740"/>
                <a:gd name="T12" fmla="*/ 137788261 w 866"/>
                <a:gd name="T13" fmla="*/ 9511640 h 740"/>
                <a:gd name="T14" fmla="*/ 143450947 w 866"/>
                <a:gd name="T15" fmla="*/ 15489908 h 740"/>
                <a:gd name="T16" fmla="*/ 149302187 w 866"/>
                <a:gd name="T17" fmla="*/ 16033624 h 740"/>
                <a:gd name="T18" fmla="*/ 156852145 w 866"/>
                <a:gd name="T19" fmla="*/ 11685461 h 740"/>
                <a:gd name="T20" fmla="*/ 161193654 w 866"/>
                <a:gd name="T21" fmla="*/ 45111217 h 740"/>
                <a:gd name="T22" fmla="*/ 163458467 w 866"/>
                <a:gd name="T23" fmla="*/ 55709246 h 740"/>
                <a:gd name="T24" fmla="*/ 160438571 w 866"/>
                <a:gd name="T25" fmla="*/ 81797704 h 740"/>
                <a:gd name="T26" fmla="*/ 160061029 w 866"/>
                <a:gd name="T27" fmla="*/ 102179492 h 740"/>
                <a:gd name="T28" fmla="*/ 157418240 w 866"/>
                <a:gd name="T29" fmla="*/ 114408147 h 740"/>
                <a:gd name="T30" fmla="*/ 151378447 w 866"/>
                <a:gd name="T31" fmla="*/ 126908921 h 740"/>
                <a:gd name="T32" fmla="*/ 146659832 w 866"/>
                <a:gd name="T33" fmla="*/ 135605248 h 740"/>
                <a:gd name="T34" fmla="*/ 143073406 w 866"/>
                <a:gd name="T35" fmla="*/ 154084290 h 740"/>
                <a:gd name="T36" fmla="*/ 134201835 w 866"/>
                <a:gd name="T37" fmla="*/ 170933227 h 740"/>
                <a:gd name="T38" fmla="*/ 128350596 w 866"/>
                <a:gd name="T39" fmla="*/ 175552988 h 740"/>
                <a:gd name="T40" fmla="*/ 121555720 w 866"/>
                <a:gd name="T41" fmla="*/ 173378646 h 740"/>
                <a:gd name="T42" fmla="*/ 115326939 w 866"/>
                <a:gd name="T43" fmla="*/ 169846317 h 740"/>
                <a:gd name="T44" fmla="*/ 106833345 w 866"/>
                <a:gd name="T45" fmla="*/ 172020138 h 740"/>
                <a:gd name="T46" fmla="*/ 100038035 w 866"/>
                <a:gd name="T47" fmla="*/ 179085838 h 740"/>
                <a:gd name="T48" fmla="*/ 96451609 w 866"/>
                <a:gd name="T49" fmla="*/ 184792509 h 740"/>
                <a:gd name="T50" fmla="*/ 92676630 w 866"/>
                <a:gd name="T51" fmla="*/ 185879420 h 740"/>
                <a:gd name="T52" fmla="*/ 88713097 w 866"/>
                <a:gd name="T53" fmla="*/ 181531256 h 740"/>
                <a:gd name="T54" fmla="*/ 84183035 w 866"/>
                <a:gd name="T55" fmla="*/ 173650764 h 740"/>
                <a:gd name="T56" fmla="*/ 79464420 w 866"/>
                <a:gd name="T57" fmla="*/ 172563854 h 740"/>
                <a:gd name="T58" fmla="*/ 76444089 w 866"/>
                <a:gd name="T59" fmla="*/ 175824585 h 740"/>
                <a:gd name="T60" fmla="*/ 72480556 w 866"/>
                <a:gd name="T61" fmla="*/ 177183614 h 740"/>
                <a:gd name="T62" fmla="*/ 66062788 w 866"/>
                <a:gd name="T63" fmla="*/ 173378646 h 740"/>
                <a:gd name="T64" fmla="*/ 57757746 w 866"/>
                <a:gd name="T65" fmla="*/ 165226035 h 740"/>
                <a:gd name="T66" fmla="*/ 51151424 w 866"/>
                <a:gd name="T67" fmla="*/ 164139125 h 740"/>
                <a:gd name="T68" fmla="*/ 44734090 w 866"/>
                <a:gd name="T69" fmla="*/ 168487288 h 740"/>
                <a:gd name="T70" fmla="*/ 39448945 w 866"/>
                <a:gd name="T71" fmla="*/ 177455212 h 740"/>
                <a:gd name="T72" fmla="*/ 35862520 w 866"/>
                <a:gd name="T73" fmla="*/ 188053762 h 740"/>
                <a:gd name="T74" fmla="*/ 33597706 w 866"/>
                <a:gd name="T75" fmla="*/ 195391059 h 740"/>
                <a:gd name="T76" fmla="*/ 28124008 w 866"/>
                <a:gd name="T77" fmla="*/ 190771299 h 740"/>
                <a:gd name="T78" fmla="*/ 18874896 w 866"/>
                <a:gd name="T79" fmla="*/ 201097731 h 740"/>
                <a:gd name="T80" fmla="*/ 12457562 w 866"/>
                <a:gd name="T81" fmla="*/ 189955986 h 740"/>
                <a:gd name="T82" fmla="*/ 12080020 w 866"/>
                <a:gd name="T83" fmla="*/ 175009272 h 740"/>
                <a:gd name="T84" fmla="*/ 9437665 w 866"/>
                <a:gd name="T85" fmla="*/ 166585064 h 740"/>
                <a:gd name="T86" fmla="*/ 3774979 w 866"/>
                <a:gd name="T87" fmla="*/ 159519364 h 740"/>
                <a:gd name="T88" fmla="*/ 943636 w 866"/>
                <a:gd name="T89" fmla="*/ 151638351 h 740"/>
                <a:gd name="T90" fmla="*/ 10003760 w 866"/>
                <a:gd name="T91" fmla="*/ 144029456 h 740"/>
                <a:gd name="T92" fmla="*/ 14345269 w 866"/>
                <a:gd name="T93" fmla="*/ 140768203 h 740"/>
                <a:gd name="T94" fmla="*/ 26236301 w 866"/>
                <a:gd name="T95" fmla="*/ 138594382 h 740"/>
                <a:gd name="T96" fmla="*/ 34352789 w 866"/>
                <a:gd name="T97" fmla="*/ 135876845 h 740"/>
                <a:gd name="T98" fmla="*/ 37938780 w 866"/>
                <a:gd name="T99" fmla="*/ 129082742 h 740"/>
                <a:gd name="T100" fmla="*/ 41336652 w 866"/>
                <a:gd name="T101" fmla="*/ 115223460 h 740"/>
                <a:gd name="T102" fmla="*/ 42280288 w 866"/>
                <a:gd name="T103" fmla="*/ 99733552 h 740"/>
                <a:gd name="T104" fmla="*/ 41336652 w 866"/>
                <a:gd name="T105" fmla="*/ 86961181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US"/>
            </a:p>
          </p:txBody>
        </p:sp>
        <p:sp>
          <p:nvSpPr>
            <p:cNvPr id="389" name="Freeform 546">
              <a:extLst>
                <a:ext uri="{FF2B5EF4-FFF2-40B4-BE49-F238E27FC236}">
                  <a16:creationId xmlns:a16="http://schemas.microsoft.com/office/drawing/2014/main" id="{DA13C35A-4E45-4A3E-839F-28F4175C693A}"/>
                </a:ext>
              </a:extLst>
            </p:cNvPr>
            <p:cNvSpPr>
              <a:spLocks/>
            </p:cNvSpPr>
            <p:nvPr>
              <p:custDataLst>
                <p:tags r:id="rId377"/>
              </p:custDataLst>
            </p:nvPr>
          </p:nvSpPr>
          <p:spPr bwMode="auto">
            <a:xfrm>
              <a:off x="3692525" y="2881313"/>
              <a:ext cx="300038" cy="260350"/>
            </a:xfrm>
            <a:custGeom>
              <a:avLst/>
              <a:gdLst>
                <a:gd name="T0" fmla="*/ 120077618 w 697"/>
                <a:gd name="T1" fmla="*/ 14369758 h 500"/>
                <a:gd name="T2" fmla="*/ 121745261 w 697"/>
                <a:gd name="T3" fmla="*/ 43651843 h 500"/>
                <a:gd name="T4" fmla="*/ 122486532 w 697"/>
                <a:gd name="T5" fmla="*/ 45278510 h 500"/>
                <a:gd name="T6" fmla="*/ 125451613 w 697"/>
                <a:gd name="T7" fmla="*/ 47989795 h 500"/>
                <a:gd name="T8" fmla="*/ 128601797 w 697"/>
                <a:gd name="T9" fmla="*/ 51243128 h 500"/>
                <a:gd name="T10" fmla="*/ 129157534 w 697"/>
                <a:gd name="T11" fmla="*/ 53683649 h 500"/>
                <a:gd name="T12" fmla="*/ 128601797 w 697"/>
                <a:gd name="T13" fmla="*/ 57208268 h 500"/>
                <a:gd name="T14" fmla="*/ 126933723 w 697"/>
                <a:gd name="T15" fmla="*/ 58834934 h 500"/>
                <a:gd name="T16" fmla="*/ 121374626 w 697"/>
                <a:gd name="T17" fmla="*/ 59106219 h 500"/>
                <a:gd name="T18" fmla="*/ 112109608 w 697"/>
                <a:gd name="T19" fmla="*/ 61817504 h 500"/>
                <a:gd name="T20" fmla="*/ 105067970 w 697"/>
                <a:gd name="T21" fmla="*/ 67782123 h 500"/>
                <a:gd name="T22" fmla="*/ 101732253 w 697"/>
                <a:gd name="T23" fmla="*/ 72391359 h 500"/>
                <a:gd name="T24" fmla="*/ 99879508 w 697"/>
                <a:gd name="T25" fmla="*/ 78085213 h 500"/>
                <a:gd name="T26" fmla="*/ 96543791 w 697"/>
                <a:gd name="T27" fmla="*/ 81880596 h 500"/>
                <a:gd name="T28" fmla="*/ 90984694 w 697"/>
                <a:gd name="T29" fmla="*/ 87845735 h 500"/>
                <a:gd name="T30" fmla="*/ 84313691 w 697"/>
                <a:gd name="T31" fmla="*/ 95437020 h 500"/>
                <a:gd name="T32" fmla="*/ 77828221 w 697"/>
                <a:gd name="T33" fmla="*/ 100317541 h 500"/>
                <a:gd name="T34" fmla="*/ 68933408 w 697"/>
                <a:gd name="T35" fmla="*/ 102215493 h 500"/>
                <a:gd name="T36" fmla="*/ 63744946 w 697"/>
                <a:gd name="T37" fmla="*/ 103028826 h 500"/>
                <a:gd name="T38" fmla="*/ 58556484 w 697"/>
                <a:gd name="T39" fmla="*/ 107366778 h 500"/>
                <a:gd name="T40" fmla="*/ 53738226 w 697"/>
                <a:gd name="T41" fmla="*/ 113060632 h 500"/>
                <a:gd name="T42" fmla="*/ 49105932 w 697"/>
                <a:gd name="T43" fmla="*/ 115500633 h 500"/>
                <a:gd name="T44" fmla="*/ 926373 w 697"/>
                <a:gd name="T45" fmla="*/ 134479627 h 500"/>
                <a:gd name="T46" fmla="*/ 5929732 w 697"/>
                <a:gd name="T47" fmla="*/ 132039627 h 500"/>
                <a:gd name="T48" fmla="*/ 15750919 w 697"/>
                <a:gd name="T49" fmla="*/ 128243724 h 500"/>
                <a:gd name="T50" fmla="*/ 17233460 w 697"/>
                <a:gd name="T51" fmla="*/ 124447821 h 500"/>
                <a:gd name="T52" fmla="*/ 18345365 w 697"/>
                <a:gd name="T53" fmla="*/ 118754487 h 500"/>
                <a:gd name="T54" fmla="*/ 22051286 w 697"/>
                <a:gd name="T55" fmla="*/ 114416015 h 500"/>
                <a:gd name="T56" fmla="*/ 29648662 w 697"/>
                <a:gd name="T57" fmla="*/ 108180111 h 500"/>
                <a:gd name="T58" fmla="*/ 33540116 w 697"/>
                <a:gd name="T59" fmla="*/ 103570875 h 500"/>
                <a:gd name="T60" fmla="*/ 35578394 w 697"/>
                <a:gd name="T61" fmla="*/ 96792923 h 500"/>
                <a:gd name="T62" fmla="*/ 35763927 w 697"/>
                <a:gd name="T63" fmla="*/ 85676499 h 500"/>
                <a:gd name="T64" fmla="*/ 36134562 w 697"/>
                <a:gd name="T65" fmla="*/ 68866741 h 500"/>
                <a:gd name="T66" fmla="*/ 35578394 w 697"/>
                <a:gd name="T67" fmla="*/ 52056462 h 500"/>
                <a:gd name="T68" fmla="*/ 39655381 w 697"/>
                <a:gd name="T69" fmla="*/ 51243128 h 500"/>
                <a:gd name="T70" fmla="*/ 42249397 w 697"/>
                <a:gd name="T71" fmla="*/ 48531844 h 500"/>
                <a:gd name="T72" fmla="*/ 44658310 w 697"/>
                <a:gd name="T73" fmla="*/ 44736461 h 500"/>
                <a:gd name="T74" fmla="*/ 46697019 w 697"/>
                <a:gd name="T75" fmla="*/ 41211322 h 500"/>
                <a:gd name="T76" fmla="*/ 52070583 w 697"/>
                <a:gd name="T77" fmla="*/ 39584655 h 500"/>
                <a:gd name="T78" fmla="*/ 58185848 w 697"/>
                <a:gd name="T79" fmla="*/ 38771322 h 500"/>
                <a:gd name="T80" fmla="*/ 63003675 w 697"/>
                <a:gd name="T81" fmla="*/ 35517988 h 500"/>
                <a:gd name="T82" fmla="*/ 66709597 w 697"/>
                <a:gd name="T83" fmla="*/ 29282085 h 500"/>
                <a:gd name="T84" fmla="*/ 71898489 w 697"/>
                <a:gd name="T85" fmla="*/ 13014376 h 500"/>
                <a:gd name="T86" fmla="*/ 75419308 w 697"/>
                <a:gd name="T87" fmla="*/ 3253334 h 500"/>
                <a:gd name="T88" fmla="*/ 78939696 w 697"/>
                <a:gd name="T89" fmla="*/ 2169236 h 500"/>
                <a:gd name="T90" fmla="*/ 83201786 w 697"/>
                <a:gd name="T91" fmla="*/ 5422570 h 500"/>
                <a:gd name="T92" fmla="*/ 94876148 w 697"/>
                <a:gd name="T93" fmla="*/ 4880521 h 500"/>
                <a:gd name="T94" fmla="*/ 109330059 w 697"/>
                <a:gd name="T95" fmla="*/ 3524618 h 500"/>
                <a:gd name="T96" fmla="*/ 110627067 w 697"/>
                <a:gd name="T97" fmla="*/ 4609236 h 500"/>
                <a:gd name="T98" fmla="*/ 112109608 w 697"/>
                <a:gd name="T99" fmla="*/ 9760522 h 500"/>
                <a:gd name="T100" fmla="*/ 113221513 w 697"/>
                <a:gd name="T101" fmla="*/ 13827709 h 500"/>
                <a:gd name="T102" fmla="*/ 114518521 w 697"/>
                <a:gd name="T103" fmla="*/ 1355642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0" name="Freeform 547">
              <a:extLst>
                <a:ext uri="{FF2B5EF4-FFF2-40B4-BE49-F238E27FC236}">
                  <a16:creationId xmlns:a16="http://schemas.microsoft.com/office/drawing/2014/main" id="{11B9FC01-663A-4A04-B733-026F671E3FF3}"/>
                </a:ext>
              </a:extLst>
            </p:cNvPr>
            <p:cNvSpPr>
              <a:spLocks/>
            </p:cNvSpPr>
            <p:nvPr>
              <p:custDataLst>
                <p:tags r:id="rId378"/>
              </p:custDataLst>
            </p:nvPr>
          </p:nvSpPr>
          <p:spPr bwMode="auto">
            <a:xfrm>
              <a:off x="4392613" y="1811338"/>
              <a:ext cx="236537" cy="92075"/>
            </a:xfrm>
            <a:custGeom>
              <a:avLst/>
              <a:gdLst>
                <a:gd name="T0" fmla="*/ 13888101 w 546"/>
                <a:gd name="T1" fmla="*/ 5381864 h 173"/>
                <a:gd name="T2" fmla="*/ 17641501 w 546"/>
                <a:gd name="T3" fmla="*/ 9631151 h 173"/>
                <a:gd name="T4" fmla="*/ 20644568 w 546"/>
                <a:gd name="T5" fmla="*/ 7648079 h 173"/>
                <a:gd name="T6" fmla="*/ 24773568 w 546"/>
                <a:gd name="T7" fmla="*/ 7648079 h 173"/>
                <a:gd name="T8" fmla="*/ 30216085 w 546"/>
                <a:gd name="T9" fmla="*/ 12463655 h 173"/>
                <a:gd name="T10" fmla="*/ 39224853 w 546"/>
                <a:gd name="T11" fmla="*/ 5381864 h 173"/>
                <a:gd name="T12" fmla="*/ 45605720 w 546"/>
                <a:gd name="T13" fmla="*/ 5381864 h 173"/>
                <a:gd name="T14" fmla="*/ 48796370 w 546"/>
                <a:gd name="T15" fmla="*/ 4532432 h 173"/>
                <a:gd name="T16" fmla="*/ 50485487 w 546"/>
                <a:gd name="T17" fmla="*/ 3965612 h 173"/>
                <a:gd name="T18" fmla="*/ 52362187 w 546"/>
                <a:gd name="T19" fmla="*/ 3115648 h 173"/>
                <a:gd name="T20" fmla="*/ 53675704 w 546"/>
                <a:gd name="T21" fmla="*/ 849964 h 173"/>
                <a:gd name="T22" fmla="*/ 60244588 w 546"/>
                <a:gd name="T23" fmla="*/ 1416252 h 173"/>
                <a:gd name="T24" fmla="*/ 62496888 w 546"/>
                <a:gd name="T25" fmla="*/ 3399324 h 173"/>
                <a:gd name="T26" fmla="*/ 65311938 w 546"/>
                <a:gd name="T27" fmla="*/ 1983072 h 173"/>
                <a:gd name="T28" fmla="*/ 66250288 w 546"/>
                <a:gd name="T29" fmla="*/ 0 h 173"/>
                <a:gd name="T30" fmla="*/ 68877755 w 546"/>
                <a:gd name="T31" fmla="*/ 1983072 h 173"/>
                <a:gd name="T32" fmla="*/ 73006755 w 546"/>
                <a:gd name="T33" fmla="*/ 1983072 h 173"/>
                <a:gd name="T34" fmla="*/ 81827506 w 546"/>
                <a:gd name="T35" fmla="*/ 283144 h 173"/>
                <a:gd name="T36" fmla="*/ 90460673 w 546"/>
                <a:gd name="T37" fmla="*/ 1699396 h 173"/>
                <a:gd name="T38" fmla="*/ 99093840 w 546"/>
                <a:gd name="T39" fmla="*/ 3399324 h 173"/>
                <a:gd name="T40" fmla="*/ 102284491 w 546"/>
                <a:gd name="T41" fmla="*/ 13879907 h 173"/>
                <a:gd name="T42" fmla="*/ 100782957 w 546"/>
                <a:gd name="T43" fmla="*/ 16996087 h 173"/>
                <a:gd name="T44" fmla="*/ 96278790 w 546"/>
                <a:gd name="T45" fmla="*/ 17562375 h 173"/>
                <a:gd name="T46" fmla="*/ 90648256 w 546"/>
                <a:gd name="T47" fmla="*/ 15296159 h 173"/>
                <a:gd name="T48" fmla="*/ 77510922 w 546"/>
                <a:gd name="T49" fmla="*/ 12463655 h 173"/>
                <a:gd name="T50" fmla="*/ 82202673 w 546"/>
                <a:gd name="T51" fmla="*/ 22944238 h 173"/>
                <a:gd name="T52" fmla="*/ 88396390 w 546"/>
                <a:gd name="T53" fmla="*/ 28892922 h 173"/>
                <a:gd name="T54" fmla="*/ 92524957 w 546"/>
                <a:gd name="T55" fmla="*/ 33708498 h 173"/>
                <a:gd name="T56" fmla="*/ 89147156 w 546"/>
                <a:gd name="T57" fmla="*/ 38524074 h 173"/>
                <a:gd name="T58" fmla="*/ 84267389 w 546"/>
                <a:gd name="T59" fmla="*/ 40223469 h 173"/>
                <a:gd name="T60" fmla="*/ 79950806 w 546"/>
                <a:gd name="T61" fmla="*/ 39940325 h 173"/>
                <a:gd name="T62" fmla="*/ 77323339 w 546"/>
                <a:gd name="T63" fmla="*/ 37957253 h 173"/>
                <a:gd name="T64" fmla="*/ 74883455 w 546"/>
                <a:gd name="T65" fmla="*/ 36824146 h 173"/>
                <a:gd name="T66" fmla="*/ 72255988 w 546"/>
                <a:gd name="T67" fmla="*/ 34274786 h 173"/>
                <a:gd name="T68" fmla="*/ 70379288 w 546"/>
                <a:gd name="T69" fmla="*/ 29459210 h 173"/>
                <a:gd name="T70" fmla="*/ 68502588 w 546"/>
                <a:gd name="T71" fmla="*/ 26060418 h 173"/>
                <a:gd name="T72" fmla="*/ 64561171 w 546"/>
                <a:gd name="T73" fmla="*/ 23794202 h 173"/>
                <a:gd name="T74" fmla="*/ 60995354 w 546"/>
                <a:gd name="T75" fmla="*/ 21527987 h 173"/>
                <a:gd name="T76" fmla="*/ 56866354 w 546"/>
                <a:gd name="T77" fmla="*/ 24644166 h 173"/>
                <a:gd name="T78" fmla="*/ 48420770 w 546"/>
                <a:gd name="T79" fmla="*/ 37957253 h 173"/>
                <a:gd name="T80" fmla="*/ 44291770 w 546"/>
                <a:gd name="T81" fmla="*/ 46172153 h 173"/>
                <a:gd name="T82" fmla="*/ 41289136 w 546"/>
                <a:gd name="T83" fmla="*/ 48721513 h 173"/>
                <a:gd name="T84" fmla="*/ 35283436 w 546"/>
                <a:gd name="T85" fmla="*/ 47305261 h 173"/>
                <a:gd name="T86" fmla="*/ 30966852 w 546"/>
                <a:gd name="T87" fmla="*/ 43905937 h 173"/>
                <a:gd name="T88" fmla="*/ 21207751 w 546"/>
                <a:gd name="T89" fmla="*/ 29742886 h 173"/>
                <a:gd name="T90" fmla="*/ 17829518 w 546"/>
                <a:gd name="T91" fmla="*/ 25777274 h 173"/>
                <a:gd name="T92" fmla="*/ 11260634 w 546"/>
                <a:gd name="T93" fmla="*/ 21527987 h 173"/>
                <a:gd name="T94" fmla="*/ 3002634 w 546"/>
                <a:gd name="T95" fmla="*/ 16429267 h 173"/>
                <a:gd name="T96" fmla="*/ 2064284 w 546"/>
                <a:gd name="T97" fmla="*/ 9631151 h 173"/>
                <a:gd name="T98" fmla="*/ 5254934 w 546"/>
                <a:gd name="T99" fmla="*/ 5381864 h 173"/>
                <a:gd name="T100" fmla="*/ 8820751 w 546"/>
                <a:gd name="T101" fmla="*/ 3399324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1" name="Freeform 548">
              <a:extLst>
                <a:ext uri="{FF2B5EF4-FFF2-40B4-BE49-F238E27FC236}">
                  <a16:creationId xmlns:a16="http://schemas.microsoft.com/office/drawing/2014/main" id="{31B8F3DA-AE7E-411F-9209-84D084BD65D7}"/>
                </a:ext>
              </a:extLst>
            </p:cNvPr>
            <p:cNvSpPr>
              <a:spLocks/>
            </p:cNvSpPr>
            <p:nvPr>
              <p:custDataLst>
                <p:tags r:id="rId379"/>
              </p:custDataLst>
            </p:nvPr>
          </p:nvSpPr>
          <p:spPr bwMode="auto">
            <a:xfrm>
              <a:off x="4903788" y="1795463"/>
              <a:ext cx="107950" cy="60325"/>
            </a:xfrm>
            <a:custGeom>
              <a:avLst/>
              <a:gdLst>
                <a:gd name="T0" fmla="*/ 5199153 w 246"/>
                <a:gd name="T1" fmla="*/ 74267257 h 42"/>
                <a:gd name="T2" fmla="*/ 6932496 w 246"/>
                <a:gd name="T3" fmla="*/ 74267257 h 42"/>
                <a:gd name="T4" fmla="*/ 8665401 w 246"/>
                <a:gd name="T5" fmla="*/ 72204716 h 42"/>
                <a:gd name="T6" fmla="*/ 10206102 w 246"/>
                <a:gd name="T7" fmla="*/ 68078199 h 42"/>
                <a:gd name="T8" fmla="*/ 11361079 w 246"/>
                <a:gd name="T9" fmla="*/ 63953118 h 42"/>
                <a:gd name="T10" fmla="*/ 12709138 w 246"/>
                <a:gd name="T11" fmla="*/ 61889141 h 42"/>
                <a:gd name="T12" fmla="*/ 13864554 w 246"/>
                <a:gd name="T13" fmla="*/ 59826601 h 42"/>
                <a:gd name="T14" fmla="*/ 15405255 w 246"/>
                <a:gd name="T15" fmla="*/ 59826601 h 42"/>
                <a:gd name="T16" fmla="*/ 16752875 w 246"/>
                <a:gd name="T17" fmla="*/ 61889141 h 42"/>
                <a:gd name="T18" fmla="*/ 16752875 w 246"/>
                <a:gd name="T19" fmla="*/ 86645372 h 42"/>
                <a:gd name="T20" fmla="*/ 29654655 w 246"/>
                <a:gd name="T21" fmla="*/ 86645372 h 42"/>
                <a:gd name="T22" fmla="*/ 29654655 w 246"/>
                <a:gd name="T23" fmla="*/ 80456314 h 42"/>
                <a:gd name="T24" fmla="*/ 30039940 w 246"/>
                <a:gd name="T25" fmla="*/ 74267257 h 42"/>
                <a:gd name="T26" fmla="*/ 30617867 w 246"/>
                <a:gd name="T27" fmla="*/ 68078199 h 42"/>
                <a:gd name="T28" fmla="*/ 31387998 w 246"/>
                <a:gd name="T29" fmla="*/ 63953118 h 42"/>
                <a:gd name="T30" fmla="*/ 33698830 w 246"/>
                <a:gd name="T31" fmla="*/ 53637543 h 42"/>
                <a:gd name="T32" fmla="*/ 36587151 w 246"/>
                <a:gd name="T33" fmla="*/ 47448485 h 42"/>
                <a:gd name="T34" fmla="*/ 42556435 w 246"/>
                <a:gd name="T35" fmla="*/ 35070370 h 42"/>
                <a:gd name="T36" fmla="*/ 47370742 w 246"/>
                <a:gd name="T37" fmla="*/ 24756231 h 42"/>
                <a:gd name="T38" fmla="*/ 40823530 w 246"/>
                <a:gd name="T39" fmla="*/ 26818771 h 42"/>
                <a:gd name="T40" fmla="*/ 35817020 w 246"/>
                <a:gd name="T41" fmla="*/ 28881312 h 42"/>
                <a:gd name="T42" fmla="*/ 34276319 w 246"/>
                <a:gd name="T43" fmla="*/ 30945289 h 42"/>
                <a:gd name="T44" fmla="*/ 32928261 w 246"/>
                <a:gd name="T45" fmla="*/ 30945289 h 42"/>
                <a:gd name="T46" fmla="*/ 32350772 w 246"/>
                <a:gd name="T47" fmla="*/ 28881312 h 42"/>
                <a:gd name="T48" fmla="*/ 32158129 w 246"/>
                <a:gd name="T49" fmla="*/ 24756231 h 42"/>
                <a:gd name="T50" fmla="*/ 30617867 w 246"/>
                <a:gd name="T51" fmla="*/ 33007829 h 42"/>
                <a:gd name="T52" fmla="*/ 29269809 w 246"/>
                <a:gd name="T53" fmla="*/ 35070370 h 42"/>
                <a:gd name="T54" fmla="*/ 28307035 w 246"/>
                <a:gd name="T55" fmla="*/ 35070370 h 42"/>
                <a:gd name="T56" fmla="*/ 27151619 w 246"/>
                <a:gd name="T57" fmla="*/ 30945289 h 42"/>
                <a:gd name="T58" fmla="*/ 26381049 w 246"/>
                <a:gd name="T59" fmla="*/ 24756231 h 42"/>
                <a:gd name="T60" fmla="*/ 25610918 w 246"/>
                <a:gd name="T61" fmla="*/ 18567173 h 42"/>
                <a:gd name="T62" fmla="*/ 24840787 w 246"/>
                <a:gd name="T63" fmla="*/ 10315575 h 42"/>
                <a:gd name="T64" fmla="*/ 24262860 w 246"/>
                <a:gd name="T65" fmla="*/ 0 h 42"/>
                <a:gd name="T66" fmla="*/ 23300086 w 246"/>
                <a:gd name="T67" fmla="*/ 4126517 h 42"/>
                <a:gd name="T68" fmla="*/ 21759824 w 246"/>
                <a:gd name="T69" fmla="*/ 8251598 h 42"/>
                <a:gd name="T70" fmla="*/ 19834277 w 246"/>
                <a:gd name="T71" fmla="*/ 10315575 h 42"/>
                <a:gd name="T72" fmla="*/ 17908291 w 246"/>
                <a:gd name="T73" fmla="*/ 10315575 h 42"/>
                <a:gd name="T74" fmla="*/ 14249839 w 246"/>
                <a:gd name="T75" fmla="*/ 12378115 h 42"/>
                <a:gd name="T76" fmla="*/ 11553722 w 246"/>
                <a:gd name="T77" fmla="*/ 12378115 h 42"/>
                <a:gd name="T78" fmla="*/ 11168876 w 246"/>
                <a:gd name="T79" fmla="*/ 18567173 h 42"/>
                <a:gd name="T80" fmla="*/ 10783591 w 246"/>
                <a:gd name="T81" fmla="*/ 24756231 h 42"/>
                <a:gd name="T82" fmla="*/ 10398306 w 246"/>
                <a:gd name="T83" fmla="*/ 30945289 h 42"/>
                <a:gd name="T84" fmla="*/ 9628175 w 246"/>
                <a:gd name="T85" fmla="*/ 35070370 h 42"/>
                <a:gd name="T86" fmla="*/ 8087474 w 246"/>
                <a:gd name="T87" fmla="*/ 41259427 h 42"/>
                <a:gd name="T88" fmla="*/ 6354569 w 246"/>
                <a:gd name="T89" fmla="*/ 45385945 h 42"/>
                <a:gd name="T90" fmla="*/ 2695678 w 246"/>
                <a:gd name="T91" fmla="*/ 49511026 h 42"/>
                <a:gd name="T92" fmla="*/ 0 w 246"/>
                <a:gd name="T93" fmla="*/ 49511026 h 42"/>
                <a:gd name="T94" fmla="*/ 192642 w 246"/>
                <a:gd name="T95" fmla="*/ 55700083 h 42"/>
                <a:gd name="T96" fmla="*/ 577489 w 246"/>
                <a:gd name="T97" fmla="*/ 59826601 h 42"/>
                <a:gd name="T98" fmla="*/ 962774 w 246"/>
                <a:gd name="T99" fmla="*/ 63953118 h 42"/>
                <a:gd name="T100" fmla="*/ 1732905 w 246"/>
                <a:gd name="T101" fmla="*/ 68078199 h 42"/>
                <a:gd name="T102" fmla="*/ 3273606 w 246"/>
                <a:gd name="T103" fmla="*/ 72204716 h 42"/>
                <a:gd name="T104" fmla="*/ 5199153 w 246"/>
                <a:gd name="T105" fmla="*/ 7426725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2" name="Freeform 549">
              <a:extLst>
                <a:ext uri="{FF2B5EF4-FFF2-40B4-BE49-F238E27FC236}">
                  <a16:creationId xmlns:a16="http://schemas.microsoft.com/office/drawing/2014/main" id="{3D83D492-30E3-4D6D-B746-97C64CF1EA12}"/>
                </a:ext>
              </a:extLst>
            </p:cNvPr>
            <p:cNvSpPr>
              <a:spLocks/>
            </p:cNvSpPr>
            <p:nvPr>
              <p:custDataLst>
                <p:tags r:id="rId380"/>
              </p:custDataLst>
            </p:nvPr>
          </p:nvSpPr>
          <p:spPr bwMode="auto">
            <a:xfrm>
              <a:off x="5046663" y="1778000"/>
              <a:ext cx="63500" cy="57150"/>
            </a:xfrm>
            <a:custGeom>
              <a:avLst/>
              <a:gdLst>
                <a:gd name="T0" fmla="*/ 18707356 w 149"/>
                <a:gd name="T1" fmla="*/ 0 h 61"/>
                <a:gd name="T2" fmla="*/ 21431889 w 149"/>
                <a:gd name="T3" fmla="*/ 877861 h 61"/>
                <a:gd name="T4" fmla="*/ 24337547 w 149"/>
                <a:gd name="T5" fmla="*/ 2633584 h 61"/>
                <a:gd name="T6" fmla="*/ 26335453 w 149"/>
                <a:gd name="T7" fmla="*/ 4388370 h 61"/>
                <a:gd name="T8" fmla="*/ 27062081 w 149"/>
                <a:gd name="T9" fmla="*/ 5266232 h 61"/>
                <a:gd name="T10" fmla="*/ 27062081 w 149"/>
                <a:gd name="T11" fmla="*/ 7021955 h 61"/>
                <a:gd name="T12" fmla="*/ 26698980 w 149"/>
                <a:gd name="T13" fmla="*/ 8777678 h 61"/>
                <a:gd name="T14" fmla="*/ 26335453 w 149"/>
                <a:gd name="T15" fmla="*/ 10533401 h 61"/>
                <a:gd name="T16" fmla="*/ 25609252 w 149"/>
                <a:gd name="T17" fmla="*/ 11411262 h 61"/>
                <a:gd name="T18" fmla="*/ 24882624 w 149"/>
                <a:gd name="T19" fmla="*/ 12288187 h 61"/>
                <a:gd name="T20" fmla="*/ 23974446 w 149"/>
                <a:gd name="T21" fmla="*/ 12288187 h 61"/>
                <a:gd name="T22" fmla="*/ 23066268 w 149"/>
                <a:gd name="T23" fmla="*/ 12288187 h 61"/>
                <a:gd name="T24" fmla="*/ 22339641 w 149"/>
                <a:gd name="T25" fmla="*/ 10533401 h 61"/>
                <a:gd name="T26" fmla="*/ 22339641 w 149"/>
                <a:gd name="T27" fmla="*/ 20188003 h 61"/>
                <a:gd name="T28" fmla="*/ 22339641 w 149"/>
                <a:gd name="T29" fmla="*/ 28965681 h 61"/>
                <a:gd name="T30" fmla="*/ 22339641 w 149"/>
                <a:gd name="T31" fmla="*/ 35987636 h 61"/>
                <a:gd name="T32" fmla="*/ 22339641 w 149"/>
                <a:gd name="T33" fmla="*/ 43009591 h 61"/>
                <a:gd name="T34" fmla="*/ 21068362 w 149"/>
                <a:gd name="T35" fmla="*/ 43887452 h 61"/>
                <a:gd name="T36" fmla="*/ 19797084 w 149"/>
                <a:gd name="T37" fmla="*/ 44765314 h 61"/>
                <a:gd name="T38" fmla="*/ 18888906 w 149"/>
                <a:gd name="T39" fmla="*/ 46521037 h 61"/>
                <a:gd name="T40" fmla="*/ 18162279 w 149"/>
                <a:gd name="T41" fmla="*/ 48276760 h 61"/>
                <a:gd name="T42" fmla="*/ 17072550 w 149"/>
                <a:gd name="T43" fmla="*/ 50031546 h 61"/>
                <a:gd name="T44" fmla="*/ 16164799 w 149"/>
                <a:gd name="T45" fmla="*/ 51787269 h 61"/>
                <a:gd name="T46" fmla="*/ 15074644 w 149"/>
                <a:gd name="T47" fmla="*/ 53542992 h 61"/>
                <a:gd name="T48" fmla="*/ 13803366 w 149"/>
                <a:gd name="T49" fmla="*/ 53542992 h 61"/>
                <a:gd name="T50" fmla="*/ 12168987 w 149"/>
                <a:gd name="T51" fmla="*/ 52665130 h 61"/>
                <a:gd name="T52" fmla="*/ 9626003 w 149"/>
                <a:gd name="T53" fmla="*/ 50031546 h 61"/>
                <a:gd name="T54" fmla="*/ 7083446 w 149"/>
                <a:gd name="T55" fmla="*/ 47398898 h 61"/>
                <a:gd name="T56" fmla="*/ 4540463 w 149"/>
                <a:gd name="T57" fmla="*/ 43009591 h 61"/>
                <a:gd name="T58" fmla="*/ 2179456 w 149"/>
                <a:gd name="T59" fmla="*/ 39499082 h 61"/>
                <a:gd name="T60" fmla="*/ 545077 w 149"/>
                <a:gd name="T61" fmla="*/ 35987636 h 61"/>
                <a:gd name="T62" fmla="*/ 181550 w 149"/>
                <a:gd name="T63" fmla="*/ 34232850 h 61"/>
                <a:gd name="T64" fmla="*/ 0 w 149"/>
                <a:gd name="T65" fmla="*/ 33354989 h 61"/>
                <a:gd name="T66" fmla="*/ 0 w 149"/>
                <a:gd name="T67" fmla="*/ 32477127 h 61"/>
                <a:gd name="T68" fmla="*/ 545077 w 149"/>
                <a:gd name="T69" fmla="*/ 32477127 h 61"/>
                <a:gd name="T70" fmla="*/ 3450735 w 149"/>
                <a:gd name="T71" fmla="*/ 31599266 h 61"/>
                <a:gd name="T72" fmla="*/ 6356819 w 149"/>
                <a:gd name="T73" fmla="*/ 30721404 h 61"/>
                <a:gd name="T74" fmla="*/ 8717826 w 149"/>
                <a:gd name="T75" fmla="*/ 28087820 h 61"/>
                <a:gd name="T76" fmla="*/ 10897282 w 149"/>
                <a:gd name="T77" fmla="*/ 23699449 h 61"/>
                <a:gd name="T78" fmla="*/ 13077164 w 149"/>
                <a:gd name="T79" fmla="*/ 19310142 h 61"/>
                <a:gd name="T80" fmla="*/ 14893094 w 149"/>
                <a:gd name="T81" fmla="*/ 14043910 h 61"/>
                <a:gd name="T82" fmla="*/ 16891000 w 149"/>
                <a:gd name="T83" fmla="*/ 7021955 h 61"/>
                <a:gd name="T84" fmla="*/ 1870735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3" name="Freeform 550">
              <a:extLst>
                <a:ext uri="{FF2B5EF4-FFF2-40B4-BE49-F238E27FC236}">
                  <a16:creationId xmlns:a16="http://schemas.microsoft.com/office/drawing/2014/main" id="{0F20F98A-31FA-45E4-836A-79900DDDCE97}"/>
                </a:ext>
              </a:extLst>
            </p:cNvPr>
            <p:cNvSpPr>
              <a:spLocks/>
            </p:cNvSpPr>
            <p:nvPr>
              <p:custDataLst>
                <p:tags r:id="rId381"/>
              </p:custDataLst>
            </p:nvPr>
          </p:nvSpPr>
          <p:spPr bwMode="auto">
            <a:xfrm>
              <a:off x="5083175" y="1785938"/>
              <a:ext cx="130175" cy="57150"/>
            </a:xfrm>
            <a:custGeom>
              <a:avLst/>
              <a:gdLst>
                <a:gd name="T0" fmla="*/ 25209542 w 299"/>
                <a:gd name="T1" fmla="*/ 42943591 h 74"/>
                <a:gd name="T2" fmla="*/ 29190111 w 299"/>
                <a:gd name="T3" fmla="*/ 38768552 h 74"/>
                <a:gd name="T4" fmla="*/ 33738835 w 299"/>
                <a:gd name="T5" fmla="*/ 32207886 h 74"/>
                <a:gd name="T6" fmla="*/ 37719404 w 299"/>
                <a:gd name="T7" fmla="*/ 25050235 h 74"/>
                <a:gd name="T8" fmla="*/ 39235790 w 299"/>
                <a:gd name="T9" fmla="*/ 23857808 h 74"/>
                <a:gd name="T10" fmla="*/ 39994201 w 299"/>
                <a:gd name="T11" fmla="*/ 27436634 h 74"/>
                <a:gd name="T12" fmla="*/ 41699972 w 299"/>
                <a:gd name="T13" fmla="*/ 30418474 h 74"/>
                <a:gd name="T14" fmla="*/ 46059311 w 299"/>
                <a:gd name="T15" fmla="*/ 32804100 h 74"/>
                <a:gd name="T16" fmla="*/ 50987675 w 299"/>
                <a:gd name="T17" fmla="*/ 32804100 h 74"/>
                <a:gd name="T18" fmla="*/ 54209833 w 299"/>
                <a:gd name="T19" fmla="*/ 32804100 h 74"/>
                <a:gd name="T20" fmla="*/ 55536835 w 299"/>
                <a:gd name="T21" fmla="*/ 27436634 h 74"/>
                <a:gd name="T22" fmla="*/ 56484630 w 299"/>
                <a:gd name="T23" fmla="*/ 18489570 h 74"/>
                <a:gd name="T24" fmla="*/ 52883267 w 299"/>
                <a:gd name="T25" fmla="*/ 14910744 h 74"/>
                <a:gd name="T26" fmla="*/ 46249131 w 299"/>
                <a:gd name="T27" fmla="*/ 14910744 h 74"/>
                <a:gd name="T28" fmla="*/ 42647768 w 299"/>
                <a:gd name="T29" fmla="*/ 14910744 h 74"/>
                <a:gd name="T30" fmla="*/ 40562791 w 299"/>
                <a:gd name="T31" fmla="*/ 16103943 h 74"/>
                <a:gd name="T32" fmla="*/ 38667199 w 299"/>
                <a:gd name="T33" fmla="*/ 19682769 h 74"/>
                <a:gd name="T34" fmla="*/ 32601654 w 299"/>
                <a:gd name="T35" fmla="*/ 22068395 h 74"/>
                <a:gd name="T36" fmla="*/ 33360065 w 299"/>
                <a:gd name="T37" fmla="*/ 16700157 h 74"/>
                <a:gd name="T38" fmla="*/ 34118040 w 299"/>
                <a:gd name="T39" fmla="*/ 12525118 h 74"/>
                <a:gd name="T40" fmla="*/ 36771608 w 299"/>
                <a:gd name="T41" fmla="*/ 7753865 h 74"/>
                <a:gd name="T42" fmla="*/ 39804380 w 299"/>
                <a:gd name="T43" fmla="*/ 5368239 h 74"/>
                <a:gd name="T44" fmla="*/ 42647768 w 299"/>
                <a:gd name="T45" fmla="*/ 0 h 74"/>
                <a:gd name="T46" fmla="*/ 35065836 w 299"/>
                <a:gd name="T47" fmla="*/ 1789413 h 74"/>
                <a:gd name="T48" fmla="*/ 29758702 w 299"/>
                <a:gd name="T49" fmla="*/ 6560666 h 74"/>
                <a:gd name="T50" fmla="*/ 25398928 w 299"/>
                <a:gd name="T51" fmla="*/ 14910744 h 74"/>
                <a:gd name="T52" fmla="*/ 21608179 w 299"/>
                <a:gd name="T53" fmla="*/ 23857808 h 74"/>
                <a:gd name="T54" fmla="*/ 18954612 w 299"/>
                <a:gd name="T55" fmla="*/ 31611673 h 74"/>
                <a:gd name="T56" fmla="*/ 16490430 w 299"/>
                <a:gd name="T57" fmla="*/ 35190499 h 74"/>
                <a:gd name="T58" fmla="*/ 12131091 w 299"/>
                <a:gd name="T59" fmla="*/ 37576125 h 74"/>
                <a:gd name="T60" fmla="*/ 6065545 w 299"/>
                <a:gd name="T61" fmla="*/ 38172339 h 74"/>
                <a:gd name="T62" fmla="*/ 2274362 w 299"/>
                <a:gd name="T63" fmla="*/ 39961751 h 74"/>
                <a:gd name="T64" fmla="*/ 379205 w 299"/>
                <a:gd name="T65" fmla="*/ 41751164 h 74"/>
                <a:gd name="T66" fmla="*/ 7392111 w 299"/>
                <a:gd name="T67" fmla="*/ 44136791 h 74"/>
                <a:gd name="T68" fmla="*/ 19333817 w 299"/>
                <a:gd name="T69" fmla="*/ 44136791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4" name="Rectangle 50">
              <a:extLst>
                <a:ext uri="{FF2B5EF4-FFF2-40B4-BE49-F238E27FC236}">
                  <a16:creationId xmlns:a16="http://schemas.microsoft.com/office/drawing/2014/main" id="{7B382A5B-84C9-4A98-BED4-7B3144CF6932}"/>
                </a:ext>
              </a:extLst>
            </p:cNvPr>
            <p:cNvSpPr>
              <a:spLocks noChangeArrowheads="1"/>
            </p:cNvSpPr>
            <p:nvPr>
              <p:custDataLst>
                <p:tags r:id="rId382"/>
              </p:custDataLst>
            </p:nvPr>
          </p:nvSpPr>
          <p:spPr bwMode="auto">
            <a:xfrm>
              <a:off x="639626" y="1256265"/>
              <a:ext cx="3693836" cy="411642"/>
            </a:xfrm>
            <a:prstGeom prst="rect">
              <a:avLst/>
            </a:prstGeom>
            <a:noFill/>
            <a:ln w="9525">
              <a:noFill/>
              <a:miter lim="800000"/>
              <a:headEnd/>
              <a:tailEnd/>
            </a:ln>
          </p:spPr>
          <p:txBody>
            <a:bodyPr lIns="0" tIns="0" rIns="0" bIns="0"/>
            <a:lstStyle/>
            <a:p>
              <a:pPr defTabSz="895350" eaLnBrk="1" hangingPunct="1">
                <a:lnSpc>
                  <a:spcPct val="150000"/>
                </a:lnSpc>
                <a:defRPr/>
              </a:pPr>
              <a:r>
                <a:rPr lang="en-IN" sz="1000" b="1" dirty="0">
                  <a:latin typeface="Verdana" panose="020B0604030504040204" pitchFamily="34" charset="0"/>
                  <a:ea typeface="Verdana" panose="020B0604030504040204" pitchFamily="34" charset="0"/>
                  <a:cs typeface="Verdana" panose="020B0604030504040204" pitchFamily="34" charset="0"/>
                </a:rPr>
                <a:t>Global Copper Sulphate Deficit Countries, 2020</a:t>
              </a:r>
            </a:p>
          </p:txBody>
        </p:sp>
        <p:sp>
          <p:nvSpPr>
            <p:cNvPr id="396" name="TextBox 395">
              <a:extLst>
                <a:ext uri="{FF2B5EF4-FFF2-40B4-BE49-F238E27FC236}">
                  <a16:creationId xmlns:a16="http://schemas.microsoft.com/office/drawing/2014/main" id="{D282E7F1-CC61-413B-9C16-F55BFDA35783}"/>
                </a:ext>
              </a:extLst>
            </p:cNvPr>
            <p:cNvSpPr txBox="1"/>
            <p:nvPr/>
          </p:nvSpPr>
          <p:spPr>
            <a:xfrm>
              <a:off x="4320209" y="2107097"/>
              <a:ext cx="781878" cy="200055"/>
            </a:xfrm>
            <a:prstGeom prst="rect">
              <a:avLst/>
            </a:prstGeom>
            <a:solidFill>
              <a:schemeClr val="accent4">
                <a:lumMod val="20000"/>
                <a:lumOff val="80000"/>
              </a:schemeClr>
            </a:solidFill>
          </p:spPr>
          <p:txBody>
            <a:bodyPr wrap="square" rtlCol="0">
              <a:spAutoFit/>
            </a:bodyPr>
            <a:lstStyle/>
            <a:p>
              <a:r>
                <a:rPr lang="en-US" sz="700" b="1" dirty="0">
                  <a:latin typeface="Verdana" panose="020B0604030504040204" pitchFamily="34" charset="0"/>
                  <a:ea typeface="Verdana" panose="020B0604030504040204" pitchFamily="34" charset="0"/>
                  <a:cs typeface="Verdana" panose="020B0604030504040204" pitchFamily="34" charset="0"/>
                </a:rPr>
                <a:t>Germany</a:t>
              </a:r>
            </a:p>
          </p:txBody>
        </p:sp>
        <p:sp>
          <p:nvSpPr>
            <p:cNvPr id="397" name="TextBox 396">
              <a:extLst>
                <a:ext uri="{FF2B5EF4-FFF2-40B4-BE49-F238E27FC236}">
                  <a16:creationId xmlns:a16="http://schemas.microsoft.com/office/drawing/2014/main" id="{72CAA403-40A2-4592-A440-3A64F452759E}"/>
                </a:ext>
              </a:extLst>
            </p:cNvPr>
            <p:cNvSpPr txBox="1"/>
            <p:nvPr/>
          </p:nvSpPr>
          <p:spPr>
            <a:xfrm>
              <a:off x="3359426" y="2219741"/>
              <a:ext cx="781878" cy="200055"/>
            </a:xfrm>
            <a:prstGeom prst="rect">
              <a:avLst/>
            </a:prstGeom>
            <a:solidFill>
              <a:schemeClr val="accent4">
                <a:lumMod val="20000"/>
                <a:lumOff val="80000"/>
              </a:schemeClr>
            </a:solidFill>
          </p:spPr>
          <p:txBody>
            <a:bodyPr wrap="square" rtlCol="0">
              <a:spAutoFit/>
            </a:bodyPr>
            <a:lstStyle/>
            <a:p>
              <a:r>
                <a:rPr lang="en-US" sz="700" b="1" dirty="0">
                  <a:latin typeface="Verdana" panose="020B0604030504040204" pitchFamily="34" charset="0"/>
                  <a:ea typeface="Verdana" panose="020B0604030504040204" pitchFamily="34" charset="0"/>
                  <a:cs typeface="Verdana" panose="020B0604030504040204" pitchFamily="34" charset="0"/>
                </a:rPr>
                <a:t>Netherland</a:t>
              </a:r>
            </a:p>
          </p:txBody>
        </p:sp>
        <p:sp>
          <p:nvSpPr>
            <p:cNvPr id="398" name="TextBox 397">
              <a:extLst>
                <a:ext uri="{FF2B5EF4-FFF2-40B4-BE49-F238E27FC236}">
                  <a16:creationId xmlns:a16="http://schemas.microsoft.com/office/drawing/2014/main" id="{FA12F6D5-8C8C-40B4-8F2A-804BED354D8C}"/>
                </a:ext>
              </a:extLst>
            </p:cNvPr>
            <p:cNvSpPr txBox="1"/>
            <p:nvPr/>
          </p:nvSpPr>
          <p:spPr>
            <a:xfrm>
              <a:off x="4028660" y="2603225"/>
              <a:ext cx="781878" cy="253341"/>
            </a:xfrm>
            <a:prstGeom prst="rect">
              <a:avLst/>
            </a:prstGeom>
            <a:solidFill>
              <a:schemeClr val="accent4">
                <a:lumMod val="20000"/>
                <a:lumOff val="80000"/>
              </a:schemeClr>
            </a:solidFill>
          </p:spPr>
          <p:txBody>
            <a:bodyPr wrap="square" rtlCol="0">
              <a:spAutoFit/>
            </a:bodyPr>
            <a:lstStyle/>
            <a:p>
              <a:r>
                <a:rPr lang="en-US" sz="700" b="1" dirty="0">
                  <a:latin typeface="Verdana" panose="020B0604030504040204" pitchFamily="34" charset="0"/>
                  <a:ea typeface="Verdana" panose="020B0604030504040204" pitchFamily="34" charset="0"/>
                  <a:cs typeface="Verdana" panose="020B0604030504040204" pitchFamily="34" charset="0"/>
                </a:rPr>
                <a:t>Austria</a:t>
              </a:r>
            </a:p>
          </p:txBody>
        </p:sp>
        <p:sp>
          <p:nvSpPr>
            <p:cNvPr id="399" name="TextBox 398">
              <a:extLst>
                <a:ext uri="{FF2B5EF4-FFF2-40B4-BE49-F238E27FC236}">
                  <a16:creationId xmlns:a16="http://schemas.microsoft.com/office/drawing/2014/main" id="{23A13D83-F45B-4134-82CE-E420B26C8EAE}"/>
                </a:ext>
              </a:extLst>
            </p:cNvPr>
            <p:cNvSpPr txBox="1"/>
            <p:nvPr/>
          </p:nvSpPr>
          <p:spPr>
            <a:xfrm>
              <a:off x="7083287" y="4644889"/>
              <a:ext cx="781878" cy="200055"/>
            </a:xfrm>
            <a:prstGeom prst="rect">
              <a:avLst/>
            </a:prstGeom>
            <a:solidFill>
              <a:schemeClr val="accent4">
                <a:lumMod val="20000"/>
                <a:lumOff val="80000"/>
              </a:schemeClr>
            </a:solidFill>
          </p:spPr>
          <p:txBody>
            <a:bodyPr wrap="square" rtlCol="0">
              <a:spAutoFit/>
            </a:bodyPr>
            <a:lstStyle/>
            <a:p>
              <a:r>
                <a:rPr lang="en-US" sz="700" b="1" dirty="0">
                  <a:latin typeface="Verdana" panose="020B0604030504040204" pitchFamily="34" charset="0"/>
                  <a:ea typeface="Verdana" panose="020B0604030504040204" pitchFamily="34" charset="0"/>
                  <a:cs typeface="Verdana" panose="020B0604030504040204" pitchFamily="34" charset="0"/>
                </a:rPr>
                <a:t>Australia</a:t>
              </a:r>
            </a:p>
          </p:txBody>
        </p:sp>
        <p:sp>
          <p:nvSpPr>
            <p:cNvPr id="400" name="TextBox 399">
              <a:extLst>
                <a:ext uri="{FF2B5EF4-FFF2-40B4-BE49-F238E27FC236}">
                  <a16:creationId xmlns:a16="http://schemas.microsoft.com/office/drawing/2014/main" id="{E690546A-F5A5-40E4-99F4-90D2FC680DCC}"/>
                </a:ext>
              </a:extLst>
            </p:cNvPr>
            <p:cNvSpPr txBox="1"/>
            <p:nvPr/>
          </p:nvSpPr>
          <p:spPr>
            <a:xfrm>
              <a:off x="1351721" y="2027584"/>
              <a:ext cx="781878" cy="200055"/>
            </a:xfrm>
            <a:prstGeom prst="rect">
              <a:avLst/>
            </a:prstGeom>
            <a:solidFill>
              <a:schemeClr val="accent4">
                <a:lumMod val="20000"/>
                <a:lumOff val="80000"/>
              </a:schemeClr>
            </a:solidFill>
          </p:spPr>
          <p:txBody>
            <a:bodyPr wrap="square" rtlCol="0">
              <a:spAutoFit/>
            </a:bodyPr>
            <a:lstStyle/>
            <a:p>
              <a:r>
                <a:rPr lang="en-US" sz="700" b="1" dirty="0">
                  <a:latin typeface="Verdana" panose="020B0604030504040204" pitchFamily="34" charset="0"/>
                  <a:ea typeface="Verdana" panose="020B0604030504040204" pitchFamily="34" charset="0"/>
                  <a:cs typeface="Verdana" panose="020B0604030504040204" pitchFamily="34" charset="0"/>
                </a:rPr>
                <a:t>Canada</a:t>
              </a:r>
            </a:p>
          </p:txBody>
        </p:sp>
        <p:sp>
          <p:nvSpPr>
            <p:cNvPr id="401" name="TextBox 400">
              <a:extLst>
                <a:ext uri="{FF2B5EF4-FFF2-40B4-BE49-F238E27FC236}">
                  <a16:creationId xmlns:a16="http://schemas.microsoft.com/office/drawing/2014/main" id="{A6DC520E-B2A9-47EB-8BD5-2C6BEA45792D}"/>
                </a:ext>
              </a:extLst>
            </p:cNvPr>
            <p:cNvSpPr txBox="1"/>
            <p:nvPr/>
          </p:nvSpPr>
          <p:spPr>
            <a:xfrm>
              <a:off x="1424608" y="2590801"/>
              <a:ext cx="457200" cy="205407"/>
            </a:xfrm>
            <a:prstGeom prst="rect">
              <a:avLst/>
            </a:prstGeom>
            <a:solidFill>
              <a:schemeClr val="accent4">
                <a:lumMod val="20000"/>
                <a:lumOff val="80000"/>
              </a:schemeClr>
            </a:solidFill>
          </p:spPr>
          <p:txBody>
            <a:bodyPr wrap="square" rtlCol="0">
              <a:spAutoFit/>
            </a:bodyPr>
            <a:lstStyle/>
            <a:p>
              <a:r>
                <a:rPr lang="en-US" sz="700" b="1" dirty="0">
                  <a:latin typeface="Verdana" panose="020B0604030504040204" pitchFamily="34" charset="0"/>
                  <a:ea typeface="Verdana" panose="020B0604030504040204" pitchFamily="34" charset="0"/>
                  <a:cs typeface="Verdana" panose="020B0604030504040204" pitchFamily="34" charset="0"/>
                </a:rPr>
                <a:t>USA</a:t>
              </a:r>
            </a:p>
          </p:txBody>
        </p:sp>
      </p:grpSp>
    </p:spTree>
    <p:extLst>
      <p:ext uri="{BB962C8B-B14F-4D97-AF65-F5344CB8AC3E}">
        <p14:creationId xmlns:p14="http://schemas.microsoft.com/office/powerpoint/2010/main" val="38696197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10.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11.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2.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2.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3.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4.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4.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5.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6.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7.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8.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9.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401</TotalTime>
  <Words>16391</Words>
  <Application>Microsoft Office PowerPoint</Application>
  <PresentationFormat>On-screen Show (4:3)</PresentationFormat>
  <Paragraphs>2779</Paragraphs>
  <Slides>112</Slides>
  <Notes>8</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112</vt:i4>
      </vt:variant>
    </vt:vector>
  </HeadingPairs>
  <TitlesOfParts>
    <vt:vector size="123" baseType="lpstr">
      <vt:lpstr>Arial</vt:lpstr>
      <vt:lpstr>Calibri</vt:lpstr>
      <vt:lpstr>Calibri Light</vt:lpstr>
      <vt:lpstr>Cambria</vt:lpstr>
      <vt:lpstr>Courier New</vt:lpstr>
      <vt:lpstr>Montserrat</vt:lpstr>
      <vt:lpstr>Open Sans</vt:lpstr>
      <vt:lpstr>Veradana</vt:lpstr>
      <vt:lpstr>Verdana</vt:lpstr>
      <vt:lpstr>Wingdings</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duct Benchmarking, By Supplier</vt:lpstr>
      <vt:lpstr>Product Benchmarking, By Grade </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rdik Malhotra</dc:creator>
  <cp:lastModifiedBy>Hardik Malhotra</cp:lastModifiedBy>
  <cp:revision>257</cp:revision>
  <dcterms:created xsi:type="dcterms:W3CDTF">2021-07-23T14:06:42Z</dcterms:created>
  <dcterms:modified xsi:type="dcterms:W3CDTF">2021-07-30T12:25:34Z</dcterms:modified>
</cp:coreProperties>
</file>